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076136569" r:id="rId2"/>
    <p:sldId id="2076136567" r:id="rId3"/>
    <p:sldId id="2076136568" r:id="rId4"/>
    <p:sldId id="2076136566" r:id="rId5"/>
    <p:sldId id="2076136572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ew Drawings" id="{1D0467D5-2D98-FF4F-A5A4-69BD8A154EF1}">
          <p14:sldIdLst>
            <p14:sldId id="2076136569"/>
            <p14:sldId id="2076136567"/>
            <p14:sldId id="2076136568"/>
            <p14:sldId id="2076136566"/>
            <p14:sldId id="20761365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59A811-26F5-8BF2-015A-5BD438645F31}" name="John Dingelstad" initials="JD" userId="S::john.dingelstad@securosys.com::8ae7084d-9910-4946-86a6-248d0176207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1D2CF"/>
    <a:srgbClr val="A6A6A6"/>
    <a:srgbClr val="EDEDED"/>
    <a:srgbClr val="265C6D"/>
    <a:srgbClr val="BB1E10"/>
    <a:srgbClr val="E30613"/>
    <a:srgbClr val="3760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2" autoAdjust="0"/>
    <p:restoredTop sz="96028" autoAdjust="0"/>
  </p:normalViewPr>
  <p:slideViewPr>
    <p:cSldViewPr snapToGrid="0" showGuides="1">
      <p:cViewPr varScale="1">
        <p:scale>
          <a:sx n="238" d="100"/>
          <a:sy n="238" d="100"/>
        </p:scale>
        <p:origin x="5784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90" d="100"/>
        <a:sy n="19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59BE51-884D-4365-8CFB-C3E7D507A9B1}" type="datetimeFigureOut">
              <a:rPr lang="de-CH" smtClean="0"/>
              <a:t>31.05.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3220A5-7B04-41A7-8E3C-21C7CB74677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546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EFE3CF63-5DD6-9554-35A0-79DF19DE1B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bIns="720000" anchor="b"/>
          <a:lstStyle>
            <a:lvl1pPr algn="ctr"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1A807E-3305-2DA3-0F13-D448E1C654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325" y="-16016"/>
            <a:ext cx="8212480" cy="5531587"/>
          </a:xfrm>
          <a:custGeom>
            <a:avLst/>
            <a:gdLst>
              <a:gd name="connsiteX0" fmla="*/ 1754232 w 8212480"/>
              <a:gd name="connsiteY0" fmla="*/ 0 h 5531587"/>
              <a:gd name="connsiteX1" fmla="*/ 8212480 w 8212480"/>
              <a:gd name="connsiteY1" fmla="*/ 0 h 5531587"/>
              <a:gd name="connsiteX2" fmla="*/ 6458248 w 8212480"/>
              <a:gd name="connsiteY2" fmla="*/ 5531587 h 5531587"/>
              <a:gd name="connsiteX3" fmla="*/ 0 w 8212480"/>
              <a:gd name="connsiteY3" fmla="*/ 5531587 h 553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12480" h="5531587">
                <a:moveTo>
                  <a:pt x="1754232" y="0"/>
                </a:moveTo>
                <a:lnTo>
                  <a:pt x="8212480" y="0"/>
                </a:lnTo>
                <a:lnTo>
                  <a:pt x="6458248" y="5531587"/>
                </a:lnTo>
                <a:lnTo>
                  <a:pt x="0" y="5531587"/>
                </a:lnTo>
                <a:close/>
              </a:path>
            </a:pathLst>
          </a:custGeom>
          <a:solidFill>
            <a:schemeClr val="bg1"/>
          </a:solidFill>
          <a:effectLst>
            <a:outerShdw blurRad="190500" sx="102000" sy="102000" algn="ctr" rotWithShape="0">
              <a:srgbClr val="000000">
                <a:alpha val="22000"/>
              </a:srgbClr>
            </a:outerShdw>
          </a:effectLst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21177E6B-6C93-40B3-7A7D-72D21E34C0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80834" y="784225"/>
            <a:ext cx="5358266" cy="881063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7000" b="1"/>
            </a:lvl1pPr>
          </a:lstStyle>
          <a:p>
            <a:pPr lvl="0"/>
            <a:r>
              <a:rPr lang="en-US" dirty="0" err="1"/>
              <a:t>Titlefoli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E0F5B-BAC3-D147-EBEF-C8BEF53CB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C42B6CB-E913-1A45-8E34-99F61540D1AD}" type="datetime3">
              <a:rPr lang="en-US" smtClean="0"/>
              <a:t>31 May 2024</a:t>
            </a:fld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BF11D2-AEA0-492F-A86E-2848934E1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27EFC5A-D034-43EB-AD4A-BFCEE41F55B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0F0513-31A4-6162-56A5-8999BABE44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0834" y="332135"/>
            <a:ext cx="566479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9F410E-BA13-BD87-479C-F7A10B574A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80834" y="563715"/>
            <a:ext cx="74524" cy="73959"/>
          </a:xfrm>
          <a:custGeom>
            <a:avLst/>
            <a:gdLst>
              <a:gd name="connsiteX0" fmla="*/ 0 w 74524"/>
              <a:gd name="connsiteY0" fmla="*/ 0 h 73959"/>
              <a:gd name="connsiteX1" fmla="*/ 74524 w 74524"/>
              <a:gd name="connsiteY1" fmla="*/ 0 h 73959"/>
              <a:gd name="connsiteX2" fmla="*/ 152 w 74524"/>
              <a:gd name="connsiteY2" fmla="*/ 73959 h 73959"/>
              <a:gd name="connsiteX3" fmla="*/ 0 w 74524"/>
              <a:gd name="connsiteY3" fmla="*/ 73959 h 73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24" h="73959">
                <a:moveTo>
                  <a:pt x="0" y="0"/>
                </a:moveTo>
                <a:lnTo>
                  <a:pt x="74524" y="0"/>
                </a:lnTo>
                <a:lnTo>
                  <a:pt x="152" y="73959"/>
                </a:lnTo>
                <a:lnTo>
                  <a:pt x="0" y="7395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263CB3A-E4DE-405D-7CAF-B3C511C2F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0282" y="2065150"/>
            <a:ext cx="3415718" cy="39558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28DFBDA-9CCE-FBB9-98FB-710A641404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1372" y="4851286"/>
            <a:ext cx="2513168" cy="41336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00212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E8E7A3F-C07E-B6AC-8539-8B7421F9F9D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95326 w 12192000"/>
              <a:gd name="connsiteY0" fmla="*/ 563715 h 6858000"/>
              <a:gd name="connsiteX1" fmla="*/ 695326 w 12192000"/>
              <a:gd name="connsiteY1" fmla="*/ 637674 h 6858000"/>
              <a:gd name="connsiteX2" fmla="*/ 695478 w 12192000"/>
              <a:gd name="connsiteY2" fmla="*/ 637674 h 6858000"/>
              <a:gd name="connsiteX3" fmla="*/ 769850 w 12192000"/>
              <a:gd name="connsiteY3" fmla="*/ 563715 h 6858000"/>
              <a:gd name="connsiteX4" fmla="*/ 11408682 w 12192000"/>
              <a:gd name="connsiteY4" fmla="*/ 456185 h 6858000"/>
              <a:gd name="connsiteX5" fmla="*/ 11404634 w 12192000"/>
              <a:gd name="connsiteY5" fmla="*/ 467429 h 6858000"/>
              <a:gd name="connsiteX6" fmla="*/ 11402329 w 12192000"/>
              <a:gd name="connsiteY6" fmla="*/ 478673 h 6858000"/>
              <a:gd name="connsiteX7" fmla="*/ 11420825 w 12192000"/>
              <a:gd name="connsiteY7" fmla="*/ 483508 h 6858000"/>
              <a:gd name="connsiteX8" fmla="*/ 11444044 w 12192000"/>
              <a:gd name="connsiteY8" fmla="*/ 485307 h 6858000"/>
              <a:gd name="connsiteX9" fmla="*/ 11450847 w 12192000"/>
              <a:gd name="connsiteY9" fmla="*/ 484858 h 6858000"/>
              <a:gd name="connsiteX10" fmla="*/ 11458662 w 12192000"/>
              <a:gd name="connsiteY10" fmla="*/ 460402 h 6858000"/>
              <a:gd name="connsiteX11" fmla="*/ 11455120 w 12192000"/>
              <a:gd name="connsiteY11" fmla="*/ 461414 h 6858000"/>
              <a:gd name="connsiteX12" fmla="*/ 11442976 w 12192000"/>
              <a:gd name="connsiteY12" fmla="*/ 462819 h 6858000"/>
              <a:gd name="connsiteX13" fmla="*/ 11425098 w 12192000"/>
              <a:gd name="connsiteY13" fmla="*/ 461020 h 6858000"/>
              <a:gd name="connsiteX14" fmla="*/ 11408682 w 12192000"/>
              <a:gd name="connsiteY14" fmla="*/ 456185 h 6858000"/>
              <a:gd name="connsiteX15" fmla="*/ 10223271 w 12192000"/>
              <a:gd name="connsiteY15" fmla="*/ 381243 h 6858000"/>
              <a:gd name="connsiteX16" fmla="*/ 10214501 w 12192000"/>
              <a:gd name="connsiteY16" fmla="*/ 408679 h 6858000"/>
              <a:gd name="connsiteX17" fmla="*/ 10227994 w 12192000"/>
              <a:gd name="connsiteY17" fmla="*/ 414863 h 6858000"/>
              <a:gd name="connsiteX18" fmla="*/ 10237720 w 12192000"/>
              <a:gd name="connsiteY18" fmla="*/ 418461 h 6858000"/>
              <a:gd name="connsiteX19" fmla="*/ 10247559 w 12192000"/>
              <a:gd name="connsiteY19" fmla="*/ 421891 h 6858000"/>
              <a:gd name="connsiteX20" fmla="*/ 10255542 w 12192000"/>
              <a:gd name="connsiteY20" fmla="*/ 426164 h 6858000"/>
              <a:gd name="connsiteX21" fmla="*/ 10261164 w 12192000"/>
              <a:gd name="connsiteY21" fmla="*/ 432292 h 6858000"/>
              <a:gd name="connsiteX22" fmla="*/ 10263244 w 12192000"/>
              <a:gd name="connsiteY22" fmla="*/ 441399 h 6858000"/>
              <a:gd name="connsiteX23" fmla="*/ 10260658 w 12192000"/>
              <a:gd name="connsiteY23" fmla="*/ 450395 h 6858000"/>
              <a:gd name="connsiteX24" fmla="*/ 10253687 w 12192000"/>
              <a:gd name="connsiteY24" fmla="*/ 457141 h 6858000"/>
              <a:gd name="connsiteX25" fmla="*/ 10243623 w 12192000"/>
              <a:gd name="connsiteY25" fmla="*/ 461301 h 6858000"/>
              <a:gd name="connsiteX26" fmla="*/ 10231480 w 12192000"/>
              <a:gd name="connsiteY26" fmla="*/ 462707 h 6858000"/>
              <a:gd name="connsiteX27" fmla="*/ 10199097 w 12192000"/>
              <a:gd name="connsiteY27" fmla="*/ 457141 h 6858000"/>
              <a:gd name="connsiteX28" fmla="*/ 10192013 w 12192000"/>
              <a:gd name="connsiteY28" fmla="*/ 479180 h 6858000"/>
              <a:gd name="connsiteX29" fmla="*/ 10209216 w 12192000"/>
              <a:gd name="connsiteY29" fmla="*/ 483677 h 6858000"/>
              <a:gd name="connsiteX30" fmla="*/ 10232435 w 12192000"/>
              <a:gd name="connsiteY30" fmla="*/ 485476 h 6858000"/>
              <a:gd name="connsiteX31" fmla="*/ 10256217 w 12192000"/>
              <a:gd name="connsiteY31" fmla="*/ 482159 h 6858000"/>
              <a:gd name="connsiteX32" fmla="*/ 10274601 w 12192000"/>
              <a:gd name="connsiteY32" fmla="*/ 472883 h 6858000"/>
              <a:gd name="connsiteX33" fmla="*/ 10286351 w 12192000"/>
              <a:gd name="connsiteY33" fmla="*/ 458491 h 6858000"/>
              <a:gd name="connsiteX34" fmla="*/ 10290511 w 12192000"/>
              <a:gd name="connsiteY34" fmla="*/ 439825 h 6858000"/>
              <a:gd name="connsiteX35" fmla="*/ 10287925 w 12192000"/>
              <a:gd name="connsiteY35" fmla="*/ 423971 h 6858000"/>
              <a:gd name="connsiteX36" fmla="*/ 10280954 w 12192000"/>
              <a:gd name="connsiteY36" fmla="*/ 412727 h 6858000"/>
              <a:gd name="connsiteX37" fmla="*/ 10270778 w 12192000"/>
              <a:gd name="connsiteY37" fmla="*/ 405081 h 6858000"/>
              <a:gd name="connsiteX38" fmla="*/ 10258185 w 12192000"/>
              <a:gd name="connsiteY38" fmla="*/ 399853 h 6858000"/>
              <a:gd name="connsiteX39" fmla="*/ 10245984 w 12192000"/>
              <a:gd name="connsiteY39" fmla="*/ 395692 h 6858000"/>
              <a:gd name="connsiteX40" fmla="*/ 10236708 w 12192000"/>
              <a:gd name="connsiteY40" fmla="*/ 392375 h 6858000"/>
              <a:gd name="connsiteX41" fmla="*/ 10229118 w 12192000"/>
              <a:gd name="connsiteY41" fmla="*/ 388383 h 6858000"/>
              <a:gd name="connsiteX42" fmla="*/ 10223890 w 12192000"/>
              <a:gd name="connsiteY42" fmla="*/ 382761 h 6858000"/>
              <a:gd name="connsiteX43" fmla="*/ 10223271 w 12192000"/>
              <a:gd name="connsiteY43" fmla="*/ 381243 h 6858000"/>
              <a:gd name="connsiteX44" fmla="*/ 10995461 w 12192000"/>
              <a:gd name="connsiteY44" fmla="*/ 359149 h 6858000"/>
              <a:gd name="connsiteX45" fmla="*/ 11023571 w 12192000"/>
              <a:gd name="connsiteY45" fmla="*/ 372810 h 6858000"/>
              <a:gd name="connsiteX46" fmla="*/ 11023571 w 12192000"/>
              <a:gd name="connsiteY46" fmla="*/ 449608 h 6858000"/>
              <a:gd name="connsiteX47" fmla="*/ 10995461 w 12192000"/>
              <a:gd name="connsiteY47" fmla="*/ 463382 h 6858000"/>
              <a:gd name="connsiteX48" fmla="*/ 10995461 w 12192000"/>
              <a:gd name="connsiteY48" fmla="*/ 463325 h 6858000"/>
              <a:gd name="connsiteX49" fmla="*/ 10967350 w 12192000"/>
              <a:gd name="connsiteY49" fmla="*/ 449608 h 6858000"/>
              <a:gd name="connsiteX50" fmla="*/ 10967350 w 12192000"/>
              <a:gd name="connsiteY50" fmla="*/ 372810 h 6858000"/>
              <a:gd name="connsiteX51" fmla="*/ 10995461 w 12192000"/>
              <a:gd name="connsiteY51" fmla="*/ 359149 h 6858000"/>
              <a:gd name="connsiteX52" fmla="*/ 10396936 w 12192000"/>
              <a:gd name="connsiteY52" fmla="*/ 358587 h 6858000"/>
              <a:gd name="connsiteX53" fmla="*/ 10411722 w 12192000"/>
              <a:gd name="connsiteY53" fmla="*/ 361792 h 6858000"/>
              <a:gd name="connsiteX54" fmla="*/ 10421954 w 12192000"/>
              <a:gd name="connsiteY54" fmla="*/ 370225 h 6858000"/>
              <a:gd name="connsiteX55" fmla="*/ 10428082 w 12192000"/>
              <a:gd name="connsiteY55" fmla="*/ 382537 h 6858000"/>
              <a:gd name="connsiteX56" fmla="*/ 10430106 w 12192000"/>
              <a:gd name="connsiteY56" fmla="*/ 397323 h 6858000"/>
              <a:gd name="connsiteX57" fmla="*/ 10360168 w 12192000"/>
              <a:gd name="connsiteY57" fmla="*/ 397323 h 6858000"/>
              <a:gd name="connsiteX58" fmla="*/ 10371075 w 12192000"/>
              <a:gd name="connsiteY58" fmla="*/ 368819 h 6858000"/>
              <a:gd name="connsiteX59" fmla="*/ 10396936 w 12192000"/>
              <a:gd name="connsiteY59" fmla="*/ 358587 h 6858000"/>
              <a:gd name="connsiteX60" fmla="*/ 11356340 w 12192000"/>
              <a:gd name="connsiteY60" fmla="*/ 339023 h 6858000"/>
              <a:gd name="connsiteX61" fmla="*/ 11342791 w 12192000"/>
              <a:gd name="connsiteY61" fmla="*/ 339810 h 6858000"/>
              <a:gd name="connsiteX62" fmla="*/ 11302143 w 12192000"/>
              <a:gd name="connsiteY62" fmla="*/ 471759 h 6858000"/>
              <a:gd name="connsiteX63" fmla="*/ 11262789 w 12192000"/>
              <a:gd name="connsiteY63" fmla="*/ 339810 h 6858000"/>
              <a:gd name="connsiteX64" fmla="*/ 11255312 w 12192000"/>
              <a:gd name="connsiteY64" fmla="*/ 339135 h 6858000"/>
              <a:gd name="connsiteX65" fmla="*/ 11247328 w 12192000"/>
              <a:gd name="connsiteY65" fmla="*/ 339135 h 6858000"/>
              <a:gd name="connsiteX66" fmla="*/ 11240132 w 12192000"/>
              <a:gd name="connsiteY66" fmla="*/ 339135 h 6858000"/>
              <a:gd name="connsiteX67" fmla="*/ 11232655 w 12192000"/>
              <a:gd name="connsiteY67" fmla="*/ 339810 h 6858000"/>
              <a:gd name="connsiteX68" fmla="*/ 11279655 w 12192000"/>
              <a:gd name="connsiteY68" fmla="*/ 481710 h 6858000"/>
              <a:gd name="connsiteX69" fmla="*/ 11284659 w 12192000"/>
              <a:gd name="connsiteY69" fmla="*/ 482160 h 6858000"/>
              <a:gd name="connsiteX70" fmla="*/ 11290281 w 12192000"/>
              <a:gd name="connsiteY70" fmla="*/ 482160 h 6858000"/>
              <a:gd name="connsiteX71" fmla="*/ 11294835 w 12192000"/>
              <a:gd name="connsiteY71" fmla="*/ 482160 h 6858000"/>
              <a:gd name="connsiteX72" fmla="*/ 11299389 w 12192000"/>
              <a:gd name="connsiteY72" fmla="*/ 482160 h 6858000"/>
              <a:gd name="connsiteX73" fmla="*/ 11290731 w 12192000"/>
              <a:gd name="connsiteY73" fmla="*/ 508977 h 6858000"/>
              <a:gd name="connsiteX74" fmla="*/ 11286177 w 12192000"/>
              <a:gd name="connsiteY74" fmla="*/ 519490 h 6858000"/>
              <a:gd name="connsiteX75" fmla="*/ 11281061 w 12192000"/>
              <a:gd name="connsiteY75" fmla="*/ 525450 h 6858000"/>
              <a:gd name="connsiteX76" fmla="*/ 11275102 w 12192000"/>
              <a:gd name="connsiteY76" fmla="*/ 528205 h 6858000"/>
              <a:gd name="connsiteX77" fmla="*/ 11268299 w 12192000"/>
              <a:gd name="connsiteY77" fmla="*/ 528879 h 6858000"/>
              <a:gd name="connsiteX78" fmla="*/ 11259079 w 12192000"/>
              <a:gd name="connsiteY78" fmla="*/ 527923 h 6858000"/>
              <a:gd name="connsiteX79" fmla="*/ 11252276 w 12192000"/>
              <a:gd name="connsiteY79" fmla="*/ 526124 h 6858000"/>
              <a:gd name="connsiteX80" fmla="*/ 11247891 w 12192000"/>
              <a:gd name="connsiteY80" fmla="*/ 547432 h 6858000"/>
              <a:gd name="connsiteX81" fmla="*/ 11258798 w 12192000"/>
              <a:gd name="connsiteY81" fmla="*/ 549793 h 6858000"/>
              <a:gd name="connsiteX82" fmla="*/ 11271335 w 12192000"/>
              <a:gd name="connsiteY82" fmla="*/ 550749 h 6858000"/>
              <a:gd name="connsiteX83" fmla="*/ 11286458 w 12192000"/>
              <a:gd name="connsiteY83" fmla="*/ 548838 h 6858000"/>
              <a:gd name="connsiteX84" fmla="*/ 11298208 w 12192000"/>
              <a:gd name="connsiteY84" fmla="*/ 542204 h 6858000"/>
              <a:gd name="connsiteX85" fmla="*/ 11307597 w 12192000"/>
              <a:gd name="connsiteY85" fmla="*/ 529723 h 6858000"/>
              <a:gd name="connsiteX86" fmla="*/ 11315636 w 12192000"/>
              <a:gd name="connsiteY86" fmla="*/ 510664 h 6858000"/>
              <a:gd name="connsiteX87" fmla="*/ 11371014 w 12192000"/>
              <a:gd name="connsiteY87" fmla="*/ 339697 h 6858000"/>
              <a:gd name="connsiteX88" fmla="*/ 11363255 w 12192000"/>
              <a:gd name="connsiteY88" fmla="*/ 339023 h 6858000"/>
              <a:gd name="connsiteX89" fmla="*/ 10836637 w 12192000"/>
              <a:gd name="connsiteY89" fmla="*/ 338909 h 6858000"/>
              <a:gd name="connsiteX90" fmla="*/ 10831015 w 12192000"/>
              <a:gd name="connsiteY90" fmla="*/ 339191 h 6858000"/>
              <a:gd name="connsiteX91" fmla="*/ 10825393 w 12192000"/>
              <a:gd name="connsiteY91" fmla="*/ 339978 h 6858000"/>
              <a:gd name="connsiteX92" fmla="*/ 10825112 w 12192000"/>
              <a:gd name="connsiteY92" fmla="*/ 481878 h 6858000"/>
              <a:gd name="connsiteX93" fmla="*/ 10832139 w 12192000"/>
              <a:gd name="connsiteY93" fmla="*/ 482721 h 6858000"/>
              <a:gd name="connsiteX94" fmla="*/ 10838942 w 12192000"/>
              <a:gd name="connsiteY94" fmla="*/ 483003 h 6858000"/>
              <a:gd name="connsiteX95" fmla="*/ 10845745 w 12192000"/>
              <a:gd name="connsiteY95" fmla="*/ 482721 h 6858000"/>
              <a:gd name="connsiteX96" fmla="*/ 10852491 w 12192000"/>
              <a:gd name="connsiteY96" fmla="*/ 481878 h 6858000"/>
              <a:gd name="connsiteX97" fmla="*/ 10852491 w 12192000"/>
              <a:gd name="connsiteY97" fmla="*/ 411153 h 6858000"/>
              <a:gd name="connsiteX98" fmla="*/ 10855696 w 12192000"/>
              <a:gd name="connsiteY98" fmla="*/ 387596 h 6858000"/>
              <a:gd name="connsiteX99" fmla="*/ 10864241 w 12192000"/>
              <a:gd name="connsiteY99" fmla="*/ 373260 h 6858000"/>
              <a:gd name="connsiteX100" fmla="*/ 10876385 w 12192000"/>
              <a:gd name="connsiteY100" fmla="*/ 365895 h 6858000"/>
              <a:gd name="connsiteX101" fmla="*/ 10890665 w 12192000"/>
              <a:gd name="connsiteY101" fmla="*/ 363815 h 6858000"/>
              <a:gd name="connsiteX102" fmla="*/ 10894376 w 12192000"/>
              <a:gd name="connsiteY102" fmla="*/ 363815 h 6858000"/>
              <a:gd name="connsiteX103" fmla="*/ 10898929 w 12192000"/>
              <a:gd name="connsiteY103" fmla="*/ 364377 h 6858000"/>
              <a:gd name="connsiteX104" fmla="*/ 10899941 w 12192000"/>
              <a:gd name="connsiteY104" fmla="*/ 357462 h 6858000"/>
              <a:gd name="connsiteX105" fmla="*/ 10900335 w 12192000"/>
              <a:gd name="connsiteY105" fmla="*/ 350547 h 6858000"/>
              <a:gd name="connsiteX106" fmla="*/ 10900054 w 12192000"/>
              <a:gd name="connsiteY106" fmla="*/ 344925 h 6858000"/>
              <a:gd name="connsiteX107" fmla="*/ 10899211 w 12192000"/>
              <a:gd name="connsiteY107" fmla="*/ 339697 h 6858000"/>
              <a:gd name="connsiteX108" fmla="*/ 10895219 w 12192000"/>
              <a:gd name="connsiteY108" fmla="*/ 339247 h 6858000"/>
              <a:gd name="connsiteX109" fmla="*/ 10890665 w 12192000"/>
              <a:gd name="connsiteY109" fmla="*/ 339247 h 6858000"/>
              <a:gd name="connsiteX110" fmla="*/ 10866153 w 12192000"/>
              <a:gd name="connsiteY110" fmla="*/ 346162 h 6858000"/>
              <a:gd name="connsiteX111" fmla="*/ 10850805 w 12192000"/>
              <a:gd name="connsiteY111" fmla="*/ 362466 h 6858000"/>
              <a:gd name="connsiteX112" fmla="*/ 10850018 w 12192000"/>
              <a:gd name="connsiteY112" fmla="*/ 351222 h 6858000"/>
              <a:gd name="connsiteX113" fmla="*/ 10848331 w 12192000"/>
              <a:gd name="connsiteY113" fmla="*/ 339978 h 6858000"/>
              <a:gd name="connsiteX114" fmla="*/ 10842709 w 12192000"/>
              <a:gd name="connsiteY114" fmla="*/ 339191 h 6858000"/>
              <a:gd name="connsiteX115" fmla="*/ 10836637 w 12192000"/>
              <a:gd name="connsiteY115" fmla="*/ 338909 h 6858000"/>
              <a:gd name="connsiteX116" fmla="*/ 10664715 w 12192000"/>
              <a:gd name="connsiteY116" fmla="*/ 338909 h 6858000"/>
              <a:gd name="connsiteX117" fmla="*/ 10658081 w 12192000"/>
              <a:gd name="connsiteY117" fmla="*/ 339191 h 6858000"/>
              <a:gd name="connsiteX118" fmla="*/ 10651166 w 12192000"/>
              <a:gd name="connsiteY118" fmla="*/ 339978 h 6858000"/>
              <a:gd name="connsiteX119" fmla="*/ 10651391 w 12192000"/>
              <a:gd name="connsiteY119" fmla="*/ 418799 h 6858000"/>
              <a:gd name="connsiteX120" fmla="*/ 10656619 w 12192000"/>
              <a:gd name="connsiteY120" fmla="*/ 453093 h 6858000"/>
              <a:gd name="connsiteX121" fmla="*/ 10671012 w 12192000"/>
              <a:gd name="connsiteY121" fmla="*/ 473333 h 6858000"/>
              <a:gd name="connsiteX122" fmla="*/ 10692207 w 12192000"/>
              <a:gd name="connsiteY122" fmla="*/ 482834 h 6858000"/>
              <a:gd name="connsiteX123" fmla="*/ 10717787 w 12192000"/>
              <a:gd name="connsiteY123" fmla="*/ 485195 h 6858000"/>
              <a:gd name="connsiteX124" fmla="*/ 10745560 w 12192000"/>
              <a:gd name="connsiteY124" fmla="*/ 482721 h 6858000"/>
              <a:gd name="connsiteX125" fmla="*/ 10768667 w 12192000"/>
              <a:gd name="connsiteY125" fmla="*/ 477437 h 6858000"/>
              <a:gd name="connsiteX126" fmla="*/ 10768667 w 12192000"/>
              <a:gd name="connsiteY126" fmla="*/ 339978 h 6858000"/>
              <a:gd name="connsiteX127" fmla="*/ 10761864 w 12192000"/>
              <a:gd name="connsiteY127" fmla="*/ 339191 h 6858000"/>
              <a:gd name="connsiteX128" fmla="*/ 10755118 w 12192000"/>
              <a:gd name="connsiteY128" fmla="*/ 338909 h 6858000"/>
              <a:gd name="connsiteX129" fmla="*/ 10748315 w 12192000"/>
              <a:gd name="connsiteY129" fmla="*/ 339191 h 6858000"/>
              <a:gd name="connsiteX130" fmla="*/ 10741512 w 12192000"/>
              <a:gd name="connsiteY130" fmla="*/ 339978 h 6858000"/>
              <a:gd name="connsiteX131" fmla="*/ 10741512 w 12192000"/>
              <a:gd name="connsiteY131" fmla="*/ 459278 h 6858000"/>
              <a:gd name="connsiteX132" fmla="*/ 10717506 w 12192000"/>
              <a:gd name="connsiteY132" fmla="*/ 462314 h 6858000"/>
              <a:gd name="connsiteX133" fmla="*/ 10700640 w 12192000"/>
              <a:gd name="connsiteY133" fmla="*/ 460346 h 6858000"/>
              <a:gd name="connsiteX134" fmla="*/ 10688496 w 12192000"/>
              <a:gd name="connsiteY134" fmla="*/ 453431 h 6858000"/>
              <a:gd name="connsiteX135" fmla="*/ 10681019 w 12192000"/>
              <a:gd name="connsiteY135" fmla="*/ 439769 h 6858000"/>
              <a:gd name="connsiteX136" fmla="*/ 10678545 w 12192000"/>
              <a:gd name="connsiteY136" fmla="*/ 417787 h 6858000"/>
              <a:gd name="connsiteX137" fmla="*/ 10678545 w 12192000"/>
              <a:gd name="connsiteY137" fmla="*/ 339978 h 6858000"/>
              <a:gd name="connsiteX138" fmla="*/ 10671630 w 12192000"/>
              <a:gd name="connsiteY138" fmla="*/ 339191 h 6858000"/>
              <a:gd name="connsiteX139" fmla="*/ 10664715 w 12192000"/>
              <a:gd name="connsiteY139" fmla="*/ 338909 h 6858000"/>
              <a:gd name="connsiteX140" fmla="*/ 10568184 w 12192000"/>
              <a:gd name="connsiteY140" fmla="*/ 336774 h 6858000"/>
              <a:gd name="connsiteX141" fmla="*/ 10538050 w 12192000"/>
              <a:gd name="connsiteY141" fmla="*/ 342396 h 6858000"/>
              <a:gd name="connsiteX142" fmla="*/ 10516349 w 12192000"/>
              <a:gd name="connsiteY142" fmla="*/ 358138 h 6858000"/>
              <a:gd name="connsiteX143" fmla="*/ 10503194 w 12192000"/>
              <a:gd name="connsiteY143" fmla="*/ 381638 h 6858000"/>
              <a:gd name="connsiteX144" fmla="*/ 10498808 w 12192000"/>
              <a:gd name="connsiteY144" fmla="*/ 410985 h 6858000"/>
              <a:gd name="connsiteX145" fmla="*/ 10516743 w 12192000"/>
              <a:gd name="connsiteY145" fmla="*/ 465013 h 6858000"/>
              <a:gd name="connsiteX146" fmla="*/ 10570152 w 12192000"/>
              <a:gd name="connsiteY146" fmla="*/ 485084 h 6858000"/>
              <a:gd name="connsiteX147" fmla="*/ 10607483 w 12192000"/>
              <a:gd name="connsiteY147" fmla="*/ 478731 h 6858000"/>
              <a:gd name="connsiteX148" fmla="*/ 10605515 w 12192000"/>
              <a:gd name="connsiteY148" fmla="*/ 466812 h 6858000"/>
              <a:gd name="connsiteX149" fmla="*/ 10601636 w 12192000"/>
              <a:gd name="connsiteY149" fmla="*/ 457142 h 6858000"/>
              <a:gd name="connsiteX150" fmla="*/ 10587412 w 12192000"/>
              <a:gd name="connsiteY150" fmla="*/ 461246 h 6858000"/>
              <a:gd name="connsiteX151" fmla="*/ 10572064 w 12192000"/>
              <a:gd name="connsiteY151" fmla="*/ 462370 h 6858000"/>
              <a:gd name="connsiteX152" fmla="*/ 10539456 w 12192000"/>
              <a:gd name="connsiteY152" fmla="*/ 450058 h 6858000"/>
              <a:gd name="connsiteX153" fmla="*/ 10527537 w 12192000"/>
              <a:gd name="connsiteY153" fmla="*/ 411210 h 6858000"/>
              <a:gd name="connsiteX154" fmla="*/ 10538050 w 12192000"/>
              <a:gd name="connsiteY154" fmla="*/ 373879 h 6858000"/>
              <a:gd name="connsiteX155" fmla="*/ 10569871 w 12192000"/>
              <a:gd name="connsiteY155" fmla="*/ 359768 h 6858000"/>
              <a:gd name="connsiteX156" fmla="*/ 10600849 w 12192000"/>
              <a:gd name="connsiteY156" fmla="*/ 364434 h 6858000"/>
              <a:gd name="connsiteX157" fmla="*/ 10604278 w 12192000"/>
              <a:gd name="connsiteY157" fmla="*/ 353527 h 6858000"/>
              <a:gd name="connsiteX158" fmla="*/ 10605515 w 12192000"/>
              <a:gd name="connsiteY158" fmla="*/ 342621 h 6858000"/>
              <a:gd name="connsiteX159" fmla="*/ 10588649 w 12192000"/>
              <a:gd name="connsiteY159" fmla="*/ 338179 h 6858000"/>
              <a:gd name="connsiteX160" fmla="*/ 10568184 w 12192000"/>
              <a:gd name="connsiteY160" fmla="*/ 336774 h 6858000"/>
              <a:gd name="connsiteX161" fmla="*/ 11458717 w 12192000"/>
              <a:gd name="connsiteY161" fmla="*/ 336717 h 6858000"/>
              <a:gd name="connsiteX162" fmla="*/ 11419363 w 12192000"/>
              <a:gd name="connsiteY162" fmla="*/ 347961 h 6858000"/>
              <a:gd name="connsiteX163" fmla="*/ 11405926 w 12192000"/>
              <a:gd name="connsiteY163" fmla="*/ 377815 h 6858000"/>
              <a:gd name="connsiteX164" fmla="*/ 11413966 w 12192000"/>
              <a:gd name="connsiteY164" fmla="*/ 400303 h 6858000"/>
              <a:gd name="connsiteX165" fmla="*/ 11439715 w 12192000"/>
              <a:gd name="connsiteY165" fmla="*/ 415257 h 6858000"/>
              <a:gd name="connsiteX166" fmla="*/ 11449385 w 12192000"/>
              <a:gd name="connsiteY166" fmla="*/ 418856 h 6858000"/>
              <a:gd name="connsiteX167" fmla="*/ 11459223 w 12192000"/>
              <a:gd name="connsiteY167" fmla="*/ 422285 h 6858000"/>
              <a:gd name="connsiteX168" fmla="*/ 11467207 w 12192000"/>
              <a:gd name="connsiteY168" fmla="*/ 426558 h 6858000"/>
              <a:gd name="connsiteX169" fmla="*/ 11469006 w 12192000"/>
              <a:gd name="connsiteY169" fmla="*/ 428525 h 6858000"/>
              <a:gd name="connsiteX170" fmla="*/ 11477046 w 12192000"/>
              <a:gd name="connsiteY170" fmla="*/ 403339 h 6858000"/>
              <a:gd name="connsiteX171" fmla="*/ 11469793 w 12192000"/>
              <a:gd name="connsiteY171" fmla="*/ 400022 h 6858000"/>
              <a:gd name="connsiteX172" fmla="*/ 11457593 w 12192000"/>
              <a:gd name="connsiteY172" fmla="*/ 395861 h 6858000"/>
              <a:gd name="connsiteX173" fmla="*/ 11448317 w 12192000"/>
              <a:gd name="connsiteY173" fmla="*/ 392544 h 6858000"/>
              <a:gd name="connsiteX174" fmla="*/ 11440727 w 12192000"/>
              <a:gd name="connsiteY174" fmla="*/ 388553 h 6858000"/>
              <a:gd name="connsiteX175" fmla="*/ 11435498 w 12192000"/>
              <a:gd name="connsiteY175" fmla="*/ 382931 h 6858000"/>
              <a:gd name="connsiteX176" fmla="*/ 11433531 w 12192000"/>
              <a:gd name="connsiteY176" fmla="*/ 374891 h 6858000"/>
              <a:gd name="connsiteX177" fmla="*/ 11441458 w 12192000"/>
              <a:gd name="connsiteY177" fmla="*/ 362185 h 6858000"/>
              <a:gd name="connsiteX178" fmla="*/ 11459561 w 12192000"/>
              <a:gd name="connsiteY178" fmla="*/ 358587 h 6858000"/>
              <a:gd name="connsiteX179" fmla="*/ 11477664 w 12192000"/>
              <a:gd name="connsiteY179" fmla="*/ 360667 h 6858000"/>
              <a:gd name="connsiteX180" fmla="*/ 11489470 w 12192000"/>
              <a:gd name="connsiteY180" fmla="*/ 364041 h 6858000"/>
              <a:gd name="connsiteX181" fmla="*/ 11496160 w 12192000"/>
              <a:gd name="connsiteY181" fmla="*/ 343070 h 6858000"/>
              <a:gd name="connsiteX182" fmla="*/ 11479856 w 12192000"/>
              <a:gd name="connsiteY182" fmla="*/ 338798 h 6858000"/>
              <a:gd name="connsiteX183" fmla="*/ 11458717 w 12192000"/>
              <a:gd name="connsiteY183" fmla="*/ 336717 h 6858000"/>
              <a:gd name="connsiteX184" fmla="*/ 10995433 w 12192000"/>
              <a:gd name="connsiteY184" fmla="*/ 336550 h 6858000"/>
              <a:gd name="connsiteX185" fmla="*/ 10966395 w 12192000"/>
              <a:gd name="connsiteY185" fmla="*/ 342395 h 6858000"/>
              <a:gd name="connsiteX186" fmla="*/ 10945649 w 12192000"/>
              <a:gd name="connsiteY186" fmla="*/ 358137 h 6858000"/>
              <a:gd name="connsiteX187" fmla="*/ 10933337 w 12192000"/>
              <a:gd name="connsiteY187" fmla="*/ 381637 h 6858000"/>
              <a:gd name="connsiteX188" fmla="*/ 10933337 w 12192000"/>
              <a:gd name="connsiteY188" fmla="*/ 440275 h 6858000"/>
              <a:gd name="connsiteX189" fmla="*/ 10945706 w 12192000"/>
              <a:gd name="connsiteY189" fmla="*/ 464000 h 6858000"/>
              <a:gd name="connsiteX190" fmla="*/ 10966451 w 12192000"/>
              <a:gd name="connsiteY190" fmla="*/ 479630 h 6858000"/>
              <a:gd name="connsiteX191" fmla="*/ 10995461 w 12192000"/>
              <a:gd name="connsiteY191" fmla="*/ 485252 h 6858000"/>
              <a:gd name="connsiteX192" fmla="*/ 11024470 w 12192000"/>
              <a:gd name="connsiteY192" fmla="*/ 479405 h 6858000"/>
              <a:gd name="connsiteX193" fmla="*/ 11045216 w 12192000"/>
              <a:gd name="connsiteY193" fmla="*/ 463775 h 6858000"/>
              <a:gd name="connsiteX194" fmla="*/ 11057528 w 12192000"/>
              <a:gd name="connsiteY194" fmla="*/ 440275 h 6858000"/>
              <a:gd name="connsiteX195" fmla="*/ 11057528 w 12192000"/>
              <a:gd name="connsiteY195" fmla="*/ 381637 h 6858000"/>
              <a:gd name="connsiteX196" fmla="*/ 11045216 w 12192000"/>
              <a:gd name="connsiteY196" fmla="*/ 358137 h 6858000"/>
              <a:gd name="connsiteX197" fmla="*/ 11024470 w 12192000"/>
              <a:gd name="connsiteY197" fmla="*/ 342395 h 6858000"/>
              <a:gd name="connsiteX198" fmla="*/ 10995433 w 12192000"/>
              <a:gd name="connsiteY198" fmla="*/ 336550 h 6858000"/>
              <a:gd name="connsiteX199" fmla="*/ 10247109 w 12192000"/>
              <a:gd name="connsiteY199" fmla="*/ 336492 h 6858000"/>
              <a:gd name="connsiteX200" fmla="*/ 10237383 w 12192000"/>
              <a:gd name="connsiteY200" fmla="*/ 337055 h 6858000"/>
              <a:gd name="connsiteX201" fmla="*/ 10229287 w 12192000"/>
              <a:gd name="connsiteY201" fmla="*/ 362298 h 6858000"/>
              <a:gd name="connsiteX202" fmla="*/ 10229793 w 12192000"/>
              <a:gd name="connsiteY202" fmla="*/ 362129 h 6858000"/>
              <a:gd name="connsiteX203" fmla="*/ 10247952 w 12192000"/>
              <a:gd name="connsiteY203" fmla="*/ 358531 h 6858000"/>
              <a:gd name="connsiteX204" fmla="*/ 10266055 w 12192000"/>
              <a:gd name="connsiteY204" fmla="*/ 360611 h 6858000"/>
              <a:gd name="connsiteX205" fmla="*/ 10280560 w 12192000"/>
              <a:gd name="connsiteY205" fmla="*/ 364884 h 6858000"/>
              <a:gd name="connsiteX206" fmla="*/ 10284327 w 12192000"/>
              <a:gd name="connsiteY206" fmla="*/ 354652 h 6858000"/>
              <a:gd name="connsiteX207" fmla="*/ 10286351 w 12192000"/>
              <a:gd name="connsiteY207" fmla="*/ 343408 h 6858000"/>
              <a:gd name="connsiteX208" fmla="*/ 10268248 w 12192000"/>
              <a:gd name="connsiteY208" fmla="*/ 338573 h 6858000"/>
              <a:gd name="connsiteX209" fmla="*/ 10247109 w 12192000"/>
              <a:gd name="connsiteY209" fmla="*/ 336492 h 6858000"/>
              <a:gd name="connsiteX210" fmla="*/ 11158725 w 12192000"/>
              <a:gd name="connsiteY210" fmla="*/ 336436 h 6858000"/>
              <a:gd name="connsiteX211" fmla="*/ 11119370 w 12192000"/>
              <a:gd name="connsiteY211" fmla="*/ 347681 h 6858000"/>
              <a:gd name="connsiteX212" fmla="*/ 11105990 w 12192000"/>
              <a:gd name="connsiteY212" fmla="*/ 377534 h 6858000"/>
              <a:gd name="connsiteX213" fmla="*/ 11114029 w 12192000"/>
              <a:gd name="connsiteY213" fmla="*/ 400022 h 6858000"/>
              <a:gd name="connsiteX214" fmla="*/ 11139722 w 12192000"/>
              <a:gd name="connsiteY214" fmla="*/ 414977 h 6858000"/>
              <a:gd name="connsiteX215" fmla="*/ 11149392 w 12192000"/>
              <a:gd name="connsiteY215" fmla="*/ 418575 h 6858000"/>
              <a:gd name="connsiteX216" fmla="*/ 11159230 w 12192000"/>
              <a:gd name="connsiteY216" fmla="*/ 422004 h 6858000"/>
              <a:gd name="connsiteX217" fmla="*/ 11167270 w 12192000"/>
              <a:gd name="connsiteY217" fmla="*/ 426277 h 6858000"/>
              <a:gd name="connsiteX218" fmla="*/ 11172892 w 12192000"/>
              <a:gd name="connsiteY218" fmla="*/ 432405 h 6858000"/>
              <a:gd name="connsiteX219" fmla="*/ 11174972 w 12192000"/>
              <a:gd name="connsiteY219" fmla="*/ 441513 h 6858000"/>
              <a:gd name="connsiteX220" fmla="*/ 11172330 w 12192000"/>
              <a:gd name="connsiteY220" fmla="*/ 450508 h 6858000"/>
              <a:gd name="connsiteX221" fmla="*/ 11165415 w 12192000"/>
              <a:gd name="connsiteY221" fmla="*/ 457254 h 6858000"/>
              <a:gd name="connsiteX222" fmla="*/ 11155351 w 12192000"/>
              <a:gd name="connsiteY222" fmla="*/ 461415 h 6858000"/>
              <a:gd name="connsiteX223" fmla="*/ 11143152 w 12192000"/>
              <a:gd name="connsiteY223" fmla="*/ 462820 h 6858000"/>
              <a:gd name="connsiteX224" fmla="*/ 11125330 w 12192000"/>
              <a:gd name="connsiteY224" fmla="*/ 461021 h 6858000"/>
              <a:gd name="connsiteX225" fmla="*/ 11108857 w 12192000"/>
              <a:gd name="connsiteY225" fmla="*/ 456186 h 6858000"/>
              <a:gd name="connsiteX226" fmla="*/ 11104640 w 12192000"/>
              <a:gd name="connsiteY226" fmla="*/ 467374 h 6858000"/>
              <a:gd name="connsiteX227" fmla="*/ 11102279 w 12192000"/>
              <a:gd name="connsiteY227" fmla="*/ 478618 h 6858000"/>
              <a:gd name="connsiteX228" fmla="*/ 11120832 w 12192000"/>
              <a:gd name="connsiteY228" fmla="*/ 483453 h 6858000"/>
              <a:gd name="connsiteX229" fmla="*/ 11144051 w 12192000"/>
              <a:gd name="connsiteY229" fmla="*/ 485252 h 6858000"/>
              <a:gd name="connsiteX230" fmla="*/ 11167832 w 12192000"/>
              <a:gd name="connsiteY230" fmla="*/ 481935 h 6858000"/>
              <a:gd name="connsiteX231" fmla="*/ 11186216 w 12192000"/>
              <a:gd name="connsiteY231" fmla="*/ 472659 h 6858000"/>
              <a:gd name="connsiteX232" fmla="*/ 11197966 w 12192000"/>
              <a:gd name="connsiteY232" fmla="*/ 458266 h 6858000"/>
              <a:gd name="connsiteX233" fmla="*/ 11199484 w 12192000"/>
              <a:gd name="connsiteY233" fmla="*/ 424028 h 6858000"/>
              <a:gd name="connsiteX234" fmla="*/ 11192569 w 12192000"/>
              <a:gd name="connsiteY234" fmla="*/ 412784 h 6858000"/>
              <a:gd name="connsiteX235" fmla="*/ 11182337 w 12192000"/>
              <a:gd name="connsiteY235" fmla="*/ 405138 h 6858000"/>
              <a:gd name="connsiteX236" fmla="*/ 11169744 w 12192000"/>
              <a:gd name="connsiteY236" fmla="*/ 399909 h 6858000"/>
              <a:gd name="connsiteX237" fmla="*/ 11157600 w 12192000"/>
              <a:gd name="connsiteY237" fmla="*/ 395749 h 6858000"/>
              <a:gd name="connsiteX238" fmla="*/ 11148324 w 12192000"/>
              <a:gd name="connsiteY238" fmla="*/ 392432 h 6858000"/>
              <a:gd name="connsiteX239" fmla="*/ 11140735 w 12192000"/>
              <a:gd name="connsiteY239" fmla="*/ 388440 h 6858000"/>
              <a:gd name="connsiteX240" fmla="*/ 11135450 w 12192000"/>
              <a:gd name="connsiteY240" fmla="*/ 382818 h 6858000"/>
              <a:gd name="connsiteX241" fmla="*/ 11133538 w 12192000"/>
              <a:gd name="connsiteY241" fmla="*/ 374779 h 6858000"/>
              <a:gd name="connsiteX242" fmla="*/ 11141409 w 12192000"/>
              <a:gd name="connsiteY242" fmla="*/ 362073 h 6858000"/>
              <a:gd name="connsiteX243" fmla="*/ 11159512 w 12192000"/>
              <a:gd name="connsiteY243" fmla="*/ 358475 h 6858000"/>
              <a:gd name="connsiteX244" fmla="*/ 11177671 w 12192000"/>
              <a:gd name="connsiteY244" fmla="*/ 360555 h 6858000"/>
              <a:gd name="connsiteX245" fmla="*/ 11192176 w 12192000"/>
              <a:gd name="connsiteY245" fmla="*/ 364828 h 6858000"/>
              <a:gd name="connsiteX246" fmla="*/ 11195887 w 12192000"/>
              <a:gd name="connsiteY246" fmla="*/ 354596 h 6858000"/>
              <a:gd name="connsiteX247" fmla="*/ 11197967 w 12192000"/>
              <a:gd name="connsiteY247" fmla="*/ 343352 h 6858000"/>
              <a:gd name="connsiteX248" fmla="*/ 11179864 w 12192000"/>
              <a:gd name="connsiteY248" fmla="*/ 338517 h 6858000"/>
              <a:gd name="connsiteX249" fmla="*/ 11158725 w 12192000"/>
              <a:gd name="connsiteY249" fmla="*/ 336436 h 6858000"/>
              <a:gd name="connsiteX250" fmla="*/ 10397667 w 12192000"/>
              <a:gd name="connsiteY250" fmla="*/ 336268 h 6858000"/>
              <a:gd name="connsiteX251" fmla="*/ 10367927 w 12192000"/>
              <a:gd name="connsiteY251" fmla="*/ 342227 h 6858000"/>
              <a:gd name="connsiteX252" fmla="*/ 10347069 w 12192000"/>
              <a:gd name="connsiteY252" fmla="*/ 358306 h 6858000"/>
              <a:gd name="connsiteX253" fmla="*/ 10334757 w 12192000"/>
              <a:gd name="connsiteY253" fmla="*/ 382087 h 6858000"/>
              <a:gd name="connsiteX254" fmla="*/ 10330709 w 12192000"/>
              <a:gd name="connsiteY254" fmla="*/ 411491 h 6858000"/>
              <a:gd name="connsiteX255" fmla="*/ 10334869 w 12192000"/>
              <a:gd name="connsiteY255" fmla="*/ 440950 h 6858000"/>
              <a:gd name="connsiteX256" fmla="*/ 10370850 w 12192000"/>
              <a:gd name="connsiteY256" fmla="*/ 479405 h 6858000"/>
              <a:gd name="connsiteX257" fmla="*/ 10404020 w 12192000"/>
              <a:gd name="connsiteY257" fmla="*/ 485027 h 6858000"/>
              <a:gd name="connsiteX258" fmla="*/ 10428251 w 12192000"/>
              <a:gd name="connsiteY258" fmla="*/ 483116 h 6858000"/>
              <a:gd name="connsiteX259" fmla="*/ 10448266 w 12192000"/>
              <a:gd name="connsiteY259" fmla="*/ 477494 h 6858000"/>
              <a:gd name="connsiteX260" fmla="*/ 10446635 w 12192000"/>
              <a:gd name="connsiteY260" fmla="*/ 465744 h 6858000"/>
              <a:gd name="connsiteX261" fmla="*/ 10443037 w 12192000"/>
              <a:gd name="connsiteY261" fmla="*/ 455680 h 6858000"/>
              <a:gd name="connsiteX262" fmla="*/ 10405650 w 12192000"/>
              <a:gd name="connsiteY262" fmla="*/ 462595 h 6858000"/>
              <a:gd name="connsiteX263" fmla="*/ 10371918 w 12192000"/>
              <a:gd name="connsiteY263" fmla="*/ 451801 h 6858000"/>
              <a:gd name="connsiteX264" fmla="*/ 10359887 w 12192000"/>
              <a:gd name="connsiteY264" fmla="*/ 417787 h 6858000"/>
              <a:gd name="connsiteX265" fmla="*/ 10456474 w 12192000"/>
              <a:gd name="connsiteY265" fmla="*/ 417338 h 6858000"/>
              <a:gd name="connsiteX266" fmla="*/ 10457036 w 12192000"/>
              <a:gd name="connsiteY266" fmla="*/ 409973 h 6858000"/>
              <a:gd name="connsiteX267" fmla="*/ 10457036 w 12192000"/>
              <a:gd name="connsiteY267" fmla="*/ 401821 h 6858000"/>
              <a:gd name="connsiteX268" fmla="*/ 10453157 w 12192000"/>
              <a:gd name="connsiteY268" fmla="*/ 375678 h 6858000"/>
              <a:gd name="connsiteX269" fmla="*/ 10441913 w 12192000"/>
              <a:gd name="connsiteY269" fmla="*/ 354989 h 6858000"/>
              <a:gd name="connsiteX270" fmla="*/ 10423360 w 12192000"/>
              <a:gd name="connsiteY270" fmla="*/ 341271 h 6858000"/>
              <a:gd name="connsiteX271" fmla="*/ 10397667 w 12192000"/>
              <a:gd name="connsiteY271" fmla="*/ 336268 h 6858000"/>
              <a:gd name="connsiteX272" fmla="*/ 0 w 12192000"/>
              <a:gd name="connsiteY272" fmla="*/ 0 h 6858000"/>
              <a:gd name="connsiteX273" fmla="*/ 12192000 w 12192000"/>
              <a:gd name="connsiteY273" fmla="*/ 0 h 6858000"/>
              <a:gd name="connsiteX274" fmla="*/ 12192000 w 12192000"/>
              <a:gd name="connsiteY274" fmla="*/ 6858000 h 6858000"/>
              <a:gd name="connsiteX275" fmla="*/ 0 w 12192000"/>
              <a:gd name="connsiteY27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</a:cxnLst>
            <a:rect l="l" t="t" r="r" b="b"/>
            <a:pathLst>
              <a:path w="12192000" h="6858000">
                <a:moveTo>
                  <a:pt x="695326" y="563715"/>
                </a:moveTo>
                <a:lnTo>
                  <a:pt x="695326" y="637674"/>
                </a:lnTo>
                <a:lnTo>
                  <a:pt x="695478" y="637674"/>
                </a:lnTo>
                <a:lnTo>
                  <a:pt x="769850" y="563715"/>
                </a:lnTo>
                <a:close/>
                <a:moveTo>
                  <a:pt x="11408682" y="456185"/>
                </a:moveTo>
                <a:cubicBezTo>
                  <a:pt x="11407164" y="459840"/>
                  <a:pt x="11405870" y="463606"/>
                  <a:pt x="11404634" y="467429"/>
                </a:cubicBezTo>
                <a:cubicBezTo>
                  <a:pt x="11403465" y="471084"/>
                  <a:pt x="11402692" y="474854"/>
                  <a:pt x="11402329" y="478673"/>
                </a:cubicBezTo>
                <a:cubicBezTo>
                  <a:pt x="11408350" y="480794"/>
                  <a:pt x="11414537" y="482411"/>
                  <a:pt x="11420825" y="483508"/>
                </a:cubicBezTo>
                <a:cubicBezTo>
                  <a:pt x="11428498" y="484781"/>
                  <a:pt x="11436267" y="485383"/>
                  <a:pt x="11444044" y="485307"/>
                </a:cubicBezTo>
                <a:cubicBezTo>
                  <a:pt x="11446406" y="485308"/>
                  <a:pt x="11448598" y="485026"/>
                  <a:pt x="11450847" y="484858"/>
                </a:cubicBezTo>
                <a:lnTo>
                  <a:pt x="11458662" y="460402"/>
                </a:lnTo>
                <a:cubicBezTo>
                  <a:pt x="11457504" y="460814"/>
                  <a:pt x="11456321" y="461152"/>
                  <a:pt x="11455120" y="461414"/>
                </a:cubicBezTo>
                <a:cubicBezTo>
                  <a:pt x="11451139" y="462344"/>
                  <a:pt x="11447064" y="462816"/>
                  <a:pt x="11442976" y="462819"/>
                </a:cubicBezTo>
                <a:cubicBezTo>
                  <a:pt x="11436973" y="462800"/>
                  <a:pt x="11430985" y="462197"/>
                  <a:pt x="11425098" y="461020"/>
                </a:cubicBezTo>
                <a:cubicBezTo>
                  <a:pt x="11419490" y="459912"/>
                  <a:pt x="11413995" y="458293"/>
                  <a:pt x="11408682" y="456185"/>
                </a:cubicBezTo>
                <a:close/>
                <a:moveTo>
                  <a:pt x="10223271" y="381243"/>
                </a:moveTo>
                <a:lnTo>
                  <a:pt x="10214501" y="408679"/>
                </a:lnTo>
                <a:cubicBezTo>
                  <a:pt x="10218849" y="411054"/>
                  <a:pt x="10223357" y="413120"/>
                  <a:pt x="10227994" y="414863"/>
                </a:cubicBezTo>
                <a:lnTo>
                  <a:pt x="10237720" y="418461"/>
                </a:lnTo>
                <a:cubicBezTo>
                  <a:pt x="10241206" y="419530"/>
                  <a:pt x="10244467" y="420710"/>
                  <a:pt x="10247559" y="421891"/>
                </a:cubicBezTo>
                <a:cubicBezTo>
                  <a:pt x="10250379" y="422995"/>
                  <a:pt x="10253059" y="424429"/>
                  <a:pt x="10255542" y="426164"/>
                </a:cubicBezTo>
                <a:cubicBezTo>
                  <a:pt x="10257843" y="427769"/>
                  <a:pt x="10259763" y="429861"/>
                  <a:pt x="10261164" y="432292"/>
                </a:cubicBezTo>
                <a:cubicBezTo>
                  <a:pt x="10262665" y="435085"/>
                  <a:pt x="10263384" y="438232"/>
                  <a:pt x="10263244" y="441399"/>
                </a:cubicBezTo>
                <a:cubicBezTo>
                  <a:pt x="10263286" y="444587"/>
                  <a:pt x="10262387" y="447716"/>
                  <a:pt x="10260658" y="450395"/>
                </a:cubicBezTo>
                <a:cubicBezTo>
                  <a:pt x="10258813" y="453090"/>
                  <a:pt x="10256442" y="455385"/>
                  <a:pt x="10253687" y="457141"/>
                </a:cubicBezTo>
                <a:cubicBezTo>
                  <a:pt x="10250606" y="459114"/>
                  <a:pt x="10247198" y="460523"/>
                  <a:pt x="10243623" y="461301"/>
                </a:cubicBezTo>
                <a:cubicBezTo>
                  <a:pt x="10239642" y="462232"/>
                  <a:pt x="10235568" y="462703"/>
                  <a:pt x="10231480" y="462707"/>
                </a:cubicBezTo>
                <a:cubicBezTo>
                  <a:pt x="10220437" y="462830"/>
                  <a:pt x="10209464" y="460944"/>
                  <a:pt x="10199097" y="457141"/>
                </a:cubicBezTo>
                <a:lnTo>
                  <a:pt x="10192013" y="479180"/>
                </a:lnTo>
                <a:cubicBezTo>
                  <a:pt x="10197626" y="481109"/>
                  <a:pt x="10203377" y="482613"/>
                  <a:pt x="10209216" y="483677"/>
                </a:cubicBezTo>
                <a:cubicBezTo>
                  <a:pt x="10216889" y="484950"/>
                  <a:pt x="10224658" y="485552"/>
                  <a:pt x="10232435" y="485476"/>
                </a:cubicBezTo>
                <a:cubicBezTo>
                  <a:pt x="10240483" y="485554"/>
                  <a:pt x="10248497" y="484436"/>
                  <a:pt x="10256217" y="482159"/>
                </a:cubicBezTo>
                <a:cubicBezTo>
                  <a:pt x="10262870" y="480243"/>
                  <a:pt x="10269106" y="477096"/>
                  <a:pt x="10274601" y="472883"/>
                </a:cubicBezTo>
                <a:cubicBezTo>
                  <a:pt x="10279598" y="469080"/>
                  <a:pt x="10283625" y="464148"/>
                  <a:pt x="10286351" y="458491"/>
                </a:cubicBezTo>
                <a:cubicBezTo>
                  <a:pt x="10289196" y="452686"/>
                  <a:pt x="10290622" y="446289"/>
                  <a:pt x="10290511" y="439825"/>
                </a:cubicBezTo>
                <a:cubicBezTo>
                  <a:pt x="10290687" y="434423"/>
                  <a:pt x="10289809" y="429038"/>
                  <a:pt x="10287925" y="423971"/>
                </a:cubicBezTo>
                <a:cubicBezTo>
                  <a:pt x="10286349" y="419808"/>
                  <a:pt x="10283982" y="415990"/>
                  <a:pt x="10280954" y="412727"/>
                </a:cubicBezTo>
                <a:cubicBezTo>
                  <a:pt x="10278019" y="409621"/>
                  <a:pt x="10274578" y="407036"/>
                  <a:pt x="10270778" y="405081"/>
                </a:cubicBezTo>
                <a:cubicBezTo>
                  <a:pt x="10266714" y="403031"/>
                  <a:pt x="10262505" y="401283"/>
                  <a:pt x="10258185" y="399853"/>
                </a:cubicBezTo>
                <a:lnTo>
                  <a:pt x="10245984" y="395692"/>
                </a:lnTo>
                <a:cubicBezTo>
                  <a:pt x="10242667" y="394568"/>
                  <a:pt x="10239575" y="393500"/>
                  <a:pt x="10236708" y="392375"/>
                </a:cubicBezTo>
                <a:cubicBezTo>
                  <a:pt x="10234033" y="391341"/>
                  <a:pt x="10231486" y="390002"/>
                  <a:pt x="10229118" y="388383"/>
                </a:cubicBezTo>
                <a:cubicBezTo>
                  <a:pt x="10227002" y="386894"/>
                  <a:pt x="10225222" y="384979"/>
                  <a:pt x="10223890" y="382761"/>
                </a:cubicBezTo>
                <a:cubicBezTo>
                  <a:pt x="10223626" y="382281"/>
                  <a:pt x="10223419" y="381771"/>
                  <a:pt x="10223271" y="381243"/>
                </a:cubicBezTo>
                <a:close/>
                <a:moveTo>
                  <a:pt x="10995461" y="359149"/>
                </a:moveTo>
                <a:cubicBezTo>
                  <a:pt x="11006587" y="358414"/>
                  <a:pt x="11017275" y="363608"/>
                  <a:pt x="11023571" y="372810"/>
                </a:cubicBezTo>
                <a:cubicBezTo>
                  <a:pt x="11035713" y="396970"/>
                  <a:pt x="11035713" y="425448"/>
                  <a:pt x="11023571" y="449608"/>
                </a:cubicBezTo>
                <a:cubicBezTo>
                  <a:pt x="11017325" y="458880"/>
                  <a:pt x="11006616" y="464127"/>
                  <a:pt x="10995461" y="463382"/>
                </a:cubicBezTo>
                <a:lnTo>
                  <a:pt x="10995461" y="463325"/>
                </a:lnTo>
                <a:cubicBezTo>
                  <a:pt x="10984301" y="464167"/>
                  <a:pt x="10973555" y="458923"/>
                  <a:pt x="10967350" y="449608"/>
                </a:cubicBezTo>
                <a:cubicBezTo>
                  <a:pt x="10955359" y="425413"/>
                  <a:pt x="10955359" y="397005"/>
                  <a:pt x="10967350" y="372810"/>
                </a:cubicBezTo>
                <a:cubicBezTo>
                  <a:pt x="10973592" y="363545"/>
                  <a:pt x="10984319" y="358332"/>
                  <a:pt x="10995461" y="359149"/>
                </a:cubicBezTo>
                <a:close/>
                <a:moveTo>
                  <a:pt x="10396936" y="358587"/>
                </a:moveTo>
                <a:cubicBezTo>
                  <a:pt x="10402051" y="358447"/>
                  <a:pt x="10407124" y="359546"/>
                  <a:pt x="10411722" y="361792"/>
                </a:cubicBezTo>
                <a:cubicBezTo>
                  <a:pt x="10415757" y="363747"/>
                  <a:pt x="10419265" y="366638"/>
                  <a:pt x="10421954" y="370225"/>
                </a:cubicBezTo>
                <a:cubicBezTo>
                  <a:pt x="10424745" y="373912"/>
                  <a:pt x="10426824" y="378088"/>
                  <a:pt x="10428082" y="382537"/>
                </a:cubicBezTo>
                <a:cubicBezTo>
                  <a:pt x="10429450" y="387346"/>
                  <a:pt x="10430131" y="392324"/>
                  <a:pt x="10430106" y="397323"/>
                </a:cubicBezTo>
                <a:lnTo>
                  <a:pt x="10360168" y="397323"/>
                </a:lnTo>
                <a:cubicBezTo>
                  <a:pt x="10360761" y="386921"/>
                  <a:pt x="10364573" y="376960"/>
                  <a:pt x="10371075" y="368819"/>
                </a:cubicBezTo>
                <a:cubicBezTo>
                  <a:pt x="10377740" y="361726"/>
                  <a:pt x="10387222" y="357974"/>
                  <a:pt x="10396936" y="358587"/>
                </a:cubicBezTo>
                <a:close/>
                <a:moveTo>
                  <a:pt x="11356340" y="339023"/>
                </a:moveTo>
                <a:cubicBezTo>
                  <a:pt x="11351812" y="338994"/>
                  <a:pt x="11347286" y="339257"/>
                  <a:pt x="11342791" y="339810"/>
                </a:cubicBezTo>
                <a:lnTo>
                  <a:pt x="11302143" y="471759"/>
                </a:lnTo>
                <a:lnTo>
                  <a:pt x="11262789" y="339810"/>
                </a:lnTo>
                <a:cubicBezTo>
                  <a:pt x="11260313" y="339429"/>
                  <a:pt x="11257816" y="339204"/>
                  <a:pt x="11255312" y="339135"/>
                </a:cubicBezTo>
                <a:lnTo>
                  <a:pt x="11247328" y="339135"/>
                </a:lnTo>
                <a:lnTo>
                  <a:pt x="11240132" y="339135"/>
                </a:lnTo>
                <a:cubicBezTo>
                  <a:pt x="11237546" y="339247"/>
                  <a:pt x="11235016" y="339472"/>
                  <a:pt x="11232655" y="339810"/>
                </a:cubicBezTo>
                <a:lnTo>
                  <a:pt x="11279655" y="481710"/>
                </a:lnTo>
                <a:cubicBezTo>
                  <a:pt x="11280948" y="481879"/>
                  <a:pt x="11282635" y="482160"/>
                  <a:pt x="11284659" y="482160"/>
                </a:cubicBezTo>
                <a:lnTo>
                  <a:pt x="11290281" y="482160"/>
                </a:lnTo>
                <a:lnTo>
                  <a:pt x="11294835" y="482160"/>
                </a:lnTo>
                <a:lnTo>
                  <a:pt x="11299389" y="482160"/>
                </a:lnTo>
                <a:lnTo>
                  <a:pt x="11290731" y="508977"/>
                </a:lnTo>
                <a:cubicBezTo>
                  <a:pt x="11289584" y="512631"/>
                  <a:pt x="11288058" y="516154"/>
                  <a:pt x="11286177" y="519490"/>
                </a:cubicBezTo>
                <a:cubicBezTo>
                  <a:pt x="11284845" y="521769"/>
                  <a:pt x="11283112" y="523787"/>
                  <a:pt x="11281061" y="525450"/>
                </a:cubicBezTo>
                <a:cubicBezTo>
                  <a:pt x="11279307" y="526803"/>
                  <a:pt x="11277270" y="527744"/>
                  <a:pt x="11275102" y="528205"/>
                </a:cubicBezTo>
                <a:cubicBezTo>
                  <a:pt x="11272864" y="528666"/>
                  <a:pt x="11270584" y="528892"/>
                  <a:pt x="11268299" y="528879"/>
                </a:cubicBezTo>
                <a:cubicBezTo>
                  <a:pt x="11265199" y="528919"/>
                  <a:pt x="11262105" y="528598"/>
                  <a:pt x="11259079" y="527923"/>
                </a:cubicBezTo>
                <a:cubicBezTo>
                  <a:pt x="11256781" y="527446"/>
                  <a:pt x="11254510" y="526845"/>
                  <a:pt x="11252276" y="526124"/>
                </a:cubicBezTo>
                <a:cubicBezTo>
                  <a:pt x="11249207" y="532799"/>
                  <a:pt x="11247707" y="540088"/>
                  <a:pt x="11247891" y="547432"/>
                </a:cubicBezTo>
                <a:cubicBezTo>
                  <a:pt x="11251476" y="548437"/>
                  <a:pt x="11255118" y="549226"/>
                  <a:pt x="11258798" y="549793"/>
                </a:cubicBezTo>
                <a:cubicBezTo>
                  <a:pt x="11262947" y="550423"/>
                  <a:pt x="11267138" y="550743"/>
                  <a:pt x="11271335" y="550749"/>
                </a:cubicBezTo>
                <a:cubicBezTo>
                  <a:pt x="11276441" y="550841"/>
                  <a:pt x="11281535" y="550198"/>
                  <a:pt x="11286458" y="548838"/>
                </a:cubicBezTo>
                <a:cubicBezTo>
                  <a:pt x="11290809" y="547503"/>
                  <a:pt x="11294818" y="545240"/>
                  <a:pt x="11298208" y="542204"/>
                </a:cubicBezTo>
                <a:cubicBezTo>
                  <a:pt x="11302036" y="538617"/>
                  <a:pt x="11305212" y="534394"/>
                  <a:pt x="11307597" y="529723"/>
                </a:cubicBezTo>
                <a:cubicBezTo>
                  <a:pt x="11310770" y="523589"/>
                  <a:pt x="11313458" y="517217"/>
                  <a:pt x="11315636" y="510664"/>
                </a:cubicBezTo>
                <a:lnTo>
                  <a:pt x="11371014" y="339697"/>
                </a:lnTo>
                <a:cubicBezTo>
                  <a:pt x="11368428" y="339247"/>
                  <a:pt x="11365841" y="339023"/>
                  <a:pt x="11363255" y="339023"/>
                </a:cubicBezTo>
                <a:close/>
                <a:moveTo>
                  <a:pt x="10836637" y="338909"/>
                </a:moveTo>
                <a:cubicBezTo>
                  <a:pt x="10834782" y="338909"/>
                  <a:pt x="10832645" y="339022"/>
                  <a:pt x="10831015" y="339191"/>
                </a:cubicBezTo>
                <a:cubicBezTo>
                  <a:pt x="10829385" y="339359"/>
                  <a:pt x="10827417" y="339640"/>
                  <a:pt x="10825393" y="339978"/>
                </a:cubicBezTo>
                <a:lnTo>
                  <a:pt x="10825112" y="481878"/>
                </a:lnTo>
                <a:cubicBezTo>
                  <a:pt x="10827438" y="482283"/>
                  <a:pt x="10829784" y="482565"/>
                  <a:pt x="10832139" y="482721"/>
                </a:cubicBezTo>
                <a:cubicBezTo>
                  <a:pt x="10834669" y="483003"/>
                  <a:pt x="10836918" y="483003"/>
                  <a:pt x="10838942" y="483003"/>
                </a:cubicBezTo>
                <a:cubicBezTo>
                  <a:pt x="10840966" y="483003"/>
                  <a:pt x="10843215" y="482721"/>
                  <a:pt x="10845745" y="482721"/>
                </a:cubicBezTo>
                <a:cubicBezTo>
                  <a:pt x="10848009" y="482579"/>
                  <a:pt x="10850262" y="482298"/>
                  <a:pt x="10852491" y="481878"/>
                </a:cubicBezTo>
                <a:lnTo>
                  <a:pt x="10852491" y="411153"/>
                </a:lnTo>
                <a:cubicBezTo>
                  <a:pt x="10852258" y="403178"/>
                  <a:pt x="10853340" y="395219"/>
                  <a:pt x="10855696" y="387596"/>
                </a:cubicBezTo>
                <a:cubicBezTo>
                  <a:pt x="10857372" y="382210"/>
                  <a:pt x="10860300" y="377296"/>
                  <a:pt x="10864241" y="373260"/>
                </a:cubicBezTo>
                <a:cubicBezTo>
                  <a:pt x="10867650" y="369880"/>
                  <a:pt x="10871812" y="367355"/>
                  <a:pt x="10876385" y="365895"/>
                </a:cubicBezTo>
                <a:cubicBezTo>
                  <a:pt x="10881019" y="364512"/>
                  <a:pt x="10885829" y="363812"/>
                  <a:pt x="10890665" y="363815"/>
                </a:cubicBezTo>
                <a:lnTo>
                  <a:pt x="10894376" y="363815"/>
                </a:lnTo>
                <a:cubicBezTo>
                  <a:pt x="10895910" y="363829"/>
                  <a:pt x="10897438" y="364017"/>
                  <a:pt x="10898929" y="364377"/>
                </a:cubicBezTo>
                <a:cubicBezTo>
                  <a:pt x="10899304" y="362203"/>
                  <a:pt x="10899642" y="359898"/>
                  <a:pt x="10899941" y="357462"/>
                </a:cubicBezTo>
                <a:cubicBezTo>
                  <a:pt x="10900209" y="355167"/>
                  <a:pt x="10900341" y="352858"/>
                  <a:pt x="10900335" y="350547"/>
                </a:cubicBezTo>
                <a:cubicBezTo>
                  <a:pt x="10900335" y="348692"/>
                  <a:pt x="10900054" y="346780"/>
                  <a:pt x="10900054" y="344925"/>
                </a:cubicBezTo>
                <a:cubicBezTo>
                  <a:pt x="10899901" y="343164"/>
                  <a:pt x="10899619" y="341416"/>
                  <a:pt x="10899211" y="339697"/>
                </a:cubicBezTo>
                <a:cubicBezTo>
                  <a:pt x="10897891" y="339462"/>
                  <a:pt x="10896558" y="339312"/>
                  <a:pt x="10895219" y="339247"/>
                </a:cubicBezTo>
                <a:lnTo>
                  <a:pt x="10890665" y="339247"/>
                </a:lnTo>
                <a:cubicBezTo>
                  <a:pt x="10881967" y="338886"/>
                  <a:pt x="10873380" y="341309"/>
                  <a:pt x="10866153" y="346162"/>
                </a:cubicBezTo>
                <a:cubicBezTo>
                  <a:pt x="10860010" y="350530"/>
                  <a:pt x="10854794" y="356071"/>
                  <a:pt x="10850805" y="362466"/>
                </a:cubicBezTo>
                <a:cubicBezTo>
                  <a:pt x="10850769" y="358705"/>
                  <a:pt x="10850506" y="354951"/>
                  <a:pt x="10850018" y="351222"/>
                </a:cubicBezTo>
                <a:cubicBezTo>
                  <a:pt x="10849455" y="346387"/>
                  <a:pt x="10848893" y="342789"/>
                  <a:pt x="10848331" y="339978"/>
                </a:cubicBezTo>
                <a:cubicBezTo>
                  <a:pt x="10846475" y="339601"/>
                  <a:pt x="10844597" y="339338"/>
                  <a:pt x="10842709" y="339191"/>
                </a:cubicBezTo>
                <a:cubicBezTo>
                  <a:pt x="10840685" y="338909"/>
                  <a:pt x="10838492" y="338909"/>
                  <a:pt x="10836637" y="338909"/>
                </a:cubicBezTo>
                <a:close/>
                <a:moveTo>
                  <a:pt x="10664715" y="338909"/>
                </a:moveTo>
                <a:cubicBezTo>
                  <a:pt x="10662860" y="338909"/>
                  <a:pt x="10660667" y="339022"/>
                  <a:pt x="10658081" y="339191"/>
                </a:cubicBezTo>
                <a:cubicBezTo>
                  <a:pt x="10655495" y="339359"/>
                  <a:pt x="10653190" y="339640"/>
                  <a:pt x="10651166" y="339978"/>
                </a:cubicBezTo>
                <a:lnTo>
                  <a:pt x="10651391" y="418799"/>
                </a:lnTo>
                <a:cubicBezTo>
                  <a:pt x="10650976" y="430456"/>
                  <a:pt x="10652750" y="442089"/>
                  <a:pt x="10656619" y="453093"/>
                </a:cubicBezTo>
                <a:cubicBezTo>
                  <a:pt x="10659554" y="460988"/>
                  <a:pt x="10664518" y="467969"/>
                  <a:pt x="10671012" y="473333"/>
                </a:cubicBezTo>
                <a:cubicBezTo>
                  <a:pt x="10677211" y="478156"/>
                  <a:pt x="10684481" y="481415"/>
                  <a:pt x="10692207" y="482834"/>
                </a:cubicBezTo>
                <a:cubicBezTo>
                  <a:pt x="10700637" y="484449"/>
                  <a:pt x="10709204" y="485240"/>
                  <a:pt x="10717787" y="485195"/>
                </a:cubicBezTo>
                <a:cubicBezTo>
                  <a:pt x="10727101" y="485208"/>
                  <a:pt x="10736396" y="484381"/>
                  <a:pt x="10745560" y="482721"/>
                </a:cubicBezTo>
                <a:cubicBezTo>
                  <a:pt x="10754499" y="481035"/>
                  <a:pt x="10762201" y="479292"/>
                  <a:pt x="10768667" y="477437"/>
                </a:cubicBezTo>
                <a:lnTo>
                  <a:pt x="10768667" y="339978"/>
                </a:lnTo>
                <a:cubicBezTo>
                  <a:pt x="10766643" y="339640"/>
                  <a:pt x="10764338" y="339472"/>
                  <a:pt x="10761864" y="339191"/>
                </a:cubicBezTo>
                <a:cubicBezTo>
                  <a:pt x="10759390" y="338909"/>
                  <a:pt x="10757198" y="338909"/>
                  <a:pt x="10755118" y="338909"/>
                </a:cubicBezTo>
                <a:cubicBezTo>
                  <a:pt x="10753037" y="338909"/>
                  <a:pt x="10750789" y="339022"/>
                  <a:pt x="10748315" y="339191"/>
                </a:cubicBezTo>
                <a:cubicBezTo>
                  <a:pt x="10745841" y="339359"/>
                  <a:pt x="10743592" y="339640"/>
                  <a:pt x="10741512" y="339978"/>
                </a:cubicBezTo>
                <a:lnTo>
                  <a:pt x="10741512" y="459278"/>
                </a:lnTo>
                <a:cubicBezTo>
                  <a:pt x="10733703" y="461463"/>
                  <a:pt x="10725614" y="462486"/>
                  <a:pt x="10717506" y="462314"/>
                </a:cubicBezTo>
                <a:cubicBezTo>
                  <a:pt x="10711822" y="462405"/>
                  <a:pt x="10706150" y="461744"/>
                  <a:pt x="10700640" y="460346"/>
                </a:cubicBezTo>
                <a:cubicBezTo>
                  <a:pt x="10696050" y="459159"/>
                  <a:pt x="10691859" y="456773"/>
                  <a:pt x="10688496" y="453431"/>
                </a:cubicBezTo>
                <a:cubicBezTo>
                  <a:pt x="10684891" y="449581"/>
                  <a:pt x="10682319" y="444881"/>
                  <a:pt x="10681019" y="439769"/>
                </a:cubicBezTo>
                <a:cubicBezTo>
                  <a:pt x="10679215" y="432585"/>
                  <a:pt x="10678383" y="425192"/>
                  <a:pt x="10678545" y="417787"/>
                </a:cubicBezTo>
                <a:lnTo>
                  <a:pt x="10678545" y="339978"/>
                </a:lnTo>
                <a:cubicBezTo>
                  <a:pt x="10676521" y="339640"/>
                  <a:pt x="10674216" y="339472"/>
                  <a:pt x="10671630" y="339191"/>
                </a:cubicBezTo>
                <a:cubicBezTo>
                  <a:pt x="10669044" y="338909"/>
                  <a:pt x="10666570" y="338909"/>
                  <a:pt x="10664715" y="338909"/>
                </a:cubicBezTo>
                <a:close/>
                <a:moveTo>
                  <a:pt x="10568184" y="336774"/>
                </a:moveTo>
                <a:cubicBezTo>
                  <a:pt x="10557855" y="336496"/>
                  <a:pt x="10547585" y="338413"/>
                  <a:pt x="10538050" y="342396"/>
                </a:cubicBezTo>
                <a:cubicBezTo>
                  <a:pt x="10529752" y="345993"/>
                  <a:pt x="10522345" y="351367"/>
                  <a:pt x="10516349" y="358138"/>
                </a:cubicBezTo>
                <a:cubicBezTo>
                  <a:pt x="10510429" y="365007"/>
                  <a:pt x="10505955" y="373000"/>
                  <a:pt x="10503194" y="381638"/>
                </a:cubicBezTo>
                <a:cubicBezTo>
                  <a:pt x="10500203" y="391130"/>
                  <a:pt x="10498723" y="401033"/>
                  <a:pt x="10498808" y="410985"/>
                </a:cubicBezTo>
                <a:cubicBezTo>
                  <a:pt x="10498771" y="433623"/>
                  <a:pt x="10504749" y="451632"/>
                  <a:pt x="10516743" y="465013"/>
                </a:cubicBezTo>
                <a:cubicBezTo>
                  <a:pt x="10528736" y="478393"/>
                  <a:pt x="10546540" y="485084"/>
                  <a:pt x="10570152" y="485084"/>
                </a:cubicBezTo>
                <a:cubicBezTo>
                  <a:pt x="10582882" y="485294"/>
                  <a:pt x="10595540" y="483140"/>
                  <a:pt x="10607483" y="478731"/>
                </a:cubicBezTo>
                <a:cubicBezTo>
                  <a:pt x="10607280" y="474696"/>
                  <a:pt x="10606620" y="470697"/>
                  <a:pt x="10605515" y="466812"/>
                </a:cubicBezTo>
                <a:cubicBezTo>
                  <a:pt x="10604637" y="463437"/>
                  <a:pt x="10603333" y="460188"/>
                  <a:pt x="10601636" y="457142"/>
                </a:cubicBezTo>
                <a:cubicBezTo>
                  <a:pt x="10597058" y="459024"/>
                  <a:pt x="10592289" y="460400"/>
                  <a:pt x="10587412" y="461246"/>
                </a:cubicBezTo>
                <a:cubicBezTo>
                  <a:pt x="10582332" y="462013"/>
                  <a:pt x="10577201" y="462389"/>
                  <a:pt x="10572064" y="462370"/>
                </a:cubicBezTo>
                <a:cubicBezTo>
                  <a:pt x="10559947" y="463031"/>
                  <a:pt x="10548112" y="458562"/>
                  <a:pt x="10539456" y="450058"/>
                </a:cubicBezTo>
                <a:cubicBezTo>
                  <a:pt x="10531510" y="441887"/>
                  <a:pt x="10527537" y="428938"/>
                  <a:pt x="10527537" y="411210"/>
                </a:cubicBezTo>
                <a:cubicBezTo>
                  <a:pt x="10526870" y="397952"/>
                  <a:pt x="10530563" y="384841"/>
                  <a:pt x="10538050" y="373879"/>
                </a:cubicBezTo>
                <a:cubicBezTo>
                  <a:pt x="10545650" y="364175"/>
                  <a:pt x="10557577" y="358886"/>
                  <a:pt x="10569871" y="359768"/>
                </a:cubicBezTo>
                <a:cubicBezTo>
                  <a:pt x="10580383" y="359609"/>
                  <a:pt x="10590850" y="361186"/>
                  <a:pt x="10600849" y="364434"/>
                </a:cubicBezTo>
                <a:cubicBezTo>
                  <a:pt x="10602423" y="360949"/>
                  <a:pt x="10603574" y="357287"/>
                  <a:pt x="10604278" y="353527"/>
                </a:cubicBezTo>
                <a:cubicBezTo>
                  <a:pt x="10605051" y="349942"/>
                  <a:pt x="10605465" y="346288"/>
                  <a:pt x="10605515" y="342621"/>
                </a:cubicBezTo>
                <a:cubicBezTo>
                  <a:pt x="10600057" y="340575"/>
                  <a:pt x="10594406" y="339087"/>
                  <a:pt x="10588649" y="338179"/>
                </a:cubicBezTo>
                <a:cubicBezTo>
                  <a:pt x="10581872" y="337198"/>
                  <a:pt x="10575031" y="336728"/>
                  <a:pt x="10568184" y="336774"/>
                </a:cubicBezTo>
                <a:close/>
                <a:moveTo>
                  <a:pt x="11458717" y="336717"/>
                </a:moveTo>
                <a:cubicBezTo>
                  <a:pt x="11441402" y="336717"/>
                  <a:pt x="11428284" y="340465"/>
                  <a:pt x="11419363" y="347961"/>
                </a:cubicBezTo>
                <a:cubicBezTo>
                  <a:pt x="11410457" y="355260"/>
                  <a:pt x="11405484" y="366309"/>
                  <a:pt x="11405926" y="377815"/>
                </a:cubicBezTo>
                <a:cubicBezTo>
                  <a:pt x="11405493" y="386084"/>
                  <a:pt x="11408388" y="394183"/>
                  <a:pt x="11413966" y="400303"/>
                </a:cubicBezTo>
                <a:cubicBezTo>
                  <a:pt x="11421386" y="407064"/>
                  <a:pt x="11430165" y="412163"/>
                  <a:pt x="11439715" y="415257"/>
                </a:cubicBezTo>
                <a:lnTo>
                  <a:pt x="11449385" y="418856"/>
                </a:lnTo>
                <a:cubicBezTo>
                  <a:pt x="11452870" y="419924"/>
                  <a:pt x="11456131" y="421104"/>
                  <a:pt x="11459223" y="422285"/>
                </a:cubicBezTo>
                <a:cubicBezTo>
                  <a:pt x="11462049" y="423376"/>
                  <a:pt x="11464731" y="424811"/>
                  <a:pt x="11467207" y="426558"/>
                </a:cubicBezTo>
                <a:cubicBezTo>
                  <a:pt x="11467938" y="427120"/>
                  <a:pt x="11468331" y="427907"/>
                  <a:pt x="11469006" y="428525"/>
                </a:cubicBezTo>
                <a:lnTo>
                  <a:pt x="11477046" y="403339"/>
                </a:lnTo>
                <a:cubicBezTo>
                  <a:pt x="11474689" y="402104"/>
                  <a:pt x="11472268" y="400997"/>
                  <a:pt x="11469793" y="400022"/>
                </a:cubicBezTo>
                <a:lnTo>
                  <a:pt x="11457593" y="395861"/>
                </a:lnTo>
                <a:cubicBezTo>
                  <a:pt x="11454276" y="394737"/>
                  <a:pt x="11451184" y="393669"/>
                  <a:pt x="11448317" y="392544"/>
                </a:cubicBezTo>
                <a:cubicBezTo>
                  <a:pt x="11445641" y="391510"/>
                  <a:pt x="11443095" y="390171"/>
                  <a:pt x="11440727" y="388553"/>
                </a:cubicBezTo>
                <a:cubicBezTo>
                  <a:pt x="11438611" y="387064"/>
                  <a:pt x="11436830" y="385149"/>
                  <a:pt x="11435498" y="382931"/>
                </a:cubicBezTo>
                <a:cubicBezTo>
                  <a:pt x="11434132" y="380476"/>
                  <a:pt x="11433452" y="377699"/>
                  <a:pt x="11433531" y="374891"/>
                </a:cubicBezTo>
                <a:cubicBezTo>
                  <a:pt x="11433185" y="369396"/>
                  <a:pt x="11436371" y="364290"/>
                  <a:pt x="11441458" y="362185"/>
                </a:cubicBezTo>
                <a:cubicBezTo>
                  <a:pt x="11447157" y="359680"/>
                  <a:pt x="11453336" y="358451"/>
                  <a:pt x="11459561" y="358587"/>
                </a:cubicBezTo>
                <a:cubicBezTo>
                  <a:pt x="11465657" y="358536"/>
                  <a:pt x="11471737" y="359235"/>
                  <a:pt x="11477664" y="360667"/>
                </a:cubicBezTo>
                <a:cubicBezTo>
                  <a:pt x="11482161" y="361792"/>
                  <a:pt x="11485984" y="362916"/>
                  <a:pt x="11489470" y="364041"/>
                </a:cubicBezTo>
                <a:lnTo>
                  <a:pt x="11496160" y="343070"/>
                </a:lnTo>
                <a:cubicBezTo>
                  <a:pt x="11490820" y="341309"/>
                  <a:pt x="11485374" y="339882"/>
                  <a:pt x="11479856" y="338798"/>
                </a:cubicBezTo>
                <a:cubicBezTo>
                  <a:pt x="11472893" y="337424"/>
                  <a:pt x="11465814" y="336727"/>
                  <a:pt x="11458717" y="336717"/>
                </a:cubicBezTo>
                <a:close/>
                <a:moveTo>
                  <a:pt x="10995433" y="336550"/>
                </a:moveTo>
                <a:cubicBezTo>
                  <a:pt x="10985557" y="336550"/>
                  <a:pt x="10975682" y="338499"/>
                  <a:pt x="10966395" y="342395"/>
                </a:cubicBezTo>
                <a:cubicBezTo>
                  <a:pt x="10958389" y="346025"/>
                  <a:pt x="10951300" y="351404"/>
                  <a:pt x="10945649" y="358137"/>
                </a:cubicBezTo>
                <a:cubicBezTo>
                  <a:pt x="10939977" y="365043"/>
                  <a:pt x="10935786" y="373042"/>
                  <a:pt x="10933337" y="381637"/>
                </a:cubicBezTo>
                <a:cubicBezTo>
                  <a:pt x="10927941" y="400811"/>
                  <a:pt x="10927941" y="421102"/>
                  <a:pt x="10933337" y="440275"/>
                </a:cubicBezTo>
                <a:cubicBezTo>
                  <a:pt x="10935762" y="448959"/>
                  <a:pt x="10939975" y="457040"/>
                  <a:pt x="10945706" y="464000"/>
                </a:cubicBezTo>
                <a:cubicBezTo>
                  <a:pt x="10951332" y="470731"/>
                  <a:pt x="10958429" y="476079"/>
                  <a:pt x="10966451" y="479630"/>
                </a:cubicBezTo>
                <a:cubicBezTo>
                  <a:pt x="10975606" y="483560"/>
                  <a:pt x="10985500" y="485477"/>
                  <a:pt x="10995461" y="485252"/>
                </a:cubicBezTo>
                <a:cubicBezTo>
                  <a:pt x="11005437" y="485398"/>
                  <a:pt x="11015329" y="483404"/>
                  <a:pt x="11024470" y="479405"/>
                </a:cubicBezTo>
                <a:cubicBezTo>
                  <a:pt x="11032475" y="475824"/>
                  <a:pt x="11039567" y="470482"/>
                  <a:pt x="11045216" y="463775"/>
                </a:cubicBezTo>
                <a:cubicBezTo>
                  <a:pt x="11050877" y="456862"/>
                  <a:pt x="11055067" y="448865"/>
                  <a:pt x="11057528" y="440275"/>
                </a:cubicBezTo>
                <a:cubicBezTo>
                  <a:pt x="11062850" y="421091"/>
                  <a:pt x="11062850" y="400821"/>
                  <a:pt x="11057528" y="381637"/>
                </a:cubicBezTo>
                <a:cubicBezTo>
                  <a:pt x="11055055" y="373052"/>
                  <a:pt x="11050867" y="365057"/>
                  <a:pt x="11045216" y="358137"/>
                </a:cubicBezTo>
                <a:cubicBezTo>
                  <a:pt x="11039541" y="351430"/>
                  <a:pt x="11032458" y="346055"/>
                  <a:pt x="11024470" y="342395"/>
                </a:cubicBezTo>
                <a:cubicBezTo>
                  <a:pt x="11015183" y="338499"/>
                  <a:pt x="11005308" y="336550"/>
                  <a:pt x="10995433" y="336550"/>
                </a:cubicBezTo>
                <a:close/>
                <a:moveTo>
                  <a:pt x="10247109" y="336492"/>
                </a:moveTo>
                <a:cubicBezTo>
                  <a:pt x="10243623" y="336492"/>
                  <a:pt x="10240475" y="336774"/>
                  <a:pt x="10237383" y="337055"/>
                </a:cubicBezTo>
                <a:lnTo>
                  <a:pt x="10229287" y="362298"/>
                </a:lnTo>
                <a:lnTo>
                  <a:pt x="10229793" y="362129"/>
                </a:lnTo>
                <a:cubicBezTo>
                  <a:pt x="10235514" y="359627"/>
                  <a:pt x="10241710" y="358400"/>
                  <a:pt x="10247952" y="358531"/>
                </a:cubicBezTo>
                <a:cubicBezTo>
                  <a:pt x="10254049" y="358483"/>
                  <a:pt x="10260128" y="359182"/>
                  <a:pt x="10266055" y="360611"/>
                </a:cubicBezTo>
                <a:cubicBezTo>
                  <a:pt x="10271677" y="362017"/>
                  <a:pt x="10276512" y="363422"/>
                  <a:pt x="10280560" y="364884"/>
                </a:cubicBezTo>
                <a:cubicBezTo>
                  <a:pt x="10282078" y="361576"/>
                  <a:pt x="10283338" y="358155"/>
                  <a:pt x="10284327" y="354652"/>
                </a:cubicBezTo>
                <a:cubicBezTo>
                  <a:pt x="10285342" y="350973"/>
                  <a:pt x="10286019" y="347209"/>
                  <a:pt x="10286351" y="343408"/>
                </a:cubicBezTo>
                <a:cubicBezTo>
                  <a:pt x="10280433" y="341388"/>
                  <a:pt x="10274385" y="339773"/>
                  <a:pt x="10268248" y="338573"/>
                </a:cubicBezTo>
                <a:cubicBezTo>
                  <a:pt x="10261285" y="337199"/>
                  <a:pt x="10254206" y="336502"/>
                  <a:pt x="10247109" y="336492"/>
                </a:cubicBezTo>
                <a:close/>
                <a:moveTo>
                  <a:pt x="11158725" y="336436"/>
                </a:moveTo>
                <a:cubicBezTo>
                  <a:pt x="11141465" y="336436"/>
                  <a:pt x="11128366" y="340316"/>
                  <a:pt x="11119370" y="347681"/>
                </a:cubicBezTo>
                <a:cubicBezTo>
                  <a:pt x="11110478" y="354985"/>
                  <a:pt x="11105525" y="366036"/>
                  <a:pt x="11105990" y="377534"/>
                </a:cubicBezTo>
                <a:cubicBezTo>
                  <a:pt x="11105556" y="385803"/>
                  <a:pt x="11108452" y="393902"/>
                  <a:pt x="11114029" y="400022"/>
                </a:cubicBezTo>
                <a:cubicBezTo>
                  <a:pt x="11121428" y="406783"/>
                  <a:pt x="11130189" y="411882"/>
                  <a:pt x="11139722" y="414977"/>
                </a:cubicBezTo>
                <a:lnTo>
                  <a:pt x="11149392" y="418575"/>
                </a:lnTo>
                <a:cubicBezTo>
                  <a:pt x="11152934" y="419643"/>
                  <a:pt x="11156195" y="420823"/>
                  <a:pt x="11159230" y="422004"/>
                </a:cubicBezTo>
                <a:cubicBezTo>
                  <a:pt x="11162074" y="423096"/>
                  <a:pt x="11164774" y="424531"/>
                  <a:pt x="11167270" y="426277"/>
                </a:cubicBezTo>
                <a:cubicBezTo>
                  <a:pt x="11169571" y="427882"/>
                  <a:pt x="11171490" y="429974"/>
                  <a:pt x="11172892" y="432405"/>
                </a:cubicBezTo>
                <a:cubicBezTo>
                  <a:pt x="11174393" y="435198"/>
                  <a:pt x="11175112" y="438345"/>
                  <a:pt x="11174972" y="441513"/>
                </a:cubicBezTo>
                <a:cubicBezTo>
                  <a:pt x="11174998" y="444706"/>
                  <a:pt x="11174078" y="447836"/>
                  <a:pt x="11172330" y="450508"/>
                </a:cubicBezTo>
                <a:cubicBezTo>
                  <a:pt x="11170521" y="453214"/>
                  <a:pt x="11168165" y="455512"/>
                  <a:pt x="11165415" y="457254"/>
                </a:cubicBezTo>
                <a:cubicBezTo>
                  <a:pt x="11162324" y="459208"/>
                  <a:pt x="11158920" y="460615"/>
                  <a:pt x="11155351" y="461415"/>
                </a:cubicBezTo>
                <a:cubicBezTo>
                  <a:pt x="11151352" y="462348"/>
                  <a:pt x="11147259" y="462820"/>
                  <a:pt x="11143152" y="462820"/>
                </a:cubicBezTo>
                <a:cubicBezTo>
                  <a:pt x="11137167" y="462803"/>
                  <a:pt x="11131197" y="462201"/>
                  <a:pt x="11125330" y="461021"/>
                </a:cubicBezTo>
                <a:cubicBezTo>
                  <a:pt x="11119704" y="459912"/>
                  <a:pt x="11114190" y="458294"/>
                  <a:pt x="11108857" y="456186"/>
                </a:cubicBezTo>
                <a:cubicBezTo>
                  <a:pt x="11107620" y="459841"/>
                  <a:pt x="11106046" y="463607"/>
                  <a:pt x="11104640" y="467374"/>
                </a:cubicBezTo>
                <a:cubicBezTo>
                  <a:pt x="11103480" y="471034"/>
                  <a:pt x="11102689" y="474801"/>
                  <a:pt x="11102279" y="478618"/>
                </a:cubicBezTo>
                <a:cubicBezTo>
                  <a:pt x="11108321" y="480732"/>
                  <a:pt x="11114526" y="482349"/>
                  <a:pt x="11120832" y="483453"/>
                </a:cubicBezTo>
                <a:cubicBezTo>
                  <a:pt x="11128504" y="484728"/>
                  <a:pt x="11136273" y="485330"/>
                  <a:pt x="11144051" y="485252"/>
                </a:cubicBezTo>
                <a:cubicBezTo>
                  <a:pt x="11152098" y="485330"/>
                  <a:pt x="11160113" y="484212"/>
                  <a:pt x="11167832" y="481935"/>
                </a:cubicBezTo>
                <a:cubicBezTo>
                  <a:pt x="11174486" y="480018"/>
                  <a:pt x="11180721" y="476872"/>
                  <a:pt x="11186216" y="472659"/>
                </a:cubicBezTo>
                <a:cubicBezTo>
                  <a:pt x="11191199" y="468840"/>
                  <a:pt x="11195222" y="463912"/>
                  <a:pt x="11197966" y="458266"/>
                </a:cubicBezTo>
                <a:cubicBezTo>
                  <a:pt x="11202929" y="447491"/>
                  <a:pt x="11203474" y="435200"/>
                  <a:pt x="11199484" y="424028"/>
                </a:cubicBezTo>
                <a:cubicBezTo>
                  <a:pt x="11197928" y="419868"/>
                  <a:pt x="11195580" y="416050"/>
                  <a:pt x="11192569" y="412784"/>
                </a:cubicBezTo>
                <a:cubicBezTo>
                  <a:pt x="11189614" y="409677"/>
                  <a:pt x="11186154" y="407092"/>
                  <a:pt x="11182337" y="405138"/>
                </a:cubicBezTo>
                <a:cubicBezTo>
                  <a:pt x="11178283" y="403068"/>
                  <a:pt x="11174072" y="401320"/>
                  <a:pt x="11169744" y="399909"/>
                </a:cubicBezTo>
                <a:lnTo>
                  <a:pt x="11157600" y="395749"/>
                </a:lnTo>
                <a:cubicBezTo>
                  <a:pt x="11154283" y="394625"/>
                  <a:pt x="11151191" y="393557"/>
                  <a:pt x="11148324" y="392432"/>
                </a:cubicBezTo>
                <a:cubicBezTo>
                  <a:pt x="11145638" y="391422"/>
                  <a:pt x="11143089" y="390081"/>
                  <a:pt x="11140735" y="388440"/>
                </a:cubicBezTo>
                <a:cubicBezTo>
                  <a:pt x="11138590" y="386968"/>
                  <a:pt x="11136787" y="385050"/>
                  <a:pt x="11135450" y="382818"/>
                </a:cubicBezTo>
                <a:cubicBezTo>
                  <a:pt x="11134103" y="380359"/>
                  <a:pt x="11133443" y="377582"/>
                  <a:pt x="11133538" y="374779"/>
                </a:cubicBezTo>
                <a:cubicBezTo>
                  <a:pt x="11133183" y="369298"/>
                  <a:pt x="11136344" y="364196"/>
                  <a:pt x="11141409" y="362073"/>
                </a:cubicBezTo>
                <a:cubicBezTo>
                  <a:pt x="11147112" y="359578"/>
                  <a:pt x="11153288" y="358350"/>
                  <a:pt x="11159512" y="358475"/>
                </a:cubicBezTo>
                <a:cubicBezTo>
                  <a:pt x="11165627" y="358427"/>
                  <a:pt x="11171725" y="359126"/>
                  <a:pt x="11177671" y="360555"/>
                </a:cubicBezTo>
                <a:cubicBezTo>
                  <a:pt x="11183293" y="361961"/>
                  <a:pt x="11188128" y="363366"/>
                  <a:pt x="11192176" y="364828"/>
                </a:cubicBezTo>
                <a:cubicBezTo>
                  <a:pt x="11193700" y="361528"/>
                  <a:pt x="11194941" y="358105"/>
                  <a:pt x="11195887" y="354596"/>
                </a:cubicBezTo>
                <a:cubicBezTo>
                  <a:pt x="11196919" y="350918"/>
                  <a:pt x="11197616" y="347155"/>
                  <a:pt x="11197967" y="343352"/>
                </a:cubicBezTo>
                <a:cubicBezTo>
                  <a:pt x="11192047" y="341339"/>
                  <a:pt x="11185999" y="339724"/>
                  <a:pt x="11179864" y="338517"/>
                </a:cubicBezTo>
                <a:cubicBezTo>
                  <a:pt x="11172901" y="337143"/>
                  <a:pt x="11165822" y="336446"/>
                  <a:pt x="11158725" y="336436"/>
                </a:cubicBezTo>
                <a:close/>
                <a:moveTo>
                  <a:pt x="10397667" y="336268"/>
                </a:moveTo>
                <a:cubicBezTo>
                  <a:pt x="10387436" y="336040"/>
                  <a:pt x="10377280" y="338075"/>
                  <a:pt x="10367927" y="342227"/>
                </a:cubicBezTo>
                <a:cubicBezTo>
                  <a:pt x="10359861" y="345963"/>
                  <a:pt x="10352734" y="351457"/>
                  <a:pt x="10347069" y="358306"/>
                </a:cubicBezTo>
                <a:cubicBezTo>
                  <a:pt x="10341351" y="365288"/>
                  <a:pt x="10337158" y="373388"/>
                  <a:pt x="10334757" y="382087"/>
                </a:cubicBezTo>
                <a:cubicBezTo>
                  <a:pt x="10331998" y="391642"/>
                  <a:pt x="10330634" y="401546"/>
                  <a:pt x="10330709" y="411491"/>
                </a:cubicBezTo>
                <a:cubicBezTo>
                  <a:pt x="10330610" y="421464"/>
                  <a:pt x="10332013" y="431395"/>
                  <a:pt x="10334869" y="440950"/>
                </a:cubicBezTo>
                <a:cubicBezTo>
                  <a:pt x="10340044" y="458773"/>
                  <a:pt x="10353410" y="473058"/>
                  <a:pt x="10370850" y="479405"/>
                </a:cubicBezTo>
                <a:cubicBezTo>
                  <a:pt x="10381463" y="483316"/>
                  <a:pt x="10392711" y="485223"/>
                  <a:pt x="10404020" y="485027"/>
                </a:cubicBezTo>
                <a:cubicBezTo>
                  <a:pt x="10412137" y="485097"/>
                  <a:pt x="10420245" y="484457"/>
                  <a:pt x="10428251" y="483116"/>
                </a:cubicBezTo>
                <a:cubicBezTo>
                  <a:pt x="10435113" y="482000"/>
                  <a:pt x="10441827" y="480114"/>
                  <a:pt x="10448266" y="477494"/>
                </a:cubicBezTo>
                <a:cubicBezTo>
                  <a:pt x="10448070" y="473536"/>
                  <a:pt x="10447525" y="469604"/>
                  <a:pt x="10446635" y="465744"/>
                </a:cubicBezTo>
                <a:cubicBezTo>
                  <a:pt x="10445854" y="462254"/>
                  <a:pt x="10444645" y="458874"/>
                  <a:pt x="10443037" y="455680"/>
                </a:cubicBezTo>
                <a:cubicBezTo>
                  <a:pt x="10431119" y="460310"/>
                  <a:pt x="10418436" y="462655"/>
                  <a:pt x="10405650" y="462595"/>
                </a:cubicBezTo>
                <a:cubicBezTo>
                  <a:pt x="10390864" y="462595"/>
                  <a:pt x="10379564" y="458997"/>
                  <a:pt x="10371918" y="451801"/>
                </a:cubicBezTo>
                <a:cubicBezTo>
                  <a:pt x="10364272" y="444605"/>
                  <a:pt x="10360224" y="433248"/>
                  <a:pt x="10359887" y="417787"/>
                </a:cubicBezTo>
                <a:lnTo>
                  <a:pt x="10456474" y="417338"/>
                </a:lnTo>
                <a:cubicBezTo>
                  <a:pt x="10456642" y="415314"/>
                  <a:pt x="10457036" y="412503"/>
                  <a:pt x="10457036" y="409973"/>
                </a:cubicBezTo>
                <a:cubicBezTo>
                  <a:pt x="10457036" y="407443"/>
                  <a:pt x="10457036" y="404407"/>
                  <a:pt x="10457036" y="401821"/>
                </a:cubicBezTo>
                <a:cubicBezTo>
                  <a:pt x="10457115" y="392958"/>
                  <a:pt x="10455806" y="384137"/>
                  <a:pt x="10453157" y="375678"/>
                </a:cubicBezTo>
                <a:cubicBezTo>
                  <a:pt x="10450813" y="368107"/>
                  <a:pt x="10446991" y="361075"/>
                  <a:pt x="10441913" y="354989"/>
                </a:cubicBezTo>
                <a:cubicBezTo>
                  <a:pt x="10436839" y="349079"/>
                  <a:pt x="10430498" y="344390"/>
                  <a:pt x="10423360" y="341271"/>
                </a:cubicBezTo>
                <a:cubicBezTo>
                  <a:pt x="10415251" y="337789"/>
                  <a:pt x="10406491" y="336083"/>
                  <a:pt x="10397667" y="33626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4504AF-E94E-DA48-31BC-95619F95D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784225"/>
            <a:ext cx="10800000" cy="881063"/>
          </a:xfrm>
        </p:spPr>
        <p:txBody>
          <a:bodyPr/>
          <a:lstStyle>
            <a:lvl1pPr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6B8872-9806-99FE-5CC9-B342E125E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659896F-A09D-634D-AF1F-09071D4661DE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F9857B-6277-CE97-5166-A5DC9AFFE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0BD8B3-7E52-67C0-497B-DE5B36B34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27EFC5A-D034-43EB-AD4A-BFCEE41F55B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E443A44-926A-78B0-9D34-1FC133D018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566479" cy="233014"/>
          </a:xfrm>
          <a:solidFill>
            <a:schemeClr val="bg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58270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EFE3CF63-5DD6-9554-35A0-79DF19DE1B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720000" anchor="t"/>
          <a:lstStyle>
            <a:lvl1pPr algn="ctr"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1A807E-3305-2DA3-0F13-D448E1C654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84195" y="1326413"/>
            <a:ext cx="8212480" cy="5531587"/>
          </a:xfrm>
          <a:custGeom>
            <a:avLst/>
            <a:gdLst>
              <a:gd name="connsiteX0" fmla="*/ 1754232 w 8212480"/>
              <a:gd name="connsiteY0" fmla="*/ 0 h 5531587"/>
              <a:gd name="connsiteX1" fmla="*/ 8212480 w 8212480"/>
              <a:gd name="connsiteY1" fmla="*/ 0 h 5531587"/>
              <a:gd name="connsiteX2" fmla="*/ 6458248 w 8212480"/>
              <a:gd name="connsiteY2" fmla="*/ 5531587 h 5531587"/>
              <a:gd name="connsiteX3" fmla="*/ 0 w 8212480"/>
              <a:gd name="connsiteY3" fmla="*/ 5531587 h 553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12480" h="5531587">
                <a:moveTo>
                  <a:pt x="1754232" y="0"/>
                </a:moveTo>
                <a:lnTo>
                  <a:pt x="8212480" y="0"/>
                </a:lnTo>
                <a:lnTo>
                  <a:pt x="6458248" y="5531587"/>
                </a:lnTo>
                <a:lnTo>
                  <a:pt x="0" y="5531587"/>
                </a:lnTo>
                <a:close/>
              </a:path>
            </a:pathLst>
          </a:custGeom>
          <a:solidFill>
            <a:schemeClr val="bg1"/>
          </a:solidFill>
          <a:effectLst>
            <a:outerShdw blurRad="190500" sx="102000" sy="102000" algn="ctr" rotWithShape="0">
              <a:srgbClr val="000000">
                <a:alpha val="22000"/>
              </a:srgbClr>
            </a:outerShdw>
          </a:effectLst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6BC5C-B667-C416-0C5E-861D4E353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69704" y="2126654"/>
            <a:ext cx="5358266" cy="881063"/>
          </a:xfrm>
        </p:spPr>
        <p:txBody>
          <a:bodyPr lIns="0" tIns="0" rIns="0" bIns="0">
            <a:normAutofit/>
          </a:bodyPr>
          <a:lstStyle>
            <a:lvl1pPr>
              <a:defRPr sz="7000"/>
            </a:lvl1pPr>
          </a:lstStyle>
          <a:p>
            <a:r>
              <a:rPr lang="en-US" dirty="0" err="1"/>
              <a:t>Danke</a:t>
            </a:r>
            <a:r>
              <a:rPr lang="en-US" dirty="0"/>
              <a:t>!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E0F5B-BAC3-D147-EBEF-C8BEF53CB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18D14D8-DF0C-DA4E-8F83-C50A90CDD58E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2DFD73-A9F9-BFAF-68DA-87D1981AF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BF11D2-AEA0-492F-A86E-2848934E1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27EFC5A-D034-43EB-AD4A-BFCEE41F55B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263CB3A-E4DE-405D-7CAF-B3C511C2F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69152" y="3407579"/>
            <a:ext cx="3415718" cy="621496"/>
          </a:xfrm>
        </p:spPr>
        <p:txBody>
          <a:bodyPr/>
          <a:lstStyle>
            <a:lvl1pPr>
              <a:spcBef>
                <a:spcPts val="0"/>
              </a:spcBef>
              <a:defRPr sz="1400" b="0"/>
            </a:lvl1pPr>
          </a:lstStyle>
          <a:p>
            <a:pPr lvl="0"/>
            <a:r>
              <a:rPr lang="en-US" dirty="0" err="1"/>
              <a:t>Securosys</a:t>
            </a:r>
            <a:r>
              <a:rPr lang="en-US" dirty="0"/>
              <a:t> SA</a:t>
            </a:r>
          </a:p>
          <a:p>
            <a:pPr lvl="0"/>
            <a:r>
              <a:rPr lang="en-US" dirty="0" err="1"/>
              <a:t>Förrlibuckstrasse</a:t>
            </a:r>
            <a:r>
              <a:rPr lang="en-US" dirty="0"/>
              <a:t> 70</a:t>
            </a:r>
          </a:p>
          <a:p>
            <a:pPr lvl="0"/>
            <a:r>
              <a:rPr lang="en-US" dirty="0"/>
              <a:t>8005 Zürich, Schweiz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28DFBDA-9CCE-FBB9-98FB-710A641404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30239" y="6193715"/>
            <a:ext cx="2513168" cy="41336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8831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A7A405B-3E74-8B55-136C-3ED0CD608D7B}"/>
              </a:ext>
            </a:extLst>
          </p:cNvPr>
          <p:cNvSpPr/>
          <p:nvPr userDrawn="1"/>
        </p:nvSpPr>
        <p:spPr>
          <a:xfrm>
            <a:off x="0" y="1952625"/>
            <a:ext cx="12192000" cy="49053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6F7F5F-D353-423D-3452-34EABE6C2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325" y="784225"/>
            <a:ext cx="6924675" cy="881063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 dirty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A1FF5E-CAE9-695E-9702-51C3944789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8D7D0-5EC6-4943-9C2E-92203CDA8BED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9177C2-12A7-7B8C-2284-CD367705C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5BB874-B574-11BE-A519-E2BE73EA8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pPr/>
              <a:t>‹#›</a:t>
            </a:fld>
            <a:endParaRPr lang="de-CH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CF136E9-B7BB-591D-1662-EA362CA6A0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4E7A281D-AFFB-22B0-8FD6-157753D5CBD7}"/>
              </a:ext>
            </a:extLst>
          </p:cNvPr>
          <p:cNvSpPr/>
          <p:nvPr userDrawn="1"/>
        </p:nvSpPr>
        <p:spPr>
          <a:xfrm>
            <a:off x="1509196" y="1449388"/>
            <a:ext cx="1553608" cy="1046446"/>
          </a:xfrm>
          <a:prstGeom prst="parallelogram">
            <a:avLst>
              <a:gd name="adj" fmla="val 31713"/>
            </a:avLst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E1C0F66-9746-F7C4-1DBC-94E0C47263B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50357" y="1636968"/>
            <a:ext cx="671286" cy="671286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934EAF8-8DE8-B986-65C7-A2F93B0F45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325" y="332135"/>
            <a:ext cx="566479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14065436-7510-DD69-35F1-5DD65A38F47D}"/>
              </a:ext>
            </a:extLst>
          </p:cNvPr>
          <p:cNvSpPr/>
          <p:nvPr userDrawn="1"/>
        </p:nvSpPr>
        <p:spPr>
          <a:xfrm flipV="1">
            <a:off x="4571325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FB9FF1D-508C-C1B4-8BAE-477342CA07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325" y="2543175"/>
            <a:ext cx="5829301" cy="3549912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</a:lstStyle>
          <a:p>
            <a:pPr lvl="0"/>
            <a:r>
              <a:rPr lang="en-US" dirty="0" err="1"/>
              <a:t>Kapiteltitle</a:t>
            </a:r>
            <a:r>
              <a:rPr lang="en-US" dirty="0"/>
              <a:t> 1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3A3C80F-66AA-D87F-ABFD-3E0350F25B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72750" y="2543175"/>
            <a:ext cx="923250" cy="3549912"/>
          </a:xfrm>
        </p:spPr>
        <p:txBody>
          <a:bodyPr/>
          <a:lstStyle>
            <a:lvl1pPr algn="r">
              <a:spcBef>
                <a:spcPts val="1200"/>
              </a:spcBef>
              <a:defRPr sz="1800"/>
            </a:lvl1pPr>
          </a:lstStyle>
          <a:p>
            <a:pPr lvl="0"/>
            <a:r>
              <a:rPr lang="en-US" dirty="0" err="1"/>
              <a:t>Sei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671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.</a:t>
            </a:r>
            <a:endParaRPr lang="de-CH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5321A0-C6AC-1B42-B581-CDB71D9F0F8A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0189A75-B578-0FC7-C28F-E62D32C9F7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5325" y="1665290"/>
            <a:ext cx="10800674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566479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69532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489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.</a:t>
            </a:r>
            <a:endParaRPr lang="de-CH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BBFB8-5DDD-044D-A1B0-55F091F5F1BE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0189A75-B578-0FC7-C28F-E62D32C9F7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5325" y="1665290"/>
            <a:ext cx="5113338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566479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69532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B0471997-A045-0DB9-0FAA-417668D4CA5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82661" y="1665290"/>
            <a:ext cx="5113338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13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0" userDrawn="1">
          <p15:clr>
            <a:srgbClr val="FBAE40"/>
          </p15:clr>
        </p15:guide>
        <p15:guide id="2" pos="402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.</a:t>
            </a:r>
            <a:endParaRPr lang="de-CH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6070B-5384-1E4F-918B-AF6F433642C4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566479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69532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847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6CE77C9-9D84-C2DF-EB9B-8BC3E82404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3028951"/>
          </a:xfrm>
          <a:solidFill>
            <a:schemeClr val="bg2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5724EA-E9D9-068A-5155-2B249FD7A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4321-39BC-5048-9E71-9EB3CDE1D8D5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CE1828-A7D6-1BC2-F68E-9DB9B29C3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8AA3B9-BB87-DF91-9380-4E1673977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pPr/>
              <a:t>‹#›</a:t>
            </a:fld>
            <a:endParaRPr lang="de-CH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84FCF35-A2C5-103E-3D1A-63A66BCE71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A9551A2-38E6-879E-1C5B-F3AD886A09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9196" y="2525713"/>
            <a:ext cx="1553607" cy="1046446"/>
          </a:xfrm>
          <a:custGeom>
            <a:avLst/>
            <a:gdLst>
              <a:gd name="connsiteX0" fmla="*/ 331859 w 1553607"/>
              <a:gd name="connsiteY0" fmla="*/ 0 h 1046446"/>
              <a:gd name="connsiteX1" fmla="*/ 1553607 w 1553607"/>
              <a:gd name="connsiteY1" fmla="*/ 0 h 1046446"/>
              <a:gd name="connsiteX2" fmla="*/ 1221748 w 1553607"/>
              <a:gd name="connsiteY2" fmla="*/ 1046446 h 1046446"/>
              <a:gd name="connsiteX3" fmla="*/ 0 w 1553607"/>
              <a:gd name="connsiteY3" fmla="*/ 1046446 h 1046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3607" h="1046446">
                <a:moveTo>
                  <a:pt x="331859" y="0"/>
                </a:moveTo>
                <a:lnTo>
                  <a:pt x="1553607" y="0"/>
                </a:lnTo>
                <a:lnTo>
                  <a:pt x="1221748" y="1046446"/>
                </a:lnTo>
                <a:lnTo>
                  <a:pt x="0" y="104644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0F57FF-F352-3F69-0938-36087EF41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5647" y="3738847"/>
            <a:ext cx="8201025" cy="815694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hapter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3C720DA-20C4-C271-9318-64CFEDC1AD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95648" y="4721228"/>
            <a:ext cx="8201025" cy="296857"/>
          </a:xfrm>
        </p:spPr>
        <p:txBody>
          <a:bodyPr/>
          <a:lstStyle>
            <a:lvl1pPr>
              <a:defRPr sz="1400" b="1"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909854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CDA218-A603-6A5B-6F0D-30D52AD693D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1750" y="0"/>
            <a:ext cx="5810250" cy="6858000"/>
          </a:xfrm>
          <a:solidFill>
            <a:schemeClr val="bg2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784225"/>
            <a:ext cx="5114250" cy="449263"/>
          </a:xfrm>
        </p:spPr>
        <p:txBody>
          <a:bodyPr/>
          <a:lstStyle/>
          <a:p>
            <a:r>
              <a:rPr lang="en-US" dirty="0"/>
              <a:t>Headline.</a:t>
            </a:r>
            <a:endParaRPr lang="de-CH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493AA-F43B-D441-A786-A628A7E000DE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0189A75-B578-0FC7-C28F-E62D32C9F7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5325" y="1665290"/>
            <a:ext cx="5113338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566479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69532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21A34BF-1A10-D686-0B51-E3C6E91B65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83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286522B-322D-27B3-98F7-ED6EDDDA0715}"/>
              </a:ext>
            </a:extLst>
          </p:cNvPr>
          <p:cNvSpPr/>
          <p:nvPr userDrawn="1"/>
        </p:nvSpPr>
        <p:spPr>
          <a:xfrm>
            <a:off x="0" y="0"/>
            <a:ext cx="51816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0" y="784225"/>
            <a:ext cx="5114250" cy="449263"/>
          </a:xfrm>
        </p:spPr>
        <p:txBody>
          <a:bodyPr/>
          <a:lstStyle/>
          <a:p>
            <a:r>
              <a:rPr lang="en-US" dirty="0"/>
              <a:t>Headline.</a:t>
            </a:r>
            <a:endParaRPr lang="de-CH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A2A2BF-CE5B-3E4F-AC6E-713BFFC2FBE3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0189A75-B578-0FC7-C28F-E62D32C9F7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10250" y="1665290"/>
            <a:ext cx="5686424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09576" y="332135"/>
            <a:ext cx="566479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580957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21A34BF-1A10-D686-0B51-E3C6E91B65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73E5B8F7-5EC6-6BE5-5711-62EACAE01B8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95325" y="1233488"/>
            <a:ext cx="3790951" cy="4859599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3610245-1900-BDE3-8041-824EB83FFF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5" y="552447"/>
            <a:ext cx="3790950" cy="247650"/>
          </a:xfrm>
        </p:spPr>
        <p:txBody>
          <a:bodyPr/>
          <a:lstStyle>
            <a:lvl1pPr algn="ctr">
              <a:defRPr sz="1800" b="1"/>
            </a:lvl1pPr>
          </a:lstStyle>
          <a:p>
            <a:pPr lvl="0"/>
            <a:r>
              <a:rPr lang="en-US" dirty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922294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EED21D9-863F-EA79-5C27-EABDB9F3F80B}"/>
              </a:ext>
            </a:extLst>
          </p:cNvPr>
          <p:cNvSpPr/>
          <p:nvPr userDrawn="1"/>
        </p:nvSpPr>
        <p:spPr>
          <a:xfrm>
            <a:off x="0" y="0"/>
            <a:ext cx="12192000" cy="295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/>
          <a:lstStyle/>
          <a:p>
            <a:pPr algn="l"/>
            <a:endParaRPr lang="de-CH" dirty="0" err="1"/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6B3B06C4-869D-C82D-978F-FA42FC58A7C0}"/>
              </a:ext>
            </a:extLst>
          </p:cNvPr>
          <p:cNvSpPr/>
          <p:nvPr userDrawn="1"/>
        </p:nvSpPr>
        <p:spPr>
          <a:xfrm>
            <a:off x="1509196" y="2525713"/>
            <a:ext cx="1553608" cy="1046446"/>
          </a:xfrm>
          <a:prstGeom prst="parallelogram">
            <a:avLst>
              <a:gd name="adj" fmla="val 31713"/>
            </a:avLst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2B38E17-BBE7-F644-0E22-770F2DD57F5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3028951"/>
          </a:xfrm>
          <a:custGeom>
            <a:avLst/>
            <a:gdLst>
              <a:gd name="connsiteX0" fmla="*/ 695326 w 12192000"/>
              <a:gd name="connsiteY0" fmla="*/ 563715 h 3028951"/>
              <a:gd name="connsiteX1" fmla="*/ 695326 w 12192000"/>
              <a:gd name="connsiteY1" fmla="*/ 637674 h 3028951"/>
              <a:gd name="connsiteX2" fmla="*/ 695478 w 12192000"/>
              <a:gd name="connsiteY2" fmla="*/ 637674 h 3028951"/>
              <a:gd name="connsiteX3" fmla="*/ 769850 w 12192000"/>
              <a:gd name="connsiteY3" fmla="*/ 563715 h 3028951"/>
              <a:gd name="connsiteX4" fmla="*/ 0 w 12192000"/>
              <a:gd name="connsiteY4" fmla="*/ 0 h 3028951"/>
              <a:gd name="connsiteX5" fmla="*/ 12192000 w 12192000"/>
              <a:gd name="connsiteY5" fmla="*/ 0 h 3028951"/>
              <a:gd name="connsiteX6" fmla="*/ 12192000 w 12192000"/>
              <a:gd name="connsiteY6" fmla="*/ 3028951 h 3028951"/>
              <a:gd name="connsiteX7" fmla="*/ 2903213 w 12192000"/>
              <a:gd name="connsiteY7" fmla="*/ 3028951 h 3028951"/>
              <a:gd name="connsiteX8" fmla="*/ 3062804 w 12192000"/>
              <a:gd name="connsiteY8" fmla="*/ 2525713 h 3028951"/>
              <a:gd name="connsiteX9" fmla="*/ 1841055 w 12192000"/>
              <a:gd name="connsiteY9" fmla="*/ 2525713 h 3028951"/>
              <a:gd name="connsiteX10" fmla="*/ 1681464 w 12192000"/>
              <a:gd name="connsiteY10" fmla="*/ 3028951 h 3028951"/>
              <a:gd name="connsiteX11" fmla="*/ 0 w 12192000"/>
              <a:gd name="connsiteY11" fmla="*/ 3028951 h 302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028951">
                <a:moveTo>
                  <a:pt x="695326" y="563715"/>
                </a:moveTo>
                <a:lnTo>
                  <a:pt x="695326" y="637674"/>
                </a:lnTo>
                <a:lnTo>
                  <a:pt x="695478" y="637674"/>
                </a:lnTo>
                <a:lnTo>
                  <a:pt x="769850" y="56371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028951"/>
                </a:lnTo>
                <a:lnTo>
                  <a:pt x="2903213" y="3028951"/>
                </a:lnTo>
                <a:lnTo>
                  <a:pt x="3062804" y="2525713"/>
                </a:lnTo>
                <a:lnTo>
                  <a:pt x="1841055" y="2525713"/>
                </a:lnTo>
                <a:lnTo>
                  <a:pt x="1681464" y="3028951"/>
                </a:lnTo>
                <a:lnTo>
                  <a:pt x="0" y="302895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4504AF-E94E-DA48-31BC-95619F95D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6B8872-9806-99FE-5CC9-B342E125E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31022-BB91-2541-9BCE-3F840FC8EFB7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F9857B-6277-CE97-5166-A5DC9AFFE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0BD8B3-7E52-67C0-497B-DE5B36B34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E443A44-926A-78B0-9D34-1FC133D018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566479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AFF3B19-89C6-6044-2D0D-33D77241B3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81200" y="2744136"/>
            <a:ext cx="609600" cy="609600"/>
          </a:xfrm>
          <a:prstGeom prst="rect">
            <a:avLst/>
          </a:prstGeom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B27AB15-5B3C-4AB3-083D-9D79397ED60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95647" y="3572159"/>
            <a:ext cx="8201025" cy="1685646"/>
          </a:xfrm>
        </p:spPr>
        <p:txBody>
          <a:bodyPr anchor="b"/>
          <a:lstStyle>
            <a:lvl1pPr>
              <a:defRPr sz="2800"/>
            </a:lvl1pPr>
          </a:lstStyle>
          <a:p>
            <a:pPr lvl="0"/>
            <a:r>
              <a:rPr lang="de-CH" sz="2800" dirty="0">
                <a:latin typeface="Arial" panose="020B0604020202020204" pitchFamily="34" charset="0"/>
                <a:cs typeface="Arial" panose="020B0604020202020204" pitchFamily="34" charset="0"/>
              </a:rPr>
              <a:t>« </a:t>
            </a:r>
            <a:r>
              <a:rPr lang="de-CH" sz="2800" dirty="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r>
              <a:rPr lang="de-CH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2800" dirty="0" err="1">
                <a:latin typeface="Arial" panose="020B0604020202020204" pitchFamily="34" charset="0"/>
                <a:cs typeface="Arial" panose="020B0604020202020204" pitchFamily="34" charset="0"/>
              </a:rPr>
              <a:t>ipsum</a:t>
            </a:r>
            <a:r>
              <a:rPr lang="de-CH" sz="2800" dirty="0">
                <a:latin typeface="Arial" panose="020B0604020202020204" pitchFamily="34" charset="0"/>
                <a:cs typeface="Arial" panose="020B0604020202020204" pitchFamily="34" charset="0"/>
              </a:rPr>
              <a:t>….»</a:t>
            </a:r>
            <a:endParaRPr lang="en-US" dirty="0"/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CA0F447B-58BE-0A48-F3CF-03D14AE804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95648" y="5761044"/>
            <a:ext cx="8201025" cy="331781"/>
          </a:xfrm>
        </p:spPr>
        <p:txBody>
          <a:bodyPr anchor="t"/>
          <a:lstStyle>
            <a:lvl1pPr>
              <a:defRPr sz="1400" b="1"/>
            </a:lvl1pPr>
          </a:lstStyle>
          <a:p>
            <a:pPr lvl="0"/>
            <a:r>
              <a:rPr lang="en-US" dirty="0"/>
              <a:t>Author Name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0B6A59B7-817B-80C2-4ABF-26F2CD7F3A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234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72530D8-A939-C09F-5437-9C1D29BD09DE}"/>
              </a:ext>
            </a:extLst>
          </p:cNvPr>
          <p:cNvSpPr/>
          <p:nvPr userDrawn="1"/>
        </p:nvSpPr>
        <p:spPr>
          <a:xfrm>
            <a:off x="0" y="1"/>
            <a:ext cx="12192000" cy="14925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E65096-C0AA-43E7-5115-EC52202A4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784225"/>
            <a:ext cx="10800000" cy="4492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Headline.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74FFF9-F677-FFD7-F056-2E3A68347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665290"/>
            <a:ext cx="10800675" cy="44277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8A3791-6EB5-EE46-176F-A35C91649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000" y="6276976"/>
            <a:ext cx="1875225" cy="2476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5FB2D8B0-7CC7-1944-A323-90CF4C8E323A}" type="datetime3">
              <a:rPr lang="en-US" smtClean="0"/>
              <a:t>31 May 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E80305-2473-8D22-66FF-428589CA5F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09200" y="6276976"/>
            <a:ext cx="4114800" cy="2476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2EF32-B787-FE53-A131-65B553F88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5206" y="6276976"/>
            <a:ext cx="321468" cy="2476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27EFC5A-D034-43EB-AD4A-BFCEE41F55BF}" type="slidenum">
              <a:rPr lang="de-CH" smtClean="0"/>
              <a:pPr/>
              <a:t>‹#›</a:t>
            </a:fld>
            <a:endParaRPr lang="de-CH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6B4FC2E-71D2-920D-5CC8-521F90E9391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833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54" r:id="rId3"/>
    <p:sldLayoutId id="2147483656" r:id="rId4"/>
    <p:sldLayoutId id="2147483657" r:id="rId5"/>
    <p:sldLayoutId id="2147483665" r:id="rId6"/>
    <p:sldLayoutId id="2147483658" r:id="rId7"/>
    <p:sldLayoutId id="2147483659" r:id="rId8"/>
    <p:sldLayoutId id="2147483660" r:id="rId9"/>
    <p:sldLayoutId id="2147483661" r:id="rId10"/>
    <p:sldLayoutId id="2147483664" r:id="rId1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Tx/>
        <a:buBlip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</a:buBlip>
        <a:defRPr lang="en-U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tabLst/>
        <a:defRPr sz="2400" b="1" kern="1200" cap="all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0" userDrawn="1">
          <p15:clr>
            <a:srgbClr val="F26B43"/>
          </p15:clr>
        </p15:guide>
        <p15:guide id="5" pos="438" userDrawn="1">
          <p15:clr>
            <a:srgbClr val="F26B43"/>
          </p15:clr>
        </p15:guide>
        <p15:guide id="6" pos="7242" userDrawn="1">
          <p15:clr>
            <a:srgbClr val="F26B43"/>
          </p15:clr>
        </p15:guide>
        <p15:guide id="7" orient="horz" pos="1049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410BBD-673D-2044-D50F-B3D860DB8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61DC6-3DD8-4C48-ABF3-D1B00AC68ADD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35CCE0-B725-C467-7D75-B93E868E9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 err="1"/>
              <a:t>CloudHSM</a:t>
            </a:r>
            <a:r>
              <a:rPr lang="de-CH" dirty="0"/>
              <a:t> </a:t>
            </a:r>
            <a:r>
              <a:rPr lang="de-CH" dirty="0" err="1"/>
              <a:t>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25C76C-C0B7-9734-4E84-E67A0BDDD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1</a:t>
            </a:fld>
            <a:endParaRPr lang="de-CH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250955F-8597-B7B1-CFBF-D67BE9C957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1528280" cy="233014"/>
          </a:xfrm>
        </p:spPr>
        <p:txBody>
          <a:bodyPr/>
          <a:lstStyle/>
          <a:p>
            <a:r>
              <a:rPr lang="en-US" dirty="0" err="1"/>
              <a:t>architecture_overview.png</a:t>
            </a:r>
            <a:endParaRPr lang="en-US" dirty="0"/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6FF87991-AD7F-5EEA-0C4A-A65B1E75069B}"/>
              </a:ext>
            </a:extLst>
          </p:cNvPr>
          <p:cNvGrpSpPr/>
          <p:nvPr/>
        </p:nvGrpSpPr>
        <p:grpSpPr>
          <a:xfrm>
            <a:off x="3505304" y="553456"/>
            <a:ext cx="5248029" cy="5751467"/>
            <a:chOff x="4509929" y="820074"/>
            <a:chExt cx="5248029" cy="5751467"/>
          </a:xfrm>
        </p:grpSpPr>
        <p:cxnSp>
          <p:nvCxnSpPr>
            <p:cNvPr id="108" name="Straight Arrow Connector 107">
              <a:extLst>
                <a:ext uri="{FF2B5EF4-FFF2-40B4-BE49-F238E27FC236}">
                  <a16:creationId xmlns:a16="http://schemas.microsoft.com/office/drawing/2014/main" id="{750940CC-F13C-19B5-3F96-4704B04282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95405" y="1878416"/>
              <a:ext cx="1395825" cy="1045333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D1C25429-BBEB-85DB-4A91-AA2715DEF8FF}"/>
                </a:ext>
              </a:extLst>
            </p:cNvPr>
            <p:cNvSpPr/>
            <p:nvPr/>
          </p:nvSpPr>
          <p:spPr>
            <a:xfrm>
              <a:off x="6039195" y="820074"/>
              <a:ext cx="2124000" cy="1044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/>
            <a:lstStyle/>
            <a:p>
              <a:pPr algn="l"/>
              <a:endParaRPr lang="en-US" sz="1000" dirty="0" err="1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825D9D14-6ECA-409B-D0FA-D7F06AD25065}"/>
                </a:ext>
              </a:extLst>
            </p:cNvPr>
            <p:cNvSpPr/>
            <p:nvPr/>
          </p:nvSpPr>
          <p:spPr>
            <a:xfrm>
              <a:off x="4511070" y="820074"/>
              <a:ext cx="1404000" cy="105767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/>
            <a:lstStyle/>
            <a:p>
              <a:pPr algn="l"/>
              <a:endParaRPr lang="en-US" sz="1000" dirty="0" err="1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4C3A93DE-489B-FA9A-7ED6-0009A08671C5}"/>
                </a:ext>
              </a:extLst>
            </p:cNvPr>
            <p:cNvSpPr/>
            <p:nvPr/>
          </p:nvSpPr>
          <p:spPr>
            <a:xfrm>
              <a:off x="8287321" y="828417"/>
              <a:ext cx="1404000" cy="104400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/>
            <a:lstStyle/>
            <a:p>
              <a:pPr algn="l"/>
              <a:endParaRPr lang="en-US" sz="1000" dirty="0" err="1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C560800-04D8-99F4-F4D3-67FB93C61F93}"/>
                </a:ext>
              </a:extLst>
            </p:cNvPr>
            <p:cNvSpPr/>
            <p:nvPr/>
          </p:nvSpPr>
          <p:spPr>
            <a:xfrm>
              <a:off x="7277938" y="2923081"/>
              <a:ext cx="2411190" cy="228005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/>
            <a:lstStyle/>
            <a:p>
              <a:pPr algn="l"/>
              <a:endParaRPr lang="en-US" sz="1000" dirty="0" err="1"/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1C10ADCF-AC61-C41E-9929-E34176D829E7}"/>
                </a:ext>
              </a:extLst>
            </p:cNvPr>
            <p:cNvGrpSpPr/>
            <p:nvPr/>
          </p:nvGrpSpPr>
          <p:grpSpPr>
            <a:xfrm>
              <a:off x="6435195" y="5419161"/>
              <a:ext cx="1332000" cy="1152000"/>
              <a:chOff x="6821925" y="4655979"/>
              <a:chExt cx="1332000" cy="1152000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986876A-23B4-05A6-0FC3-3FD02311E692}"/>
                  </a:ext>
                </a:extLst>
              </p:cNvPr>
              <p:cNvSpPr/>
              <p:nvPr/>
            </p:nvSpPr>
            <p:spPr>
              <a:xfrm>
                <a:off x="6821925" y="4655979"/>
                <a:ext cx="1332000" cy="1152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2A2FDB54-3CA2-E421-AA80-ABF53334804C}"/>
                  </a:ext>
                </a:extLst>
              </p:cNvPr>
              <p:cNvGrpSpPr/>
              <p:nvPr/>
            </p:nvGrpSpPr>
            <p:grpSpPr>
              <a:xfrm>
                <a:off x="6911925" y="5155415"/>
                <a:ext cx="1152000" cy="576000"/>
                <a:chOff x="5997525" y="5071142"/>
                <a:chExt cx="1152000" cy="576000"/>
              </a:xfrm>
            </p:grpSpPr>
            <p:sp>
              <p:nvSpPr>
                <p:cNvPr id="2" name="Rectangle 1">
                  <a:extLst>
                    <a:ext uri="{FF2B5EF4-FFF2-40B4-BE49-F238E27FC236}">
                      <a16:creationId xmlns:a16="http://schemas.microsoft.com/office/drawing/2014/main" id="{69FE0637-5925-78A2-3C3A-D116302C5D33}"/>
                    </a:ext>
                  </a:extLst>
                </p:cNvPr>
                <p:cNvSpPr/>
                <p:nvPr/>
              </p:nvSpPr>
              <p:spPr>
                <a:xfrm>
                  <a:off x="5997525" y="5071142"/>
                  <a:ext cx="288000" cy="576000"/>
                </a:xfrm>
                <a:prstGeom prst="rect">
                  <a:avLst/>
                </a:prstGeom>
                <a:solidFill>
                  <a:schemeClr val="accent3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tIns="90000" bIns="90000" rtlCol="0" anchor="ctr"/>
                <a:lstStyle/>
                <a:p>
                  <a:pPr algn="ctr"/>
                  <a:r>
                    <a:rPr lang="en-US" sz="1000" dirty="0">
                      <a:solidFill>
                        <a:schemeClr val="tx1"/>
                      </a:solidFill>
                    </a:rPr>
                    <a:t>HSM</a:t>
                  </a:r>
                </a:p>
              </p:txBody>
            </p:sp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002CFDE4-C007-DE1B-C817-77AAAD9D8FB2}"/>
                    </a:ext>
                  </a:extLst>
                </p:cNvPr>
                <p:cNvSpPr/>
                <p:nvPr/>
              </p:nvSpPr>
              <p:spPr>
                <a:xfrm>
                  <a:off x="7005525" y="5071142"/>
                  <a:ext cx="144000" cy="576000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0000" bIns="90000" rtlCol="0" anchor="t"/>
                <a:lstStyle/>
                <a:p>
                  <a:pPr algn="l"/>
                  <a:endParaRPr lang="en-US" sz="1000" dirty="0" err="1"/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47E58F4C-AE63-02C6-2D4B-AE271C73C0F8}"/>
                    </a:ext>
                  </a:extLst>
                </p:cNvPr>
                <p:cNvSpPr/>
                <p:nvPr/>
              </p:nvSpPr>
              <p:spPr>
                <a:xfrm>
                  <a:off x="6861525" y="5071142"/>
                  <a:ext cx="144000" cy="576000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0000" bIns="90000" rtlCol="0" anchor="t"/>
                <a:lstStyle/>
                <a:p>
                  <a:pPr algn="l"/>
                  <a:endParaRPr lang="en-US" sz="1000" dirty="0" err="1"/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2C8EA122-1BEC-5F56-46A1-A94BDCF81234}"/>
                    </a:ext>
                  </a:extLst>
                </p:cNvPr>
                <p:cNvSpPr/>
                <p:nvPr/>
              </p:nvSpPr>
              <p:spPr>
                <a:xfrm>
                  <a:off x="6717525" y="5071142"/>
                  <a:ext cx="144000" cy="576000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0000" bIns="90000" rtlCol="0" anchor="t"/>
                <a:lstStyle/>
                <a:p>
                  <a:pPr algn="l"/>
                  <a:endParaRPr lang="en-US" sz="1000" dirty="0" err="1"/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E992DC03-3A8E-2F0E-498D-400E76854D1D}"/>
                    </a:ext>
                  </a:extLst>
                </p:cNvPr>
                <p:cNvSpPr/>
                <p:nvPr/>
              </p:nvSpPr>
              <p:spPr>
                <a:xfrm>
                  <a:off x="6573525" y="5071142"/>
                  <a:ext cx="144000" cy="576000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0000" bIns="90000" rtlCol="0" anchor="t"/>
                <a:lstStyle/>
                <a:p>
                  <a:pPr algn="l"/>
                  <a:endParaRPr lang="en-US" sz="1000" dirty="0" err="1"/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952B12F5-579E-356B-1DB7-E314D4BA6DAD}"/>
                    </a:ext>
                  </a:extLst>
                </p:cNvPr>
                <p:cNvSpPr/>
                <p:nvPr/>
              </p:nvSpPr>
              <p:spPr>
                <a:xfrm>
                  <a:off x="6429525" y="5071142"/>
                  <a:ext cx="144000" cy="576000"/>
                </a:xfrm>
                <a:prstGeom prst="rect">
                  <a:avLst/>
                </a:prstGeom>
                <a:solidFill>
                  <a:schemeClr val="accent6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0000" bIns="90000" rtlCol="0" anchor="t"/>
                <a:lstStyle/>
                <a:p>
                  <a:pPr algn="l"/>
                  <a:endParaRPr lang="en-US" sz="1000" dirty="0" err="1"/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F1279346-7BFC-A823-11AD-631314C0184C}"/>
                    </a:ext>
                  </a:extLst>
                </p:cNvPr>
                <p:cNvSpPr/>
                <p:nvPr/>
              </p:nvSpPr>
              <p:spPr>
                <a:xfrm>
                  <a:off x="6285525" y="5071142"/>
                  <a:ext cx="144000" cy="576000"/>
                </a:xfrm>
                <a:prstGeom prst="rect">
                  <a:avLst/>
                </a:prstGeom>
                <a:solidFill>
                  <a:schemeClr val="bg2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0000" bIns="90000" rtlCol="0" anchor="t"/>
                <a:lstStyle/>
                <a:p>
                  <a:pPr algn="l"/>
                  <a:endParaRPr lang="en-US" sz="1000" dirty="0" err="1"/>
                </a:p>
              </p:txBody>
            </p:sp>
          </p:grp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0BC16A3-FE85-1B26-6968-81E0CD02885A}"/>
                  </a:ext>
                </a:extLst>
              </p:cNvPr>
              <p:cNvSpPr/>
              <p:nvPr/>
            </p:nvSpPr>
            <p:spPr>
              <a:xfrm>
                <a:off x="6911925" y="4723415"/>
                <a:ext cx="1152000" cy="216000"/>
              </a:xfrm>
              <a:prstGeom prst="rect">
                <a:avLst/>
              </a:prstGeom>
              <a:solidFill>
                <a:schemeClr val="accent4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90000" rIns="72000" bIns="90000" rtlCol="0" anchor="ctr"/>
              <a:lstStyle/>
              <a:p>
                <a:pPr algn="ctr"/>
                <a:r>
                  <a:rPr lang="en-US" sz="1000" dirty="0">
                    <a:solidFill>
                      <a:schemeClr val="bg1"/>
                    </a:solidFill>
                  </a:rPr>
                  <a:t>Firewall/VPN/Aux</a:t>
                </a:r>
              </a:p>
            </p:txBody>
          </p:sp>
          <p:cxnSp>
            <p:nvCxnSpPr>
              <p:cNvPr id="17" name="Straight Arrow Connector 16">
                <a:extLst>
                  <a:ext uri="{FF2B5EF4-FFF2-40B4-BE49-F238E27FC236}">
                    <a16:creationId xmlns:a16="http://schemas.microsoft.com/office/drawing/2014/main" id="{964C8976-92DC-085F-A4D7-54FC5673A17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415925" y="4939415"/>
                <a:ext cx="0" cy="21600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prstDash val="sysDot"/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86F16F8-2946-41D6-0D30-EFC12522C7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931661" y="3571990"/>
              <a:ext cx="144000" cy="1440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47BB672-8C76-8269-90E5-894118E4D9EC}"/>
                </a:ext>
              </a:extLst>
            </p:cNvPr>
            <p:cNvSpPr/>
            <p:nvPr/>
          </p:nvSpPr>
          <p:spPr>
            <a:xfrm>
              <a:off x="7349938" y="3315502"/>
              <a:ext cx="2268000" cy="21600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Reverse Proxy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70F072F-F601-888B-6654-EC8494994F15}"/>
                </a:ext>
              </a:extLst>
            </p:cNvPr>
            <p:cNvSpPr/>
            <p:nvPr/>
          </p:nvSpPr>
          <p:spPr>
            <a:xfrm>
              <a:off x="7349938" y="2986767"/>
              <a:ext cx="2267999" cy="21600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Firewall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378ABA9-E40E-8D64-27B8-D3094EE816C4}"/>
                </a:ext>
              </a:extLst>
            </p:cNvPr>
            <p:cNvSpPr/>
            <p:nvPr/>
          </p:nvSpPr>
          <p:spPr>
            <a:xfrm>
              <a:off x="8645938" y="3747502"/>
              <a:ext cx="972000" cy="576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Authentication 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/ Dir Servic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AE6DF13-02A8-FDFB-2070-CC0FA3F44AC5}"/>
                </a:ext>
              </a:extLst>
            </p:cNvPr>
            <p:cNvSpPr/>
            <p:nvPr/>
          </p:nvSpPr>
          <p:spPr>
            <a:xfrm>
              <a:off x="8645938" y="4845162"/>
              <a:ext cx="972000" cy="288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Auxiliari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7AD2D15-C759-DBAD-853C-293F20AD1FCA}"/>
                </a:ext>
              </a:extLst>
            </p:cNvPr>
            <p:cNvSpPr/>
            <p:nvPr/>
          </p:nvSpPr>
          <p:spPr>
            <a:xfrm>
              <a:off x="8645938" y="4440037"/>
              <a:ext cx="972000" cy="288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Log-Relay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53A73C8-292B-D2DF-CB92-841CE1350C1D}"/>
                </a:ext>
              </a:extLst>
            </p:cNvPr>
            <p:cNvGrpSpPr/>
            <p:nvPr/>
          </p:nvGrpSpPr>
          <p:grpSpPr>
            <a:xfrm>
              <a:off x="7349938" y="3756037"/>
              <a:ext cx="1152000" cy="576000"/>
              <a:chOff x="5997525" y="5071142"/>
              <a:chExt cx="1152000" cy="576000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B363D517-DFED-CA97-EB91-A80781FAA22C}"/>
                  </a:ext>
                </a:extLst>
              </p:cNvPr>
              <p:cNvSpPr/>
              <p:nvPr/>
            </p:nvSpPr>
            <p:spPr>
              <a:xfrm>
                <a:off x="5997525" y="5071142"/>
                <a:ext cx="288000" cy="576000"/>
              </a:xfrm>
              <a:prstGeom prst="rect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tIns="90000" bIns="90000" rtlCol="0" anchor="ctr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</a:rPr>
                  <a:t>HSM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B91956-C5E1-EC55-0DD6-A69BC746A590}"/>
                  </a:ext>
                </a:extLst>
              </p:cNvPr>
              <p:cNvSpPr/>
              <p:nvPr/>
            </p:nvSpPr>
            <p:spPr>
              <a:xfrm>
                <a:off x="7005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74093DF5-98FD-DF74-743A-1E105EC935F1}"/>
                  </a:ext>
                </a:extLst>
              </p:cNvPr>
              <p:cNvSpPr/>
              <p:nvPr/>
            </p:nvSpPr>
            <p:spPr>
              <a:xfrm>
                <a:off x="6861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A9D51F86-41F8-626C-3860-FDE6C4DA630A}"/>
                  </a:ext>
                </a:extLst>
              </p:cNvPr>
              <p:cNvSpPr/>
              <p:nvPr/>
            </p:nvSpPr>
            <p:spPr>
              <a:xfrm>
                <a:off x="6717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E0A0FE3D-130E-D17E-FD14-8C16E6463309}"/>
                  </a:ext>
                </a:extLst>
              </p:cNvPr>
              <p:cNvSpPr/>
              <p:nvPr/>
            </p:nvSpPr>
            <p:spPr>
              <a:xfrm>
                <a:off x="6573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226C171-3A7C-EB30-BD64-3893EFABEC29}"/>
                  </a:ext>
                </a:extLst>
              </p:cNvPr>
              <p:cNvSpPr/>
              <p:nvPr/>
            </p:nvSpPr>
            <p:spPr>
              <a:xfrm>
                <a:off x="6429525" y="5071142"/>
                <a:ext cx="144000" cy="576000"/>
              </a:xfrm>
              <a:prstGeom prst="rect">
                <a:avLst/>
              </a:prstGeom>
              <a:solidFill>
                <a:schemeClr val="accent6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1F8EF5D-BCFD-E5B3-6AA9-B594B4632831}"/>
                  </a:ext>
                </a:extLst>
              </p:cNvPr>
              <p:cNvSpPr/>
              <p:nvPr/>
            </p:nvSpPr>
            <p:spPr>
              <a:xfrm>
                <a:off x="6285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52BCD8C-5C92-3980-9FEE-AAD82DA27999}"/>
                </a:ext>
              </a:extLst>
            </p:cNvPr>
            <p:cNvGrpSpPr/>
            <p:nvPr/>
          </p:nvGrpSpPr>
          <p:grpSpPr>
            <a:xfrm>
              <a:off x="7349938" y="4555094"/>
              <a:ext cx="1152000" cy="576000"/>
              <a:chOff x="5997525" y="5071142"/>
              <a:chExt cx="1152000" cy="576000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20BF9F39-6FAF-7FB1-F371-70B81AE02633}"/>
                  </a:ext>
                </a:extLst>
              </p:cNvPr>
              <p:cNvSpPr/>
              <p:nvPr/>
            </p:nvSpPr>
            <p:spPr>
              <a:xfrm>
                <a:off x="5997525" y="5071142"/>
                <a:ext cx="288000" cy="576000"/>
              </a:xfrm>
              <a:prstGeom prst="rect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tIns="90000" bIns="90000" rtlCol="0" anchor="ctr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</a:rPr>
                  <a:t>HSM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24113A2-2360-4233-64F8-E4B6B90681D1}"/>
                  </a:ext>
                </a:extLst>
              </p:cNvPr>
              <p:cNvSpPr/>
              <p:nvPr/>
            </p:nvSpPr>
            <p:spPr>
              <a:xfrm>
                <a:off x="7005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26C0B7B3-8D84-E909-EF04-98ADC492A329}"/>
                  </a:ext>
                </a:extLst>
              </p:cNvPr>
              <p:cNvSpPr/>
              <p:nvPr/>
            </p:nvSpPr>
            <p:spPr>
              <a:xfrm>
                <a:off x="6861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FB1B07D0-4537-D944-FF1B-990D86549827}"/>
                  </a:ext>
                </a:extLst>
              </p:cNvPr>
              <p:cNvSpPr/>
              <p:nvPr/>
            </p:nvSpPr>
            <p:spPr>
              <a:xfrm>
                <a:off x="6717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0A622F66-0C28-A4F2-29FF-5B83F5F615F2}"/>
                  </a:ext>
                </a:extLst>
              </p:cNvPr>
              <p:cNvSpPr/>
              <p:nvPr/>
            </p:nvSpPr>
            <p:spPr>
              <a:xfrm>
                <a:off x="6573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C88D89F-D6C2-1689-C45F-0B3E705670A4}"/>
                  </a:ext>
                </a:extLst>
              </p:cNvPr>
              <p:cNvSpPr/>
              <p:nvPr/>
            </p:nvSpPr>
            <p:spPr>
              <a:xfrm>
                <a:off x="6429525" y="5071142"/>
                <a:ext cx="144000" cy="576000"/>
              </a:xfrm>
              <a:prstGeom prst="rect">
                <a:avLst/>
              </a:prstGeom>
              <a:solidFill>
                <a:schemeClr val="accent6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E37B25C-2C25-85E9-91AE-B470AE6147BD}"/>
                  </a:ext>
                </a:extLst>
              </p:cNvPr>
              <p:cNvSpPr/>
              <p:nvPr/>
            </p:nvSpPr>
            <p:spPr>
              <a:xfrm>
                <a:off x="6285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</p:grp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92F2AB4-C1EE-AFE8-8061-7068FA1169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51644" y="3540037"/>
              <a:ext cx="0" cy="21600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F90B018B-9196-55FD-0ED3-6CEE29E03E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31938" y="3531502"/>
              <a:ext cx="0" cy="21600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8379A789-ED87-48F7-DA58-6E9B52B8C8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56701" y="4332037"/>
              <a:ext cx="0" cy="216000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BB67B65-5D9B-7C2E-0E28-945FA63E2BC8}"/>
                </a:ext>
              </a:extLst>
            </p:cNvPr>
            <p:cNvSpPr/>
            <p:nvPr/>
          </p:nvSpPr>
          <p:spPr>
            <a:xfrm>
              <a:off x="4513262" y="2923081"/>
              <a:ext cx="2411190" cy="228005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/>
            <a:lstStyle/>
            <a:p>
              <a:pPr algn="l"/>
              <a:endParaRPr lang="en-US" sz="1000" dirty="0" err="1"/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78481FF8-8565-2465-63F1-29E88D815D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250914" y="3571990"/>
              <a:ext cx="144000" cy="144000"/>
            </a:xfrm>
            <a:prstGeom prst="rect">
              <a:avLst/>
            </a:prstGeom>
          </p:spPr>
        </p:pic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186344FA-5034-B242-4F10-74AA9FF58286}"/>
                </a:ext>
              </a:extLst>
            </p:cNvPr>
            <p:cNvSpPr/>
            <p:nvPr/>
          </p:nvSpPr>
          <p:spPr>
            <a:xfrm>
              <a:off x="4585262" y="3315502"/>
              <a:ext cx="2268000" cy="21600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Reverse Proxy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07DC006-4026-C8FB-BFCE-3BB9573D1E03}"/>
                </a:ext>
              </a:extLst>
            </p:cNvPr>
            <p:cNvSpPr/>
            <p:nvPr/>
          </p:nvSpPr>
          <p:spPr>
            <a:xfrm>
              <a:off x="4585262" y="2986767"/>
              <a:ext cx="2267999" cy="21600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Firewall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54A055D-3E66-04F4-24F9-018B1BFFFBD1}"/>
                </a:ext>
              </a:extLst>
            </p:cNvPr>
            <p:cNvSpPr/>
            <p:nvPr/>
          </p:nvSpPr>
          <p:spPr>
            <a:xfrm>
              <a:off x="4598731" y="3755308"/>
              <a:ext cx="972000" cy="576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Authentication 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/ Dir Service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89502FF-A995-4B1F-3E61-2D16565730A8}"/>
                </a:ext>
              </a:extLst>
            </p:cNvPr>
            <p:cNvSpPr/>
            <p:nvPr/>
          </p:nvSpPr>
          <p:spPr>
            <a:xfrm>
              <a:off x="4585261" y="4845162"/>
              <a:ext cx="972000" cy="288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Auxiliari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AE59131-9DFB-C99F-0E3B-35F7DF7E891E}"/>
                </a:ext>
              </a:extLst>
            </p:cNvPr>
            <p:cNvSpPr/>
            <p:nvPr/>
          </p:nvSpPr>
          <p:spPr>
            <a:xfrm>
              <a:off x="4586338" y="4440037"/>
              <a:ext cx="972000" cy="288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Log-Relay</a:t>
              </a: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501036C3-744D-0557-77DF-397A0AF8F7EF}"/>
                </a:ext>
              </a:extLst>
            </p:cNvPr>
            <p:cNvGrpSpPr/>
            <p:nvPr/>
          </p:nvGrpSpPr>
          <p:grpSpPr>
            <a:xfrm>
              <a:off x="5706690" y="3757383"/>
              <a:ext cx="1152000" cy="576000"/>
              <a:chOff x="5997525" y="5071142"/>
              <a:chExt cx="1152000" cy="576000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040B9345-58FF-AD83-B6A0-C3FCD5F186FF}"/>
                  </a:ext>
                </a:extLst>
              </p:cNvPr>
              <p:cNvSpPr/>
              <p:nvPr/>
            </p:nvSpPr>
            <p:spPr>
              <a:xfrm>
                <a:off x="5997525" y="5071142"/>
                <a:ext cx="288000" cy="576000"/>
              </a:xfrm>
              <a:prstGeom prst="rect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tIns="90000" bIns="90000" rtlCol="0" anchor="ctr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</a:rPr>
                  <a:t>HSM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1815A43-D28D-5434-E8DB-77CB234DD01A}"/>
                  </a:ext>
                </a:extLst>
              </p:cNvPr>
              <p:cNvSpPr/>
              <p:nvPr/>
            </p:nvSpPr>
            <p:spPr>
              <a:xfrm>
                <a:off x="7005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E12AE1D-0C01-78F3-2C5F-BD26882D7D85}"/>
                  </a:ext>
                </a:extLst>
              </p:cNvPr>
              <p:cNvSpPr/>
              <p:nvPr/>
            </p:nvSpPr>
            <p:spPr>
              <a:xfrm>
                <a:off x="6861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BB9DC777-B434-8D08-C251-D57EB052C066}"/>
                  </a:ext>
                </a:extLst>
              </p:cNvPr>
              <p:cNvSpPr/>
              <p:nvPr/>
            </p:nvSpPr>
            <p:spPr>
              <a:xfrm>
                <a:off x="6717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7FF5B997-9474-2F4F-E265-54875182F2EF}"/>
                  </a:ext>
                </a:extLst>
              </p:cNvPr>
              <p:cNvSpPr/>
              <p:nvPr/>
            </p:nvSpPr>
            <p:spPr>
              <a:xfrm>
                <a:off x="6573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9961638C-5B4D-41EF-A921-FB9BD600BAA2}"/>
                  </a:ext>
                </a:extLst>
              </p:cNvPr>
              <p:cNvSpPr/>
              <p:nvPr/>
            </p:nvSpPr>
            <p:spPr>
              <a:xfrm>
                <a:off x="6429525" y="5071142"/>
                <a:ext cx="144000" cy="576000"/>
              </a:xfrm>
              <a:prstGeom prst="rect">
                <a:avLst/>
              </a:prstGeom>
              <a:solidFill>
                <a:schemeClr val="accent6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10E693EF-6150-B8EB-5D66-4D26737214F3}"/>
                  </a:ext>
                </a:extLst>
              </p:cNvPr>
              <p:cNvSpPr/>
              <p:nvPr/>
            </p:nvSpPr>
            <p:spPr>
              <a:xfrm>
                <a:off x="6285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8A1645DD-386C-8EF2-7F05-3C99F6CFFF9B}"/>
                </a:ext>
              </a:extLst>
            </p:cNvPr>
            <p:cNvGrpSpPr/>
            <p:nvPr/>
          </p:nvGrpSpPr>
          <p:grpSpPr>
            <a:xfrm>
              <a:off x="5706690" y="4557545"/>
              <a:ext cx="1152000" cy="576000"/>
              <a:chOff x="5997525" y="5071142"/>
              <a:chExt cx="1152000" cy="576000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4B95A007-CF69-C917-F006-66CF2395ED2E}"/>
                  </a:ext>
                </a:extLst>
              </p:cNvPr>
              <p:cNvSpPr/>
              <p:nvPr/>
            </p:nvSpPr>
            <p:spPr>
              <a:xfrm>
                <a:off x="5997525" y="5071142"/>
                <a:ext cx="288000" cy="576000"/>
              </a:xfrm>
              <a:prstGeom prst="rect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tIns="90000" bIns="90000" rtlCol="0" anchor="ctr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</a:rPr>
                  <a:t>HSM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D4100419-4D08-6A92-7CAB-8933F0B108BE}"/>
                  </a:ext>
                </a:extLst>
              </p:cNvPr>
              <p:cNvSpPr/>
              <p:nvPr/>
            </p:nvSpPr>
            <p:spPr>
              <a:xfrm>
                <a:off x="7005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EA7D3CE1-2762-FEA3-635F-1C82144031E4}"/>
                  </a:ext>
                </a:extLst>
              </p:cNvPr>
              <p:cNvSpPr/>
              <p:nvPr/>
            </p:nvSpPr>
            <p:spPr>
              <a:xfrm>
                <a:off x="6861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E08592CF-958A-630E-D9AD-E81B7F5DC8C3}"/>
                  </a:ext>
                </a:extLst>
              </p:cNvPr>
              <p:cNvSpPr/>
              <p:nvPr/>
            </p:nvSpPr>
            <p:spPr>
              <a:xfrm>
                <a:off x="6717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C6A7995B-8C34-5F84-1F0E-2CC5D5119015}"/>
                  </a:ext>
                </a:extLst>
              </p:cNvPr>
              <p:cNvSpPr/>
              <p:nvPr/>
            </p:nvSpPr>
            <p:spPr>
              <a:xfrm>
                <a:off x="6573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0868F2EC-63A4-1E91-8CF7-5FE396ECA0BD}"/>
                  </a:ext>
                </a:extLst>
              </p:cNvPr>
              <p:cNvSpPr/>
              <p:nvPr/>
            </p:nvSpPr>
            <p:spPr>
              <a:xfrm>
                <a:off x="6429525" y="5071142"/>
                <a:ext cx="144000" cy="576000"/>
              </a:xfrm>
              <a:prstGeom prst="rect">
                <a:avLst/>
              </a:prstGeom>
              <a:solidFill>
                <a:schemeClr val="accent6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02AB6B2C-3AA0-EBA9-CB13-0DFA90EB02B1}"/>
                  </a:ext>
                </a:extLst>
              </p:cNvPr>
              <p:cNvSpPr/>
              <p:nvPr/>
            </p:nvSpPr>
            <p:spPr>
              <a:xfrm>
                <a:off x="6285525" y="5071142"/>
                <a:ext cx="144000" cy="57600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/>
              <a:lstStyle/>
              <a:p>
                <a:pPr algn="l"/>
                <a:endParaRPr lang="en-US" sz="1000" dirty="0" err="1"/>
              </a:p>
            </p:txBody>
          </p:sp>
        </p:grp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FADC5BD6-9231-25B2-E296-FB08BEA2E5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84731" y="3540037"/>
              <a:ext cx="0" cy="21600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3EB3BA5F-97A4-66D4-5B6F-B8577CE0B3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07133" y="3540037"/>
              <a:ext cx="0" cy="21600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BC4D64C9-CF98-0E64-5024-EBB0C51AFA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13555" y="4339094"/>
              <a:ext cx="0" cy="216000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5516C17A-C5CA-75CF-0C63-98DFAE28B5CA}"/>
                </a:ext>
              </a:extLst>
            </p:cNvPr>
            <p:cNvSpPr txBox="1"/>
            <p:nvPr/>
          </p:nvSpPr>
          <p:spPr>
            <a:xfrm>
              <a:off x="6969749" y="4266734"/>
              <a:ext cx="26289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 dirty="0"/>
                <a:t>sync</a:t>
              </a:r>
            </a:p>
          </p:txBody>
        </p: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43C12602-2968-EEAF-DD66-2371C8649E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13555" y="4447094"/>
              <a:ext cx="1638089" cy="0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562E3D97-CD98-0362-16CE-FC1DD25460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01195" y="4447094"/>
              <a:ext cx="0" cy="972067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1CFB215E-C317-4391-2635-07D41538C1FD}"/>
                </a:ext>
              </a:extLst>
            </p:cNvPr>
            <p:cNvSpPr txBox="1"/>
            <p:nvPr/>
          </p:nvSpPr>
          <p:spPr>
            <a:xfrm>
              <a:off x="4513263" y="5200263"/>
              <a:ext cx="147636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 dirty="0" err="1"/>
                <a:t>CloudHSM</a:t>
              </a:r>
              <a:r>
                <a:rPr lang="en-US" sz="1000" dirty="0"/>
                <a:t> - Datacenter A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EFA14598-34E5-174A-C595-04ABF7836DF0}"/>
                </a:ext>
              </a:extLst>
            </p:cNvPr>
            <p:cNvSpPr txBox="1"/>
            <p:nvPr/>
          </p:nvSpPr>
          <p:spPr>
            <a:xfrm>
              <a:off x="8212762" y="5200263"/>
              <a:ext cx="147636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 dirty="0" err="1"/>
                <a:t>CloudHSM</a:t>
              </a:r>
              <a:r>
                <a:rPr lang="en-US" sz="1000" dirty="0"/>
                <a:t> - Datacenter B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237BB84-C2E7-CCEC-1D69-411DB1622FBA}"/>
                </a:ext>
              </a:extLst>
            </p:cNvPr>
            <p:cNvSpPr txBox="1"/>
            <p:nvPr/>
          </p:nvSpPr>
          <p:spPr>
            <a:xfrm>
              <a:off x="7814872" y="6417653"/>
              <a:ext cx="194308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000" dirty="0" err="1"/>
                <a:t>CloudHSM</a:t>
              </a:r>
              <a:r>
                <a:rPr lang="en-US" sz="1000" dirty="0"/>
                <a:t> - Backup Datacenter C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41E29C17-57FB-A1F2-6D1C-FFCCD738F631}"/>
                </a:ext>
              </a:extLst>
            </p:cNvPr>
            <p:cNvSpPr/>
            <p:nvPr/>
          </p:nvSpPr>
          <p:spPr>
            <a:xfrm>
              <a:off x="4513262" y="6355161"/>
              <a:ext cx="1224000" cy="216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Auxiliary Server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10CFAF9C-5E26-D86D-A443-56FBD1AACC56}"/>
                </a:ext>
              </a:extLst>
            </p:cNvPr>
            <p:cNvSpPr/>
            <p:nvPr/>
          </p:nvSpPr>
          <p:spPr>
            <a:xfrm>
              <a:off x="4513262" y="6072060"/>
              <a:ext cx="1224000" cy="21600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Network Gateway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F2412F37-8533-08F5-604B-2384D34674ED}"/>
                </a:ext>
              </a:extLst>
            </p:cNvPr>
            <p:cNvSpPr txBox="1"/>
            <p:nvPr/>
          </p:nvSpPr>
          <p:spPr>
            <a:xfrm>
              <a:off x="4513262" y="5852410"/>
              <a:ext cx="42319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 dirty="0"/>
                <a:t>Legend</a:t>
              </a:r>
            </a:p>
          </p:txBody>
        </p:sp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3E974E8E-DB99-5D3A-B77E-649C40617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23195" y="2100567"/>
              <a:ext cx="756000" cy="756000"/>
            </a:xfrm>
            <a:prstGeom prst="rect">
              <a:avLst/>
            </a:prstGeom>
          </p:spPr>
        </p:pic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C455D82D-5D7B-F1BB-F0BF-6D2E2F76F3C8}"/>
                </a:ext>
              </a:extLst>
            </p:cNvPr>
            <p:cNvSpPr/>
            <p:nvPr/>
          </p:nvSpPr>
          <p:spPr>
            <a:xfrm>
              <a:off x="6111195" y="1344834"/>
              <a:ext cx="1980000" cy="449262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r>
                <a:rPr lang="en-US" sz="1000" dirty="0">
                  <a:solidFill>
                    <a:schemeClr val="bg1"/>
                  </a:solidFill>
                </a:rPr>
                <a:t>Crypto Provider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034B349A-BC04-2EBB-0578-D33C6D32CB7A}"/>
                </a:ext>
              </a:extLst>
            </p:cNvPr>
            <p:cNvSpPr/>
            <p:nvPr/>
          </p:nvSpPr>
          <p:spPr>
            <a:xfrm>
              <a:off x="6111195" y="895299"/>
              <a:ext cx="1980000" cy="450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Business Application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340EF0BA-CCDA-21BA-CF0C-A7A07D320929}"/>
                </a:ext>
              </a:extLst>
            </p:cNvPr>
            <p:cNvSpPr/>
            <p:nvPr/>
          </p:nvSpPr>
          <p:spPr>
            <a:xfrm>
              <a:off x="4582688" y="1350220"/>
              <a:ext cx="1260000" cy="4500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Log-Collector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FF332563-20D0-3950-26D8-4A784E19BDB7}"/>
                </a:ext>
              </a:extLst>
            </p:cNvPr>
            <p:cNvSpPr/>
            <p:nvPr/>
          </p:nvSpPr>
          <p:spPr>
            <a:xfrm>
              <a:off x="4582688" y="900220"/>
              <a:ext cx="1260000" cy="45000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HSM Operation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0996EBF-FA40-1F89-AFCD-070AC9555BDF}"/>
                </a:ext>
              </a:extLst>
            </p:cNvPr>
            <p:cNvSpPr/>
            <p:nvPr/>
          </p:nvSpPr>
          <p:spPr>
            <a:xfrm>
              <a:off x="8359320" y="1355180"/>
              <a:ext cx="1260000" cy="4500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04A18DF-81D3-5BA0-C07D-F96F80935E5C}"/>
                </a:ext>
              </a:extLst>
            </p:cNvPr>
            <p:cNvSpPr/>
            <p:nvPr/>
          </p:nvSpPr>
          <p:spPr>
            <a:xfrm>
              <a:off x="8359320" y="905180"/>
              <a:ext cx="1260000" cy="45000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Server Operation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70B0581D-8576-4AB2-0479-E7BACB6ECC59}"/>
                </a:ext>
              </a:extLst>
            </p:cNvPr>
            <p:cNvSpPr/>
            <p:nvPr/>
          </p:nvSpPr>
          <p:spPr>
            <a:xfrm>
              <a:off x="7153834" y="1372104"/>
              <a:ext cx="900000" cy="180000"/>
            </a:xfrm>
            <a:prstGeom prst="rect">
              <a:avLst/>
            </a:prstGeom>
            <a:solidFill>
              <a:schemeClr val="accent6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Partition PW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4B6107E9-5AE3-CD88-B901-190E442BA6AA}"/>
                </a:ext>
              </a:extLst>
            </p:cNvPr>
            <p:cNvSpPr txBox="1"/>
            <p:nvPr/>
          </p:nvSpPr>
          <p:spPr>
            <a:xfrm>
              <a:off x="6039195" y="1874764"/>
              <a:ext cx="554639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 dirty="0"/>
                <a:t>Customer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EA672086-8FA1-ABE8-B97E-F7DB5F386319}"/>
                </a:ext>
              </a:extLst>
            </p:cNvPr>
            <p:cNvSpPr/>
            <p:nvPr/>
          </p:nvSpPr>
          <p:spPr>
            <a:xfrm>
              <a:off x="7153834" y="1588125"/>
              <a:ext cx="900000" cy="18000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Service PW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F83BC7A-E115-E20A-1F17-F3F825B62C05}"/>
                </a:ext>
              </a:extLst>
            </p:cNvPr>
            <p:cNvSpPr txBox="1"/>
            <p:nvPr/>
          </p:nvSpPr>
          <p:spPr>
            <a:xfrm>
              <a:off x="4509929" y="1872418"/>
              <a:ext cx="59631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 dirty="0"/>
                <a:t>Securosys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E34BFE8E-7227-B61F-D4A3-3D404DAF2E30}"/>
                </a:ext>
              </a:extLst>
            </p:cNvPr>
            <p:cNvSpPr txBox="1"/>
            <p:nvPr/>
          </p:nvSpPr>
          <p:spPr>
            <a:xfrm>
              <a:off x="9066600" y="1874349"/>
              <a:ext cx="623569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00" dirty="0"/>
                <a:t>Securosys</a:t>
              </a:r>
            </a:p>
            <a:p>
              <a:pPr algn="r"/>
              <a:r>
                <a:rPr lang="en-US" sz="1000" dirty="0"/>
                <a:t>Operations</a:t>
              </a:r>
            </a:p>
            <a:p>
              <a:pPr algn="r"/>
              <a:r>
                <a:rPr lang="en-US" sz="1000" dirty="0"/>
                <a:t>Partner</a:t>
              </a:r>
            </a:p>
          </p:txBody>
        </p: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50EBD227-E834-CF72-F3D8-2CB317A9610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781938" y="1877666"/>
              <a:ext cx="1403190" cy="1043867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Arrow Connector 117">
              <a:extLst>
                <a:ext uri="{FF2B5EF4-FFF2-40B4-BE49-F238E27FC236}">
                  <a16:creationId xmlns:a16="http://schemas.microsoft.com/office/drawing/2014/main" id="{4D5DBF94-E429-91FD-9B85-1E67899D87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4924" y="1858770"/>
              <a:ext cx="892612" cy="105291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Arrow Connector 119">
              <a:extLst>
                <a:ext uri="{FF2B5EF4-FFF2-40B4-BE49-F238E27FC236}">
                  <a16:creationId xmlns:a16="http://schemas.microsoft.com/office/drawing/2014/main" id="{35E956FF-393E-17AA-00E0-21AE239A6F4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272105" y="1872579"/>
              <a:ext cx="893617" cy="1060188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5" name="Graphic 124">
              <a:extLst>
                <a:ext uri="{FF2B5EF4-FFF2-40B4-BE49-F238E27FC236}">
                  <a16:creationId xmlns:a16="http://schemas.microsoft.com/office/drawing/2014/main" id="{12CFBCEF-078F-BD32-9275-048DE34CB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039195" y="2387928"/>
              <a:ext cx="144000" cy="144000"/>
            </a:xfrm>
            <a:prstGeom prst="rect">
              <a:avLst/>
            </a:prstGeom>
          </p:spPr>
        </p:pic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EFB1299A-99C3-D957-8838-711318DBD7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16570" y="2399208"/>
              <a:ext cx="144000" cy="160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5744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5ACA68-9822-7E52-F36B-D4C7931DF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BC0A7-03A5-4941-96A2-9E6D2AD1CF0C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2EAD6D-1BFF-9FE6-BF98-CBCF736C0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62EA36-218B-306E-D392-8DD3475C0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2</a:t>
            </a:fld>
            <a:endParaRPr lang="de-CH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5C964D-5616-8548-D619-589D07AEE1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1182032" cy="233014"/>
          </a:xfrm>
        </p:spPr>
        <p:txBody>
          <a:bodyPr/>
          <a:lstStyle/>
          <a:p>
            <a:r>
              <a:rPr lang="en-US" dirty="0" err="1"/>
              <a:t>communication.png</a:t>
            </a:r>
            <a:endParaRPr lang="en-US" dirty="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00156C2-38CE-96C4-5C0A-F68FCE3A9C2B}"/>
              </a:ext>
            </a:extLst>
          </p:cNvPr>
          <p:cNvGrpSpPr/>
          <p:nvPr/>
        </p:nvGrpSpPr>
        <p:grpSpPr>
          <a:xfrm>
            <a:off x="3746102" y="1110528"/>
            <a:ext cx="4699796" cy="4636944"/>
            <a:chOff x="4099909" y="1765142"/>
            <a:chExt cx="4699796" cy="4636944"/>
          </a:xfrm>
        </p:grpSpPr>
        <p:sp>
          <p:nvSpPr>
            <p:cNvPr id="55" name="Rounded Rectangle 54">
              <a:extLst>
                <a:ext uri="{FF2B5EF4-FFF2-40B4-BE49-F238E27FC236}">
                  <a16:creationId xmlns:a16="http://schemas.microsoft.com/office/drawing/2014/main" id="{4AFFD609-49B1-0E04-40D4-2A8865CC812F}"/>
                </a:ext>
              </a:extLst>
            </p:cNvPr>
            <p:cNvSpPr/>
            <p:nvPr/>
          </p:nvSpPr>
          <p:spPr>
            <a:xfrm>
              <a:off x="4188897" y="3429000"/>
              <a:ext cx="4610808" cy="2973086"/>
            </a:xfrm>
            <a:prstGeom prst="roundRect">
              <a:avLst/>
            </a:prstGeom>
            <a:noFill/>
            <a:ln w="19050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b"/>
            <a:lstStyle/>
            <a:p>
              <a:pPr algn="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F26F3790-804F-1BB8-A0A0-669710660BD6}"/>
                </a:ext>
              </a:extLst>
            </p:cNvPr>
            <p:cNvSpPr/>
            <p:nvPr/>
          </p:nvSpPr>
          <p:spPr>
            <a:xfrm>
              <a:off x="4099910" y="3345406"/>
              <a:ext cx="4610808" cy="2973086"/>
            </a:xfrm>
            <a:prstGeom prst="round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b"/>
            <a:lstStyle/>
            <a:p>
              <a:pPr algn="r"/>
              <a:r>
                <a:rPr lang="en-US" sz="1600" dirty="0" err="1">
                  <a:solidFill>
                    <a:schemeClr val="tx1"/>
                  </a:solidFill>
                </a:rPr>
                <a:t>CloudHSM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62FEBDB6-DD7C-8D38-9AB4-B5DF0CC71454}"/>
                </a:ext>
              </a:extLst>
            </p:cNvPr>
            <p:cNvCxnSpPr>
              <a:cxnSpLocks/>
            </p:cNvCxnSpPr>
            <p:nvPr/>
          </p:nvCxnSpPr>
          <p:spPr>
            <a:xfrm>
              <a:off x="5837530" y="2845142"/>
              <a:ext cx="0" cy="2738674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9FF16F19-680E-A1B3-D210-832A4CFD9F14}"/>
                </a:ext>
              </a:extLst>
            </p:cNvPr>
            <p:cNvSpPr/>
            <p:nvPr/>
          </p:nvSpPr>
          <p:spPr>
            <a:xfrm>
              <a:off x="6678911" y="4540722"/>
              <a:ext cx="1800000" cy="540000"/>
            </a:xfrm>
            <a:prstGeom prst="roundRect">
              <a:avLst/>
            </a:prstGeom>
            <a:solidFill>
              <a:schemeClr val="accent3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LDAP</a:t>
              </a: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5F6B4C70-2442-79AE-E17B-1D52991EF85A}"/>
                </a:ext>
              </a:extLst>
            </p:cNvPr>
            <p:cNvSpPr/>
            <p:nvPr/>
          </p:nvSpPr>
          <p:spPr>
            <a:xfrm>
              <a:off x="4312905" y="5583816"/>
              <a:ext cx="1800000" cy="540000"/>
            </a:xfrm>
            <a:prstGeom prst="roundRect">
              <a:avLst/>
            </a:prstGeom>
            <a:solidFill>
              <a:schemeClr val="accent3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Primus HSM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DDDE2872-0254-18B4-6646-B6896636F2AD}"/>
                </a:ext>
              </a:extLst>
            </p:cNvPr>
            <p:cNvSpPr/>
            <p:nvPr/>
          </p:nvSpPr>
          <p:spPr>
            <a:xfrm>
              <a:off x="4312905" y="1765142"/>
              <a:ext cx="1800000" cy="1080000"/>
            </a:xfrm>
            <a:prstGeom prst="round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Business App</a:t>
              </a:r>
            </a:p>
            <a:p>
              <a:pPr algn="ctr"/>
              <a:endParaRPr lang="en-US" sz="1600" dirty="0">
                <a:solidFill>
                  <a:schemeClr val="tx1"/>
                </a:solidFill>
              </a:endParaRPr>
            </a:p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Crypto-Provider</a:t>
              </a: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88E93C2E-7385-A1F3-4356-BCAF48607DBF}"/>
                </a:ext>
              </a:extLst>
            </p:cNvPr>
            <p:cNvCxnSpPr>
              <a:cxnSpLocks/>
            </p:cNvCxnSpPr>
            <p:nvPr/>
          </p:nvCxnSpPr>
          <p:spPr>
            <a:xfrm>
              <a:off x="4468590" y="2844689"/>
              <a:ext cx="0" cy="169200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A0F80C10-BFDA-75DA-1AEA-6F9E8C16977B}"/>
                </a:ext>
              </a:extLst>
            </p:cNvPr>
            <p:cNvCxnSpPr>
              <a:cxnSpLocks/>
            </p:cNvCxnSpPr>
            <p:nvPr/>
          </p:nvCxnSpPr>
          <p:spPr>
            <a:xfrm>
              <a:off x="6112905" y="4683944"/>
              <a:ext cx="566006" cy="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4356F86-5FAB-66D4-AF65-7AF1C1F319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63989" y="5198478"/>
              <a:ext cx="288000" cy="288000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6AC596A-D790-13B9-4081-5D274ABD7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00837" y="4155384"/>
              <a:ext cx="288000" cy="288000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2</a:t>
              </a:r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22F1D13C-F3D0-BAD7-64C3-B2A97FC1C3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01804" y="2844689"/>
              <a:ext cx="0" cy="169200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AA273432-6749-F666-F84B-C2C48DBAF240}"/>
                </a:ext>
              </a:extLst>
            </p:cNvPr>
            <p:cNvCxnSpPr>
              <a:cxnSpLocks/>
            </p:cNvCxnSpPr>
            <p:nvPr/>
          </p:nvCxnSpPr>
          <p:spPr>
            <a:xfrm>
              <a:off x="5155615" y="2844689"/>
              <a:ext cx="0" cy="169200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ECEDAC2-AB5A-BD98-AAF7-F08156DD01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76592" y="4156576"/>
              <a:ext cx="288000" cy="288000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6</a:t>
              </a: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591FA0F6-B9CB-C9D4-C0AD-F7CDF917BDD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299747" y="2844689"/>
              <a:ext cx="0" cy="169200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B02ECE62-57AF-F659-DA7C-FB9C3470A6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70744" y="2845142"/>
              <a:ext cx="0" cy="2738674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BC2CF39-884D-FDE7-ADC6-8313DE1300D6}"/>
                </a:ext>
              </a:extLst>
            </p:cNvPr>
            <p:cNvGrpSpPr/>
            <p:nvPr/>
          </p:nvGrpSpPr>
          <p:grpSpPr>
            <a:xfrm>
              <a:off x="4099909" y="2951274"/>
              <a:ext cx="1651152" cy="290829"/>
              <a:chOff x="7549532" y="4266267"/>
              <a:chExt cx="1651152" cy="290829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1E897E4-5F04-6106-E3A8-FFDCCD5C9C6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49532" y="4266267"/>
                <a:ext cx="288000" cy="288000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1</a:t>
                </a: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067592D2-AC33-1B3B-DDE0-9F3456C5F1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12684" y="4269096"/>
                <a:ext cx="288000" cy="288000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7</a:t>
                </a: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58CE44D9-2407-B285-DF9B-152473C5770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225287" y="4267459"/>
                <a:ext cx="288000" cy="288000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3</a:t>
                </a:r>
              </a:p>
            </p:txBody>
          </p:sp>
        </p:grp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ABF8016D-A20E-B8E2-0A91-48AA13E709A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12905" y="4943761"/>
              <a:ext cx="558854" cy="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3F911B2-B7EA-D299-5129-E198458033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86715" y="5042554"/>
              <a:ext cx="288000" cy="288000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5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1D5D4C9E-7350-B4DC-0E23-253E426E8A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58056" y="4332709"/>
              <a:ext cx="288000" cy="288000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1A6457C5-58A1-D248-1FE4-5FEEDFDE96A7}"/>
                </a:ext>
              </a:extLst>
            </p:cNvPr>
            <p:cNvSpPr/>
            <p:nvPr/>
          </p:nvSpPr>
          <p:spPr>
            <a:xfrm>
              <a:off x="4312905" y="3497628"/>
              <a:ext cx="1800000" cy="540000"/>
            </a:xfrm>
            <a:prstGeom prst="roundRect">
              <a:avLst/>
            </a:prstGeom>
            <a:solidFill>
              <a:schemeClr val="accent3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Firewall</a:t>
              </a: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23FA5223-7B3E-43ED-9912-478E8701C33C}"/>
                </a:ext>
              </a:extLst>
            </p:cNvPr>
            <p:cNvSpPr/>
            <p:nvPr/>
          </p:nvSpPr>
          <p:spPr>
            <a:xfrm>
              <a:off x="4312905" y="4540722"/>
              <a:ext cx="1800000" cy="540000"/>
            </a:xfrm>
            <a:prstGeom prst="roundRect">
              <a:avLst/>
            </a:prstGeom>
            <a:solidFill>
              <a:schemeClr val="accent3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Proxy</a:t>
              </a: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CE5C9CC5-CC8C-1BF1-49F2-3907FE7726BA}"/>
                </a:ext>
              </a:extLst>
            </p:cNvPr>
            <p:cNvCxnSpPr>
              <a:cxnSpLocks/>
              <a:stCxn id="14" idx="1"/>
              <a:endCxn id="14" idx="3"/>
            </p:cNvCxnSpPr>
            <p:nvPr/>
          </p:nvCxnSpPr>
          <p:spPr>
            <a:xfrm>
              <a:off x="4312905" y="2305142"/>
              <a:ext cx="1800000" cy="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91027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75AF53-728E-4E79-06BB-15D926D1E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12D6B-7B4B-E148-A208-BD8FA690E888}" type="datetime3">
              <a:rPr lang="en-US" smtClean="0"/>
              <a:t>31 May 2024</a:t>
            </a:fld>
            <a:endParaRPr lang="de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A95C68-95F4-EE1C-99E4-E3ACE36FD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 err="1"/>
              <a:t>CloudHSM</a:t>
            </a:r>
            <a:r>
              <a:rPr lang="de-CH" dirty="0"/>
              <a:t> </a:t>
            </a:r>
            <a:r>
              <a:rPr lang="de-CH" dirty="0" err="1"/>
              <a:t>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4B34D2-63CA-2E1B-D537-7879DB7D5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3</a:t>
            </a:fld>
            <a:endParaRPr lang="de-CH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EE88B4-895A-3BF7-53D5-B805DA5F45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1291036" cy="233014"/>
          </a:xfrm>
        </p:spPr>
        <p:txBody>
          <a:bodyPr/>
          <a:lstStyle/>
          <a:p>
            <a:r>
              <a:rPr lang="en-US" dirty="0" err="1"/>
              <a:t>system_overview.png</a:t>
            </a:r>
            <a:endParaRPr lang="en-US" dirty="0"/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E912A99-0C9D-56B9-1054-B4F842C9D48E}"/>
              </a:ext>
            </a:extLst>
          </p:cNvPr>
          <p:cNvGrpSpPr/>
          <p:nvPr/>
        </p:nvGrpSpPr>
        <p:grpSpPr>
          <a:xfrm>
            <a:off x="2496810" y="651612"/>
            <a:ext cx="7198379" cy="5554775"/>
            <a:chOff x="3259567" y="1050420"/>
            <a:chExt cx="7198379" cy="5554775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2EE6B34-55A5-9B8F-E387-5B047A95A3B4}"/>
                </a:ext>
              </a:extLst>
            </p:cNvPr>
            <p:cNvSpPr/>
            <p:nvPr/>
          </p:nvSpPr>
          <p:spPr>
            <a:xfrm>
              <a:off x="5260489" y="1478385"/>
              <a:ext cx="5088228" cy="1212206"/>
            </a:xfrm>
            <a:prstGeom prst="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t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Business Application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1E31DC7-F0D6-D441-384B-3E4908A3F7CD}"/>
                </a:ext>
              </a:extLst>
            </p:cNvPr>
            <p:cNvSpPr/>
            <p:nvPr/>
          </p:nvSpPr>
          <p:spPr>
            <a:xfrm>
              <a:off x="8332717" y="2988368"/>
              <a:ext cx="2015999" cy="972000"/>
            </a:xfrm>
            <a:prstGeom prst="rect">
              <a:avLst/>
            </a:prstGeom>
            <a:solidFill>
              <a:schemeClr val="accent5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68BBC5D-A965-4E3B-3BAF-4B4EBAECC169}"/>
                </a:ext>
              </a:extLst>
            </p:cNvPr>
            <p:cNvSpPr/>
            <p:nvPr/>
          </p:nvSpPr>
          <p:spPr>
            <a:xfrm>
              <a:off x="5693374" y="5512779"/>
              <a:ext cx="2015999" cy="972000"/>
            </a:xfrm>
            <a:prstGeom prst="rect">
              <a:avLst/>
            </a:prstGeom>
            <a:solidFill>
              <a:schemeClr val="accent5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F9A0D4A-B9D7-03C7-609E-F1DF44DE3657}"/>
                </a:ext>
              </a:extLst>
            </p:cNvPr>
            <p:cNvSpPr/>
            <p:nvPr/>
          </p:nvSpPr>
          <p:spPr>
            <a:xfrm>
              <a:off x="4467238" y="4346976"/>
              <a:ext cx="4464000" cy="972000"/>
            </a:xfrm>
            <a:prstGeom prst="rect">
              <a:avLst/>
            </a:prstGeom>
            <a:solidFill>
              <a:schemeClr val="accent5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CD733D6-671C-037C-FC50-504F50C07CCB}"/>
                </a:ext>
              </a:extLst>
            </p:cNvPr>
            <p:cNvSpPr/>
            <p:nvPr/>
          </p:nvSpPr>
          <p:spPr>
            <a:xfrm>
              <a:off x="5819887" y="4141694"/>
              <a:ext cx="3033657" cy="10592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/>
            <a:lstStyle/>
            <a:p>
              <a:pPr algn="l"/>
              <a:endParaRPr lang="en-US" dirty="0" err="1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63088FA-3B44-807A-31AF-FCFF5FEC0664}"/>
                </a:ext>
              </a:extLst>
            </p:cNvPr>
            <p:cNvGrpSpPr/>
            <p:nvPr/>
          </p:nvGrpSpPr>
          <p:grpSpPr>
            <a:xfrm>
              <a:off x="4579759" y="4482635"/>
              <a:ext cx="1800000" cy="720000"/>
              <a:chOff x="4579759" y="4482635"/>
              <a:chExt cx="1800000" cy="720000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0F76CF6-A8A3-5FAC-C29D-BB100BB07B31}"/>
                  </a:ext>
                </a:extLst>
              </p:cNvPr>
              <p:cNvSpPr/>
              <p:nvPr/>
            </p:nvSpPr>
            <p:spPr>
              <a:xfrm>
                <a:off x="4579759" y="4482635"/>
                <a:ext cx="1800000" cy="720000"/>
              </a:xfrm>
              <a:prstGeom prst="rect">
                <a:avLst/>
              </a:prstGeom>
              <a:solidFill>
                <a:schemeClr val="accent6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HSM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3627CBB4-9BD5-83E5-25B7-5AA281632BE2}"/>
                  </a:ext>
                </a:extLst>
              </p:cNvPr>
              <p:cNvSpPr/>
              <p:nvPr/>
            </p:nvSpPr>
            <p:spPr>
              <a:xfrm>
                <a:off x="5875759" y="4482635"/>
                <a:ext cx="252000" cy="720000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99FF577-F24D-2D6A-ABA5-ABFA3F1BAD7A}"/>
                </a:ext>
              </a:extLst>
            </p:cNvPr>
            <p:cNvGrpSpPr/>
            <p:nvPr/>
          </p:nvGrpSpPr>
          <p:grpSpPr>
            <a:xfrm>
              <a:off x="5799238" y="5641355"/>
              <a:ext cx="1800000" cy="720000"/>
              <a:chOff x="4579759" y="4482635"/>
              <a:chExt cx="1800000" cy="72000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4EB354B-541E-0685-E5A5-64170D2586CB}"/>
                  </a:ext>
                </a:extLst>
              </p:cNvPr>
              <p:cNvSpPr/>
              <p:nvPr/>
            </p:nvSpPr>
            <p:spPr>
              <a:xfrm>
                <a:off x="4579759" y="4482635"/>
                <a:ext cx="1800000" cy="720000"/>
              </a:xfrm>
              <a:prstGeom prst="rect">
                <a:avLst/>
              </a:prstGeom>
              <a:solidFill>
                <a:schemeClr val="accent6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HSM</a:t>
                </a:r>
                <a:endParaRPr lang="en-US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52FEB49-D441-B41A-0741-9A120DC2CABD}"/>
                  </a:ext>
                </a:extLst>
              </p:cNvPr>
              <p:cNvSpPr/>
              <p:nvPr/>
            </p:nvSpPr>
            <p:spPr>
              <a:xfrm>
                <a:off x="5875759" y="4482635"/>
                <a:ext cx="252000" cy="720000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0893D66-276B-8146-D6B3-803D075CDF7F}"/>
                </a:ext>
              </a:extLst>
            </p:cNvPr>
            <p:cNvGrpSpPr/>
            <p:nvPr/>
          </p:nvGrpSpPr>
          <p:grpSpPr>
            <a:xfrm>
              <a:off x="7018717" y="4485211"/>
              <a:ext cx="1800000" cy="720000"/>
              <a:chOff x="4579759" y="4482635"/>
              <a:chExt cx="1800000" cy="720000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279637FB-34EA-7311-B7C9-321489AE2486}"/>
                  </a:ext>
                </a:extLst>
              </p:cNvPr>
              <p:cNvSpPr/>
              <p:nvPr/>
            </p:nvSpPr>
            <p:spPr>
              <a:xfrm>
                <a:off x="4579759" y="4482635"/>
                <a:ext cx="1800000" cy="720000"/>
              </a:xfrm>
              <a:prstGeom prst="rect">
                <a:avLst/>
              </a:prstGeom>
              <a:solidFill>
                <a:schemeClr val="accent6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HSM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FC043D9-7E62-2D18-FC01-DA1F41ECBC8A}"/>
                  </a:ext>
                </a:extLst>
              </p:cNvPr>
              <p:cNvSpPr/>
              <p:nvPr/>
            </p:nvSpPr>
            <p:spPr>
              <a:xfrm>
                <a:off x="5875759" y="4482635"/>
                <a:ext cx="252000" cy="720000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E39B24B-25ED-F66C-883D-4FF6B4DDB491}"/>
                </a:ext>
              </a:extLst>
            </p:cNvPr>
            <p:cNvCxnSpPr>
              <a:cxnSpLocks/>
              <a:stCxn id="13" idx="3"/>
              <a:endCxn id="21" idx="1"/>
            </p:cNvCxnSpPr>
            <p:nvPr/>
          </p:nvCxnSpPr>
          <p:spPr>
            <a:xfrm>
              <a:off x="6379759" y="4842635"/>
              <a:ext cx="638958" cy="2576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0CC1234-8B92-66C4-3BCE-7BFAB08EB59E}"/>
                </a:ext>
              </a:extLst>
            </p:cNvPr>
            <p:cNvSpPr txBox="1"/>
            <p:nvPr/>
          </p:nvSpPr>
          <p:spPr>
            <a:xfrm>
              <a:off x="6488443" y="4580467"/>
              <a:ext cx="42159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/>
                <a:t>sync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731FB59-0B5D-B5FD-68E7-13C714FB0CDF}"/>
                </a:ext>
              </a:extLst>
            </p:cNvPr>
            <p:cNvCxnSpPr>
              <a:cxnSpLocks/>
              <a:stCxn id="18" idx="0"/>
              <a:endCxn id="27" idx="2"/>
            </p:cNvCxnSpPr>
            <p:nvPr/>
          </p:nvCxnSpPr>
          <p:spPr>
            <a:xfrm flipV="1">
              <a:off x="6699238" y="4826688"/>
              <a:ext cx="0" cy="814667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EC93F4B-4A05-7FAC-8B67-ECC38A48EC3A}"/>
                </a:ext>
              </a:extLst>
            </p:cNvPr>
            <p:cNvSpPr txBox="1"/>
            <p:nvPr/>
          </p:nvSpPr>
          <p:spPr>
            <a:xfrm>
              <a:off x="9036988" y="4382062"/>
              <a:ext cx="1243930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/>
                <a:t>Active</a:t>
              </a:r>
            </a:p>
            <a:p>
              <a:pPr algn="l"/>
              <a:r>
                <a:rPr lang="en-US" sz="1600" dirty="0"/>
                <a:t>Datacenter(s)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61E9B87-560C-CFA4-4805-D25ED1D4DEC4}"/>
                </a:ext>
              </a:extLst>
            </p:cNvPr>
            <p:cNvSpPr txBox="1"/>
            <p:nvPr/>
          </p:nvSpPr>
          <p:spPr>
            <a:xfrm>
              <a:off x="7810033" y="5539636"/>
              <a:ext cx="1003480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/>
                <a:t>DR</a:t>
              </a:r>
            </a:p>
            <a:p>
              <a:pPr algn="l"/>
              <a:r>
                <a:rPr lang="en-US" sz="1600" dirty="0"/>
                <a:t>Datacenter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B57D5C1-1D26-BA5B-658D-27B513D6458B}"/>
                </a:ext>
              </a:extLst>
            </p:cNvPr>
            <p:cNvSpPr/>
            <p:nvPr/>
          </p:nvSpPr>
          <p:spPr>
            <a:xfrm>
              <a:off x="8440717" y="3131911"/>
              <a:ext cx="1800000" cy="720000"/>
            </a:xfrm>
            <a:prstGeom prst="rect">
              <a:avLst/>
            </a:prstGeom>
            <a:solidFill>
              <a:schemeClr val="accent6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TSB / REST API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A9E21C9-5822-4BBE-C5DB-71D4B611C236}"/>
                </a:ext>
              </a:extLst>
            </p:cNvPr>
            <p:cNvSpPr/>
            <p:nvPr/>
          </p:nvSpPr>
          <p:spPr>
            <a:xfrm>
              <a:off x="5349238" y="1885954"/>
              <a:ext cx="2700000" cy="720000"/>
            </a:xfrm>
            <a:prstGeom prst="rect">
              <a:avLst/>
            </a:prstGeom>
            <a:solidFill>
              <a:schemeClr val="accent6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90000" rIns="72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Partition Access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JCE / PKCS#11 /  MSCNG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02D4F3B-76C7-29D5-3E61-6790D88AA26C}"/>
                </a:ext>
              </a:extLst>
            </p:cNvPr>
            <p:cNvSpPr/>
            <p:nvPr/>
          </p:nvSpPr>
          <p:spPr>
            <a:xfrm>
              <a:off x="8440716" y="1885954"/>
              <a:ext cx="1800000" cy="720000"/>
            </a:xfrm>
            <a:prstGeom prst="rect">
              <a:avLst/>
            </a:prstGeom>
            <a:solidFill>
              <a:schemeClr val="accent3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REST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A5087B6F-A910-D3D7-B0C1-4ED5B8C68FA3}"/>
                </a:ext>
              </a:extLst>
            </p:cNvPr>
            <p:cNvCxnSpPr>
              <a:cxnSpLocks/>
              <a:stCxn id="39" idx="0"/>
            </p:cNvCxnSpPr>
            <p:nvPr/>
          </p:nvCxnSpPr>
          <p:spPr>
            <a:xfrm flipV="1">
              <a:off x="6699238" y="2605954"/>
              <a:ext cx="0" cy="1741022"/>
            </a:xfrm>
            <a:prstGeom prst="line">
              <a:avLst/>
            </a:prstGeom>
            <a:ln w="190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E83BFEA-B15A-A1AE-82E2-029CEE26F913}"/>
                </a:ext>
              </a:extLst>
            </p:cNvPr>
            <p:cNvSpPr/>
            <p:nvPr/>
          </p:nvSpPr>
          <p:spPr>
            <a:xfrm>
              <a:off x="3259567" y="2911251"/>
              <a:ext cx="7198379" cy="3693944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b"/>
            <a:lstStyle/>
            <a:p>
              <a:r>
                <a:rPr lang="en-US" dirty="0">
                  <a:solidFill>
                    <a:schemeClr val="tx1"/>
                  </a:solidFill>
                </a:rPr>
                <a:t>Securosys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FCB7AD4-F0A4-8CA6-BDA2-1D15EBFF631A}"/>
                </a:ext>
              </a:extLst>
            </p:cNvPr>
            <p:cNvSpPr/>
            <p:nvPr/>
          </p:nvSpPr>
          <p:spPr>
            <a:xfrm>
              <a:off x="3373432" y="1478385"/>
              <a:ext cx="1800000" cy="1212206"/>
            </a:xfrm>
            <a:prstGeom prst="rect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Partition Admin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48" name="Elbow Connector 47">
              <a:extLst>
                <a:ext uri="{FF2B5EF4-FFF2-40B4-BE49-F238E27FC236}">
                  <a16:creationId xmlns:a16="http://schemas.microsoft.com/office/drawing/2014/main" id="{FAB9C61A-2D03-F7CD-EC8B-25A5695282A7}"/>
                </a:ext>
              </a:extLst>
            </p:cNvPr>
            <p:cNvCxnSpPr>
              <a:cxnSpLocks/>
              <a:stCxn id="35" idx="2"/>
            </p:cNvCxnSpPr>
            <p:nvPr/>
          </p:nvCxnSpPr>
          <p:spPr>
            <a:xfrm rot="5400000">
              <a:off x="7957496" y="2758474"/>
              <a:ext cx="289784" cy="2476658"/>
            </a:xfrm>
            <a:prstGeom prst="bentConnector2">
              <a:avLst/>
            </a:prstGeom>
            <a:ln w="190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57DACDAB-3AC4-42EB-9C3A-9140C60C9D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64058" y="4141694"/>
              <a:ext cx="0" cy="209579"/>
            </a:xfrm>
            <a:prstGeom prst="line">
              <a:avLst/>
            </a:prstGeom>
            <a:ln w="190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Elbow Connector 57">
              <a:extLst>
                <a:ext uri="{FF2B5EF4-FFF2-40B4-BE49-F238E27FC236}">
                  <a16:creationId xmlns:a16="http://schemas.microsoft.com/office/drawing/2014/main" id="{F4957D68-81B1-1BF9-642F-DD62D7EE996A}"/>
                </a:ext>
              </a:extLst>
            </p:cNvPr>
            <p:cNvCxnSpPr>
              <a:cxnSpLocks/>
              <a:stCxn id="46" idx="2"/>
              <a:endCxn id="39" idx="1"/>
            </p:cNvCxnSpPr>
            <p:nvPr/>
          </p:nvCxnSpPr>
          <p:spPr>
            <a:xfrm rot="16200000" flipH="1">
              <a:off x="3299143" y="3664880"/>
              <a:ext cx="2142385" cy="193806"/>
            </a:xfrm>
            <a:prstGeom prst="bentConnector2">
              <a:avLst/>
            </a:prstGeom>
            <a:ln w="19050">
              <a:solidFill>
                <a:schemeClr val="accent4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241708A5-0A5D-D0BE-A7DC-C8F40D7225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25945" y="3358095"/>
              <a:ext cx="276225" cy="276225"/>
            </a:xfrm>
            <a:prstGeom prst="rect">
              <a:avLst/>
            </a:prstGeom>
          </p:spPr>
        </p:pic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4A08445D-7819-A987-DFAB-5669DD4C3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73609" y="2002628"/>
              <a:ext cx="360000" cy="360000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511C4BEF-AAAD-D410-4CB6-3A4A6828CA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47649" y="5345794"/>
              <a:ext cx="900000" cy="900000"/>
            </a:xfrm>
            <a:prstGeom prst="rect">
              <a:avLst/>
            </a:prstGeom>
          </p:spPr>
        </p:pic>
        <p:pic>
          <p:nvPicPr>
            <p:cNvPr id="73" name="Picture 72" descr="A close up of a device&#10;&#10;Description automatically generated">
              <a:extLst>
                <a:ext uri="{FF2B5EF4-FFF2-40B4-BE49-F238E27FC236}">
                  <a16:creationId xmlns:a16="http://schemas.microsoft.com/office/drawing/2014/main" id="{A1B71D4B-F823-7605-7964-6F568336BBF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695654" y="1800067"/>
              <a:ext cx="1066667" cy="720000"/>
            </a:xfrm>
            <a:prstGeom prst="rect">
              <a:avLst/>
            </a:prstGeom>
          </p:spPr>
        </p:pic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6555CE7C-8D9D-2CA5-C034-6CAA8D5F556E}"/>
                </a:ext>
              </a:extLst>
            </p:cNvPr>
            <p:cNvGrpSpPr/>
            <p:nvPr/>
          </p:nvGrpSpPr>
          <p:grpSpPr>
            <a:xfrm>
              <a:off x="3421388" y="2226534"/>
              <a:ext cx="469913" cy="373090"/>
              <a:chOff x="9192344" y="5238343"/>
              <a:chExt cx="830580" cy="659444"/>
            </a:xfrm>
          </p:grpSpPr>
          <p:pic>
            <p:nvPicPr>
              <p:cNvPr id="75" name="Picture 74" descr="Graphical user interface, application&#10;&#10;Description automatically generated">
                <a:extLst>
                  <a:ext uri="{FF2B5EF4-FFF2-40B4-BE49-F238E27FC236}">
                    <a16:creationId xmlns:a16="http://schemas.microsoft.com/office/drawing/2014/main" id="{AEDBD6B9-24D8-64CA-8E94-867BDF3076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192344" y="5238343"/>
                <a:ext cx="464820" cy="293684"/>
              </a:xfrm>
              <a:prstGeom prst="rect">
                <a:avLst/>
              </a:prstGeom>
            </p:spPr>
          </p:pic>
          <p:pic>
            <p:nvPicPr>
              <p:cNvPr id="76" name="Picture 75" descr="Graphical user interface, application&#10;&#10;Description automatically generated">
                <a:extLst>
                  <a:ext uri="{FF2B5EF4-FFF2-40B4-BE49-F238E27FC236}">
                    <a16:creationId xmlns:a16="http://schemas.microsoft.com/office/drawing/2014/main" id="{249E597C-D765-00FA-93A4-5F86581139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75224" y="5421223"/>
                <a:ext cx="464820" cy="293684"/>
              </a:xfrm>
              <a:prstGeom prst="rect">
                <a:avLst/>
              </a:prstGeom>
            </p:spPr>
          </p:pic>
          <p:pic>
            <p:nvPicPr>
              <p:cNvPr id="77" name="Picture 76" descr="Graphical user interface, application&#10;&#10;Description automatically generated">
                <a:extLst>
                  <a:ext uri="{FF2B5EF4-FFF2-40B4-BE49-F238E27FC236}">
                    <a16:creationId xmlns:a16="http://schemas.microsoft.com/office/drawing/2014/main" id="{432F1872-DC23-22FE-9116-441D3063D2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558104" y="5604103"/>
                <a:ext cx="464820" cy="293684"/>
              </a:xfrm>
              <a:prstGeom prst="rect">
                <a:avLst/>
              </a:prstGeom>
            </p:spPr>
          </p:pic>
        </p:grp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E04C49C-49EC-2DCA-8CD2-2E23A65B59D2}"/>
                </a:ext>
              </a:extLst>
            </p:cNvPr>
            <p:cNvSpPr/>
            <p:nvPr/>
          </p:nvSpPr>
          <p:spPr>
            <a:xfrm>
              <a:off x="3259567" y="1050420"/>
              <a:ext cx="7198378" cy="1728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Customer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3D9596F4-3E81-FDD5-7297-B8E4BE35D7FD}"/>
                </a:ext>
              </a:extLst>
            </p:cNvPr>
            <p:cNvCxnSpPr>
              <a:cxnSpLocks/>
              <a:stCxn id="35" idx="0"/>
            </p:cNvCxnSpPr>
            <p:nvPr/>
          </p:nvCxnSpPr>
          <p:spPr>
            <a:xfrm flipH="1" flipV="1">
              <a:off x="9340716" y="2605954"/>
              <a:ext cx="1" cy="525957"/>
            </a:xfrm>
            <a:prstGeom prst="line">
              <a:avLst/>
            </a:prstGeom>
            <a:ln w="190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9888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643CDE-41D5-BD15-D085-0F5AA9010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8A102E-BF5B-6F42-97F0-8AEBB45FBAD7}" type="datetime3">
              <a:rPr lang="en-US" smtClean="0"/>
              <a:t>31 Ma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EC0A24-B46E-95DF-CA39-49D9A1D92D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 err="1"/>
              <a:t>CloudHSM</a:t>
            </a:r>
            <a:r>
              <a:rPr lang="de-CH" dirty="0"/>
              <a:t> </a:t>
            </a:r>
            <a:r>
              <a:rPr lang="de-CH" dirty="0" err="1"/>
              <a:t>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B43073-A0B6-51DC-AFFA-8CD4A9BCE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4</a:t>
            </a:fld>
            <a:endParaRPr lang="de-CH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9CED61-FA24-CDD8-45C8-A1DF6D4585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2188717" cy="233014"/>
          </a:xfrm>
        </p:spPr>
        <p:txBody>
          <a:bodyPr/>
          <a:lstStyle/>
          <a:p>
            <a:r>
              <a:rPr lang="en-US" dirty="0" err="1"/>
              <a:t>service_user.png</a:t>
            </a:r>
            <a:r>
              <a:rPr lang="en-US" dirty="0"/>
              <a:t> &amp; </a:t>
            </a:r>
            <a:r>
              <a:rPr lang="en-US" dirty="0" err="1"/>
              <a:t>technical_user.png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512D1F5-2112-3E8A-A2B5-E30E8A02D20E}"/>
              </a:ext>
            </a:extLst>
          </p:cNvPr>
          <p:cNvGrpSpPr/>
          <p:nvPr/>
        </p:nvGrpSpPr>
        <p:grpSpPr>
          <a:xfrm>
            <a:off x="1871843" y="2527762"/>
            <a:ext cx="8448313" cy="1802476"/>
            <a:chOff x="2692702" y="1895317"/>
            <a:chExt cx="8448313" cy="1802476"/>
          </a:xfrm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B7786D16-7CEF-4EEC-C277-46C331B89415}"/>
                </a:ext>
              </a:extLst>
            </p:cNvPr>
            <p:cNvSpPr/>
            <p:nvPr/>
          </p:nvSpPr>
          <p:spPr>
            <a:xfrm>
              <a:off x="2692702" y="1895317"/>
              <a:ext cx="1080000" cy="720000"/>
            </a:xfrm>
            <a:prstGeom prst="round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E-Mail</a:t>
              </a: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E0A35F35-0979-8BF3-6591-6A4833CD699F}"/>
                </a:ext>
              </a:extLst>
            </p:cNvPr>
            <p:cNvSpPr/>
            <p:nvPr/>
          </p:nvSpPr>
          <p:spPr>
            <a:xfrm>
              <a:off x="2692702" y="2977793"/>
              <a:ext cx="1080000" cy="720000"/>
            </a:xfrm>
            <a:prstGeom prst="round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SMS</a:t>
              </a: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1EA7A41D-CF44-2DB7-DB3D-0006E3525D36}"/>
                </a:ext>
              </a:extLst>
            </p:cNvPr>
            <p:cNvSpPr/>
            <p:nvPr/>
          </p:nvSpPr>
          <p:spPr>
            <a:xfrm>
              <a:off x="4248809" y="1895317"/>
              <a:ext cx="1980000" cy="720000"/>
            </a:xfrm>
            <a:prstGeom prst="round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Link to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Download Portal</a:t>
              </a: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F4268028-9979-D23F-BB86-68BEBC97A031}"/>
                </a:ext>
              </a:extLst>
            </p:cNvPr>
            <p:cNvSpPr/>
            <p:nvPr/>
          </p:nvSpPr>
          <p:spPr>
            <a:xfrm>
              <a:off x="4248807" y="2977793"/>
              <a:ext cx="1980000" cy="720000"/>
            </a:xfrm>
            <a:prstGeom prst="round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Security Code</a:t>
              </a: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4E060EB5-B3C3-ABFD-47B5-6B53E2C5C9BC}"/>
                </a:ext>
              </a:extLst>
            </p:cNvPr>
            <p:cNvSpPr/>
            <p:nvPr/>
          </p:nvSpPr>
          <p:spPr>
            <a:xfrm>
              <a:off x="6704912" y="2445220"/>
              <a:ext cx="1980000" cy="720000"/>
            </a:xfrm>
            <a:prstGeom prst="round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Access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Download Portal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CD3CD7D0-966C-A482-C20C-16708300DB59}"/>
                </a:ext>
              </a:extLst>
            </p:cNvPr>
            <p:cNvSpPr/>
            <p:nvPr/>
          </p:nvSpPr>
          <p:spPr>
            <a:xfrm>
              <a:off x="9161015" y="2441910"/>
              <a:ext cx="1980000" cy="720000"/>
            </a:xfrm>
            <a:prstGeom prst="roundRect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tIns="90000" bIns="9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Download Credentials</a:t>
              </a: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FBACF6B8-829C-67D2-C601-00338099EB98}"/>
                </a:ext>
              </a:extLst>
            </p:cNvPr>
            <p:cNvCxnSpPr>
              <a:stCxn id="7" idx="3"/>
              <a:endCxn id="11" idx="1"/>
            </p:cNvCxnSpPr>
            <p:nvPr/>
          </p:nvCxnSpPr>
          <p:spPr>
            <a:xfrm>
              <a:off x="3772702" y="2255317"/>
              <a:ext cx="476107" cy="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4E488AC5-9E9C-5F73-AD22-A7D7C2D46664}"/>
                </a:ext>
              </a:extLst>
            </p:cNvPr>
            <p:cNvCxnSpPr/>
            <p:nvPr/>
          </p:nvCxnSpPr>
          <p:spPr>
            <a:xfrm>
              <a:off x="3772702" y="3337793"/>
              <a:ext cx="476107" cy="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81D3CAEE-552D-7CD5-42D7-C802B6866A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28805" y="2959495"/>
              <a:ext cx="476105" cy="378095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528FB9E0-9DD7-CA35-7673-CE06B5381B97}"/>
                </a:ext>
              </a:extLst>
            </p:cNvPr>
            <p:cNvCxnSpPr/>
            <p:nvPr/>
          </p:nvCxnSpPr>
          <p:spPr>
            <a:xfrm>
              <a:off x="8684912" y="2801910"/>
              <a:ext cx="476107" cy="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B5C87F57-C78B-CBDA-BC3E-E6B411C61A0F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>
              <a:off x="6228809" y="2255317"/>
              <a:ext cx="476099" cy="420078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50527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EEE2F1-8A40-36DD-45B9-666ACF310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6070B-5384-1E4F-918B-AF6F433642C4}" type="datetime3">
              <a:rPr lang="en-US" smtClean="0"/>
              <a:t>31 May 2024</a:t>
            </a:fld>
            <a:endParaRPr lang="de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59B666-0A22-9E90-D9A4-FD2B5F1EB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CloudHSM Drawing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98AB8E-0E5B-B95E-2D9C-A4239ACA1E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5</a:t>
            </a:fld>
            <a:endParaRPr lang="de-CH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C275AE-E51F-3A34-B72F-7E723C696E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1117912" cy="233014"/>
          </a:xfrm>
        </p:spPr>
        <p:txBody>
          <a:bodyPr/>
          <a:lstStyle/>
          <a:p>
            <a:r>
              <a:rPr lang="en-US" dirty="0" err="1"/>
              <a:t>global_cluster.png</a:t>
            </a:r>
            <a:endParaRPr lang="en-US" dirty="0"/>
          </a:p>
        </p:txBody>
      </p: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447D2554-1F7A-5785-7F81-753D4C380BD3}"/>
              </a:ext>
            </a:extLst>
          </p:cNvPr>
          <p:cNvGrpSpPr/>
          <p:nvPr/>
        </p:nvGrpSpPr>
        <p:grpSpPr>
          <a:xfrm>
            <a:off x="740566" y="912381"/>
            <a:ext cx="10800000" cy="5488436"/>
            <a:chOff x="740566" y="912381"/>
            <a:chExt cx="10800000" cy="5488436"/>
          </a:xfrm>
        </p:grpSpPr>
        <p:grpSp>
          <p:nvGrpSpPr>
            <p:cNvPr id="7" name="World map">
              <a:extLst>
                <a:ext uri="{FF2B5EF4-FFF2-40B4-BE49-F238E27FC236}">
                  <a16:creationId xmlns:a16="http://schemas.microsoft.com/office/drawing/2014/main" id="{7E0FA01D-C4E5-4151-4F0A-1BDE68F08AA9}"/>
                </a:ext>
              </a:extLst>
            </p:cNvPr>
            <p:cNvGrpSpPr>
              <a:grpSpLocks/>
            </p:cNvGrpSpPr>
            <p:nvPr/>
          </p:nvGrpSpPr>
          <p:grpSpPr>
            <a:xfrm>
              <a:off x="740566" y="3283648"/>
              <a:ext cx="10800000" cy="2027524"/>
              <a:chOff x="806775" y="1387475"/>
              <a:chExt cx="10570131" cy="5151438"/>
            </a:xfrm>
          </p:grpSpPr>
          <p:sp>
            <p:nvSpPr>
              <p:cNvPr id="8" name="Paracel Islands">
                <a:extLst>
                  <a:ext uri="{FF2B5EF4-FFF2-40B4-BE49-F238E27FC236}">
                    <a16:creationId xmlns:a16="http://schemas.microsoft.com/office/drawing/2014/main" id="{228B7045-5BD9-1A5A-1427-61DB3D2B351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420174" y="3730515"/>
                <a:ext cx="53106" cy="38780"/>
              </a:xfrm>
              <a:custGeom>
                <a:avLst/>
                <a:gdLst>
                  <a:gd name="T0" fmla="*/ 16 w 76"/>
                  <a:gd name="T1" fmla="*/ 34 h 52"/>
                  <a:gd name="T2" fmla="*/ 11 w 76"/>
                  <a:gd name="T3" fmla="*/ 52 h 52"/>
                  <a:gd name="T4" fmla="*/ 16 w 76"/>
                  <a:gd name="T5" fmla="*/ 34 h 52"/>
                  <a:gd name="T6" fmla="*/ 35 w 76"/>
                  <a:gd name="T7" fmla="*/ 8 h 52"/>
                  <a:gd name="T8" fmla="*/ 47 w 76"/>
                  <a:gd name="T9" fmla="*/ 26 h 52"/>
                  <a:gd name="T10" fmla="*/ 58 w 76"/>
                  <a:gd name="T11" fmla="*/ 21 h 52"/>
                  <a:gd name="T12" fmla="*/ 35 w 76"/>
                  <a:gd name="T13" fmla="*/ 8 h 52"/>
                  <a:gd name="T14" fmla="*/ 71 w 76"/>
                  <a:gd name="T15" fmla="*/ 32 h 52"/>
                  <a:gd name="T16" fmla="*/ 58 w 76"/>
                  <a:gd name="T17" fmla="*/ 42 h 52"/>
                  <a:gd name="T18" fmla="*/ 71 w 76"/>
                  <a:gd name="T19" fmla="*/ 3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6" h="52">
                    <a:moveTo>
                      <a:pt x="16" y="34"/>
                    </a:moveTo>
                    <a:cubicBezTo>
                      <a:pt x="0" y="34"/>
                      <a:pt x="11" y="52"/>
                      <a:pt x="11" y="52"/>
                    </a:cubicBezTo>
                    <a:cubicBezTo>
                      <a:pt x="23" y="52"/>
                      <a:pt x="32" y="34"/>
                      <a:pt x="16" y="34"/>
                    </a:cubicBezTo>
                    <a:close/>
                    <a:moveTo>
                      <a:pt x="35" y="8"/>
                    </a:moveTo>
                    <a:cubicBezTo>
                      <a:pt x="28" y="16"/>
                      <a:pt x="47" y="26"/>
                      <a:pt x="47" y="26"/>
                    </a:cubicBezTo>
                    <a:cubicBezTo>
                      <a:pt x="58" y="21"/>
                      <a:pt x="58" y="21"/>
                      <a:pt x="58" y="21"/>
                    </a:cubicBezTo>
                    <a:cubicBezTo>
                      <a:pt x="58" y="21"/>
                      <a:pt x="41" y="0"/>
                      <a:pt x="35" y="8"/>
                    </a:cubicBezTo>
                    <a:close/>
                    <a:moveTo>
                      <a:pt x="71" y="32"/>
                    </a:moveTo>
                    <a:cubicBezTo>
                      <a:pt x="66" y="26"/>
                      <a:pt x="51" y="38"/>
                      <a:pt x="58" y="42"/>
                    </a:cubicBezTo>
                    <a:cubicBezTo>
                      <a:pt x="68" y="48"/>
                      <a:pt x="76" y="37"/>
                      <a:pt x="71" y="3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01" tIns="45707" rIns="91401" bIns="45707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grpSp>
            <p:nvGrpSpPr>
              <p:cNvPr id="9" name="South America">
                <a:extLst>
                  <a:ext uri="{FF2B5EF4-FFF2-40B4-BE49-F238E27FC236}">
                    <a16:creationId xmlns:a16="http://schemas.microsoft.com/office/drawing/2014/main" id="{9E2B1EC9-B9D8-7543-616F-0A0968FFE547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2886072" y="3916260"/>
                <a:ext cx="1595224" cy="2622653"/>
                <a:chOff x="3453658" y="3702732"/>
                <a:chExt cx="1240055" cy="2038995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179" name="Venezuela">
                  <a:extLst>
                    <a:ext uri="{FF2B5EF4-FFF2-40B4-BE49-F238E27FC236}">
                      <a16:creationId xmlns:a16="http://schemas.microsoft.com/office/drawing/2014/main" id="{CF292BC8-957C-7905-CF36-8301639813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671181" y="3715427"/>
                  <a:ext cx="358838" cy="349088"/>
                </a:xfrm>
                <a:custGeom>
                  <a:avLst/>
                  <a:gdLst>
                    <a:gd name="T0" fmla="*/ 175 w 642"/>
                    <a:gd name="T1" fmla="*/ 3 h 625"/>
                    <a:gd name="T2" fmla="*/ 165 w 642"/>
                    <a:gd name="T3" fmla="*/ 34 h 625"/>
                    <a:gd name="T4" fmla="*/ 630 w 642"/>
                    <a:gd name="T5" fmla="*/ 190 h 625"/>
                    <a:gd name="T6" fmla="*/ 595 w 642"/>
                    <a:gd name="T7" fmla="*/ 194 h 625"/>
                    <a:gd name="T8" fmla="*/ 553 w 642"/>
                    <a:gd name="T9" fmla="*/ 194 h 625"/>
                    <a:gd name="T10" fmla="*/ 586 w 642"/>
                    <a:gd name="T11" fmla="*/ 167 h 625"/>
                    <a:gd name="T12" fmla="*/ 572 w 642"/>
                    <a:gd name="T13" fmla="*/ 143 h 625"/>
                    <a:gd name="T14" fmla="*/ 556 w 642"/>
                    <a:gd name="T15" fmla="*/ 143 h 625"/>
                    <a:gd name="T16" fmla="*/ 536 w 642"/>
                    <a:gd name="T17" fmla="*/ 123 h 625"/>
                    <a:gd name="T18" fmla="*/ 522 w 642"/>
                    <a:gd name="T19" fmla="*/ 129 h 625"/>
                    <a:gd name="T20" fmla="*/ 498 w 642"/>
                    <a:gd name="T21" fmla="*/ 117 h 625"/>
                    <a:gd name="T22" fmla="*/ 501 w 642"/>
                    <a:gd name="T23" fmla="*/ 93 h 625"/>
                    <a:gd name="T24" fmla="*/ 457 w 642"/>
                    <a:gd name="T25" fmla="*/ 84 h 625"/>
                    <a:gd name="T26" fmla="*/ 435 w 642"/>
                    <a:gd name="T27" fmla="*/ 99 h 625"/>
                    <a:gd name="T28" fmla="*/ 346 w 642"/>
                    <a:gd name="T29" fmla="*/ 88 h 625"/>
                    <a:gd name="T30" fmla="*/ 242 w 642"/>
                    <a:gd name="T31" fmla="*/ 68 h 625"/>
                    <a:gd name="T32" fmla="*/ 147 w 642"/>
                    <a:gd name="T33" fmla="*/ 56 h 625"/>
                    <a:gd name="T34" fmla="*/ 113 w 642"/>
                    <a:gd name="T35" fmla="*/ 136 h 625"/>
                    <a:gd name="T36" fmla="*/ 89 w 642"/>
                    <a:gd name="T37" fmla="*/ 154 h 625"/>
                    <a:gd name="T38" fmla="*/ 82 w 642"/>
                    <a:gd name="T39" fmla="*/ 102 h 625"/>
                    <a:gd name="T40" fmla="*/ 77 w 642"/>
                    <a:gd name="T41" fmla="*/ 38 h 625"/>
                    <a:gd name="T42" fmla="*/ 38 w 642"/>
                    <a:gd name="T43" fmla="*/ 77 h 625"/>
                    <a:gd name="T44" fmla="*/ 24 w 642"/>
                    <a:gd name="T45" fmla="*/ 115 h 625"/>
                    <a:gd name="T46" fmla="*/ 5 w 642"/>
                    <a:gd name="T47" fmla="*/ 162 h 625"/>
                    <a:gd name="T48" fmla="*/ 35 w 642"/>
                    <a:gd name="T49" fmla="*/ 180 h 625"/>
                    <a:gd name="T50" fmla="*/ 50 w 642"/>
                    <a:gd name="T51" fmla="*/ 216 h 625"/>
                    <a:gd name="T52" fmla="*/ 41 w 642"/>
                    <a:gd name="T53" fmla="*/ 259 h 625"/>
                    <a:gd name="T54" fmla="*/ 59 w 642"/>
                    <a:gd name="T55" fmla="*/ 280 h 625"/>
                    <a:gd name="T56" fmla="*/ 111 w 642"/>
                    <a:gd name="T57" fmla="*/ 284 h 625"/>
                    <a:gd name="T58" fmla="*/ 136 w 642"/>
                    <a:gd name="T59" fmla="*/ 284 h 625"/>
                    <a:gd name="T60" fmla="*/ 181 w 642"/>
                    <a:gd name="T61" fmla="*/ 330 h 625"/>
                    <a:gd name="T62" fmla="*/ 203 w 642"/>
                    <a:gd name="T63" fmla="*/ 322 h 625"/>
                    <a:gd name="T64" fmla="*/ 232 w 642"/>
                    <a:gd name="T65" fmla="*/ 324 h 625"/>
                    <a:gd name="T66" fmla="*/ 276 w 642"/>
                    <a:gd name="T67" fmla="*/ 323 h 625"/>
                    <a:gd name="T68" fmla="*/ 263 w 642"/>
                    <a:gd name="T69" fmla="*/ 362 h 625"/>
                    <a:gd name="T70" fmla="*/ 254 w 642"/>
                    <a:gd name="T71" fmla="*/ 404 h 625"/>
                    <a:gd name="T72" fmla="*/ 261 w 642"/>
                    <a:gd name="T73" fmla="*/ 440 h 625"/>
                    <a:gd name="T74" fmla="*/ 278 w 642"/>
                    <a:gd name="T75" fmla="*/ 476 h 625"/>
                    <a:gd name="T76" fmla="*/ 259 w 642"/>
                    <a:gd name="T77" fmla="*/ 507 h 625"/>
                    <a:gd name="T78" fmla="*/ 284 w 642"/>
                    <a:gd name="T79" fmla="*/ 549 h 625"/>
                    <a:gd name="T80" fmla="*/ 299 w 642"/>
                    <a:gd name="T81" fmla="*/ 594 h 625"/>
                    <a:gd name="T82" fmla="*/ 326 w 642"/>
                    <a:gd name="T83" fmla="*/ 619 h 625"/>
                    <a:gd name="T84" fmla="*/ 362 w 642"/>
                    <a:gd name="T85" fmla="*/ 624 h 625"/>
                    <a:gd name="T86" fmla="*/ 400 w 642"/>
                    <a:gd name="T87" fmla="*/ 593 h 625"/>
                    <a:gd name="T88" fmla="*/ 420 w 642"/>
                    <a:gd name="T89" fmla="*/ 579 h 625"/>
                    <a:gd name="T90" fmla="*/ 457 w 642"/>
                    <a:gd name="T91" fmla="*/ 547 h 625"/>
                    <a:gd name="T92" fmla="*/ 432 w 642"/>
                    <a:gd name="T93" fmla="*/ 524 h 625"/>
                    <a:gd name="T94" fmla="*/ 419 w 642"/>
                    <a:gd name="T95" fmla="*/ 490 h 625"/>
                    <a:gd name="T96" fmla="*/ 400 w 642"/>
                    <a:gd name="T97" fmla="*/ 425 h 625"/>
                    <a:gd name="T98" fmla="*/ 429 w 642"/>
                    <a:gd name="T99" fmla="*/ 433 h 625"/>
                    <a:gd name="T100" fmla="*/ 450 w 642"/>
                    <a:gd name="T101" fmla="*/ 444 h 625"/>
                    <a:gd name="T102" fmla="*/ 469 w 642"/>
                    <a:gd name="T103" fmla="*/ 446 h 625"/>
                    <a:gd name="T104" fmla="*/ 507 w 642"/>
                    <a:gd name="T105" fmla="*/ 432 h 625"/>
                    <a:gd name="T106" fmla="*/ 551 w 642"/>
                    <a:gd name="T107" fmla="*/ 424 h 625"/>
                    <a:gd name="T108" fmla="*/ 583 w 642"/>
                    <a:gd name="T109" fmla="*/ 414 h 625"/>
                    <a:gd name="T110" fmla="*/ 596 w 642"/>
                    <a:gd name="T111" fmla="*/ 399 h 625"/>
                    <a:gd name="T112" fmla="*/ 563 w 642"/>
                    <a:gd name="T113" fmla="*/ 340 h 625"/>
                    <a:gd name="T114" fmla="*/ 570 w 642"/>
                    <a:gd name="T115" fmla="*/ 299 h 625"/>
                    <a:gd name="T116" fmla="*/ 616 w 642"/>
                    <a:gd name="T117" fmla="*/ 273 h 625"/>
                    <a:gd name="T118" fmla="*/ 601 w 642"/>
                    <a:gd name="T119" fmla="*/ 250 h 625"/>
                    <a:gd name="T120" fmla="*/ 635 w 642"/>
                    <a:gd name="T121" fmla="*/ 218 h 625"/>
                    <a:gd name="T122" fmla="*/ 630 w 642"/>
                    <a:gd name="T123" fmla="*/ 190 h 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642" h="625">
                      <a:moveTo>
                        <a:pt x="182" y="33"/>
                      </a:moveTo>
                      <a:cubicBezTo>
                        <a:pt x="182" y="33"/>
                        <a:pt x="187" y="6"/>
                        <a:pt x="175" y="3"/>
                      </a:cubicBezTo>
                      <a:cubicBezTo>
                        <a:pt x="164" y="0"/>
                        <a:pt x="158" y="7"/>
                        <a:pt x="158" y="13"/>
                      </a:cubicBezTo>
                      <a:cubicBezTo>
                        <a:pt x="158" y="18"/>
                        <a:pt x="165" y="34"/>
                        <a:pt x="165" y="34"/>
                      </a:cubicBezTo>
                      <a:lnTo>
                        <a:pt x="182" y="33"/>
                      </a:lnTo>
                      <a:close/>
                      <a:moveTo>
                        <a:pt x="630" y="190"/>
                      </a:moveTo>
                      <a:cubicBezTo>
                        <a:pt x="626" y="184"/>
                        <a:pt x="611" y="201"/>
                        <a:pt x="611" y="201"/>
                      </a:cubicBezTo>
                      <a:cubicBezTo>
                        <a:pt x="611" y="201"/>
                        <a:pt x="601" y="197"/>
                        <a:pt x="595" y="194"/>
                      </a:cubicBezTo>
                      <a:cubicBezTo>
                        <a:pt x="589" y="191"/>
                        <a:pt x="575" y="208"/>
                        <a:pt x="575" y="208"/>
                      </a:cubicBezTo>
                      <a:cubicBezTo>
                        <a:pt x="553" y="194"/>
                        <a:pt x="553" y="194"/>
                        <a:pt x="553" y="194"/>
                      </a:cubicBezTo>
                      <a:cubicBezTo>
                        <a:pt x="553" y="194"/>
                        <a:pt x="579" y="194"/>
                        <a:pt x="583" y="187"/>
                      </a:cubicBezTo>
                      <a:cubicBezTo>
                        <a:pt x="587" y="180"/>
                        <a:pt x="586" y="167"/>
                        <a:pt x="586" y="167"/>
                      </a:cubicBezTo>
                      <a:cubicBezTo>
                        <a:pt x="586" y="167"/>
                        <a:pt x="596" y="166"/>
                        <a:pt x="598" y="153"/>
                      </a:cubicBezTo>
                      <a:cubicBezTo>
                        <a:pt x="600" y="140"/>
                        <a:pt x="572" y="143"/>
                        <a:pt x="572" y="143"/>
                      </a:cubicBezTo>
                      <a:cubicBezTo>
                        <a:pt x="572" y="143"/>
                        <a:pt x="568" y="129"/>
                        <a:pt x="561" y="128"/>
                      </a:cubicBezTo>
                      <a:cubicBezTo>
                        <a:pt x="554" y="127"/>
                        <a:pt x="556" y="143"/>
                        <a:pt x="556" y="143"/>
                      </a:cubicBezTo>
                      <a:cubicBezTo>
                        <a:pt x="556" y="143"/>
                        <a:pt x="550" y="134"/>
                        <a:pt x="550" y="128"/>
                      </a:cubicBezTo>
                      <a:cubicBezTo>
                        <a:pt x="550" y="122"/>
                        <a:pt x="536" y="123"/>
                        <a:pt x="536" y="123"/>
                      </a:cubicBezTo>
                      <a:cubicBezTo>
                        <a:pt x="532" y="143"/>
                        <a:pt x="532" y="143"/>
                        <a:pt x="532" y="143"/>
                      </a:cubicBezTo>
                      <a:cubicBezTo>
                        <a:pt x="532" y="143"/>
                        <a:pt x="524" y="135"/>
                        <a:pt x="522" y="129"/>
                      </a:cubicBezTo>
                      <a:cubicBezTo>
                        <a:pt x="520" y="123"/>
                        <a:pt x="519" y="109"/>
                        <a:pt x="519" y="109"/>
                      </a:cubicBezTo>
                      <a:cubicBezTo>
                        <a:pt x="498" y="117"/>
                        <a:pt x="498" y="117"/>
                        <a:pt x="498" y="117"/>
                      </a:cubicBezTo>
                      <a:cubicBezTo>
                        <a:pt x="498" y="117"/>
                        <a:pt x="514" y="108"/>
                        <a:pt x="514" y="103"/>
                      </a:cubicBezTo>
                      <a:cubicBezTo>
                        <a:pt x="514" y="98"/>
                        <a:pt x="501" y="98"/>
                        <a:pt x="501" y="93"/>
                      </a:cubicBezTo>
                      <a:cubicBezTo>
                        <a:pt x="501" y="88"/>
                        <a:pt x="543" y="88"/>
                        <a:pt x="547" y="82"/>
                      </a:cubicBezTo>
                      <a:cubicBezTo>
                        <a:pt x="551" y="76"/>
                        <a:pt x="457" y="84"/>
                        <a:pt x="457" y="84"/>
                      </a:cubicBezTo>
                      <a:cubicBezTo>
                        <a:pt x="466" y="94"/>
                        <a:pt x="466" y="94"/>
                        <a:pt x="466" y="94"/>
                      </a:cubicBezTo>
                      <a:cubicBezTo>
                        <a:pt x="466" y="94"/>
                        <a:pt x="444" y="96"/>
                        <a:pt x="435" y="99"/>
                      </a:cubicBezTo>
                      <a:cubicBezTo>
                        <a:pt x="426" y="102"/>
                        <a:pt x="402" y="119"/>
                        <a:pt x="402" y="119"/>
                      </a:cubicBezTo>
                      <a:cubicBezTo>
                        <a:pt x="378" y="120"/>
                        <a:pt x="346" y="88"/>
                        <a:pt x="346" y="88"/>
                      </a:cubicBezTo>
                      <a:cubicBezTo>
                        <a:pt x="346" y="88"/>
                        <a:pt x="265" y="93"/>
                        <a:pt x="255" y="92"/>
                      </a:cubicBezTo>
                      <a:cubicBezTo>
                        <a:pt x="245" y="91"/>
                        <a:pt x="242" y="82"/>
                        <a:pt x="242" y="68"/>
                      </a:cubicBezTo>
                      <a:cubicBezTo>
                        <a:pt x="242" y="54"/>
                        <a:pt x="236" y="44"/>
                        <a:pt x="210" y="39"/>
                      </a:cubicBezTo>
                      <a:cubicBezTo>
                        <a:pt x="184" y="34"/>
                        <a:pt x="147" y="56"/>
                        <a:pt x="147" y="56"/>
                      </a:cubicBezTo>
                      <a:cubicBezTo>
                        <a:pt x="147" y="56"/>
                        <a:pt x="120" y="62"/>
                        <a:pt x="104" y="76"/>
                      </a:cubicBezTo>
                      <a:cubicBezTo>
                        <a:pt x="88" y="90"/>
                        <a:pt x="111" y="116"/>
                        <a:pt x="113" y="136"/>
                      </a:cubicBezTo>
                      <a:cubicBezTo>
                        <a:pt x="115" y="156"/>
                        <a:pt x="88" y="172"/>
                        <a:pt x="88" y="172"/>
                      </a:cubicBezTo>
                      <a:cubicBezTo>
                        <a:pt x="89" y="154"/>
                        <a:pt x="89" y="154"/>
                        <a:pt x="89" y="154"/>
                      </a:cubicBezTo>
                      <a:cubicBezTo>
                        <a:pt x="89" y="154"/>
                        <a:pt x="71" y="149"/>
                        <a:pt x="65" y="139"/>
                      </a:cubicBezTo>
                      <a:cubicBezTo>
                        <a:pt x="59" y="129"/>
                        <a:pt x="75" y="111"/>
                        <a:pt x="82" y="102"/>
                      </a:cubicBezTo>
                      <a:cubicBezTo>
                        <a:pt x="89" y="93"/>
                        <a:pt x="88" y="77"/>
                        <a:pt x="88" y="65"/>
                      </a:cubicBezTo>
                      <a:cubicBezTo>
                        <a:pt x="88" y="53"/>
                        <a:pt x="77" y="38"/>
                        <a:pt x="77" y="38"/>
                      </a:cubicBezTo>
                      <a:cubicBezTo>
                        <a:pt x="77" y="38"/>
                        <a:pt x="76" y="53"/>
                        <a:pt x="65" y="56"/>
                      </a:cubicBezTo>
                      <a:cubicBezTo>
                        <a:pt x="54" y="60"/>
                        <a:pt x="45" y="64"/>
                        <a:pt x="38" y="77"/>
                      </a:cubicBezTo>
                      <a:cubicBezTo>
                        <a:pt x="30" y="90"/>
                        <a:pt x="30" y="110"/>
                        <a:pt x="30" y="110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24" y="133"/>
                        <a:pt x="24" y="133"/>
                        <a:pt x="24" y="133"/>
                      </a:cubicBezTo>
                      <a:cubicBezTo>
                        <a:pt x="24" y="133"/>
                        <a:pt x="0" y="154"/>
                        <a:pt x="5" y="162"/>
                      </a:cubicBezTo>
                      <a:cubicBezTo>
                        <a:pt x="10" y="171"/>
                        <a:pt x="14" y="157"/>
                        <a:pt x="21" y="157"/>
                      </a:cubicBezTo>
                      <a:cubicBezTo>
                        <a:pt x="28" y="157"/>
                        <a:pt x="35" y="171"/>
                        <a:pt x="35" y="180"/>
                      </a:cubicBezTo>
                      <a:cubicBezTo>
                        <a:pt x="35" y="189"/>
                        <a:pt x="36" y="195"/>
                        <a:pt x="36" y="195"/>
                      </a:cubicBezTo>
                      <a:cubicBezTo>
                        <a:pt x="36" y="195"/>
                        <a:pt x="52" y="204"/>
                        <a:pt x="50" y="216"/>
                      </a:cubicBezTo>
                      <a:cubicBezTo>
                        <a:pt x="48" y="229"/>
                        <a:pt x="42" y="232"/>
                        <a:pt x="42" y="232"/>
                      </a:cubicBezTo>
                      <a:cubicBezTo>
                        <a:pt x="41" y="259"/>
                        <a:pt x="41" y="259"/>
                        <a:pt x="41" y="259"/>
                      </a:cubicBezTo>
                      <a:cubicBezTo>
                        <a:pt x="51" y="259"/>
                        <a:pt x="51" y="259"/>
                        <a:pt x="51" y="259"/>
                      </a:cubicBezTo>
                      <a:cubicBezTo>
                        <a:pt x="51" y="259"/>
                        <a:pt x="50" y="277"/>
                        <a:pt x="59" y="280"/>
                      </a:cubicBezTo>
                      <a:cubicBezTo>
                        <a:pt x="68" y="283"/>
                        <a:pt x="79" y="278"/>
                        <a:pt x="83" y="278"/>
                      </a:cubicBezTo>
                      <a:cubicBezTo>
                        <a:pt x="88" y="278"/>
                        <a:pt x="106" y="285"/>
                        <a:pt x="111" y="284"/>
                      </a:cubicBezTo>
                      <a:cubicBezTo>
                        <a:pt x="116" y="283"/>
                        <a:pt x="117" y="277"/>
                        <a:pt x="122" y="277"/>
                      </a:cubicBezTo>
                      <a:cubicBezTo>
                        <a:pt x="127" y="277"/>
                        <a:pt x="136" y="284"/>
                        <a:pt x="136" y="284"/>
                      </a:cubicBezTo>
                      <a:cubicBezTo>
                        <a:pt x="154" y="285"/>
                        <a:pt x="154" y="285"/>
                        <a:pt x="154" y="285"/>
                      </a:cubicBezTo>
                      <a:cubicBezTo>
                        <a:pt x="154" y="285"/>
                        <a:pt x="173" y="327"/>
                        <a:pt x="181" y="330"/>
                      </a:cubicBezTo>
                      <a:cubicBezTo>
                        <a:pt x="189" y="332"/>
                        <a:pt x="197" y="329"/>
                        <a:pt x="197" y="329"/>
                      </a:cubicBezTo>
                      <a:cubicBezTo>
                        <a:pt x="197" y="329"/>
                        <a:pt x="195" y="322"/>
                        <a:pt x="203" y="322"/>
                      </a:cubicBezTo>
                      <a:cubicBezTo>
                        <a:pt x="211" y="322"/>
                        <a:pt x="213" y="329"/>
                        <a:pt x="221" y="330"/>
                      </a:cubicBezTo>
                      <a:cubicBezTo>
                        <a:pt x="229" y="331"/>
                        <a:pt x="232" y="324"/>
                        <a:pt x="232" y="324"/>
                      </a:cubicBezTo>
                      <a:cubicBezTo>
                        <a:pt x="251" y="326"/>
                        <a:pt x="251" y="326"/>
                        <a:pt x="251" y="326"/>
                      </a:cubicBezTo>
                      <a:cubicBezTo>
                        <a:pt x="251" y="326"/>
                        <a:pt x="270" y="311"/>
                        <a:pt x="276" y="323"/>
                      </a:cubicBezTo>
                      <a:cubicBezTo>
                        <a:pt x="282" y="336"/>
                        <a:pt x="265" y="344"/>
                        <a:pt x="265" y="344"/>
                      </a:cubicBezTo>
                      <a:cubicBezTo>
                        <a:pt x="265" y="344"/>
                        <a:pt x="266" y="359"/>
                        <a:pt x="263" y="362"/>
                      </a:cubicBezTo>
                      <a:cubicBezTo>
                        <a:pt x="260" y="365"/>
                        <a:pt x="250" y="370"/>
                        <a:pt x="251" y="375"/>
                      </a:cubicBezTo>
                      <a:cubicBezTo>
                        <a:pt x="252" y="380"/>
                        <a:pt x="254" y="398"/>
                        <a:pt x="254" y="404"/>
                      </a:cubicBezTo>
                      <a:cubicBezTo>
                        <a:pt x="254" y="410"/>
                        <a:pt x="252" y="433"/>
                        <a:pt x="252" y="433"/>
                      </a:cubicBezTo>
                      <a:cubicBezTo>
                        <a:pt x="252" y="433"/>
                        <a:pt x="261" y="437"/>
                        <a:pt x="261" y="440"/>
                      </a:cubicBezTo>
                      <a:cubicBezTo>
                        <a:pt x="261" y="443"/>
                        <a:pt x="262" y="452"/>
                        <a:pt x="262" y="452"/>
                      </a:cubicBezTo>
                      <a:cubicBezTo>
                        <a:pt x="262" y="452"/>
                        <a:pt x="278" y="466"/>
                        <a:pt x="278" y="476"/>
                      </a:cubicBezTo>
                      <a:cubicBezTo>
                        <a:pt x="278" y="486"/>
                        <a:pt x="249" y="504"/>
                        <a:pt x="249" y="504"/>
                      </a:cubicBezTo>
                      <a:cubicBezTo>
                        <a:pt x="259" y="507"/>
                        <a:pt x="259" y="507"/>
                        <a:pt x="259" y="507"/>
                      </a:cubicBezTo>
                      <a:cubicBezTo>
                        <a:pt x="259" y="507"/>
                        <a:pt x="281" y="521"/>
                        <a:pt x="281" y="525"/>
                      </a:cubicBezTo>
                      <a:cubicBezTo>
                        <a:pt x="281" y="529"/>
                        <a:pt x="284" y="549"/>
                        <a:pt x="284" y="549"/>
                      </a:cubicBezTo>
                      <a:cubicBezTo>
                        <a:pt x="284" y="549"/>
                        <a:pt x="295" y="575"/>
                        <a:pt x="294" y="580"/>
                      </a:cubicBezTo>
                      <a:cubicBezTo>
                        <a:pt x="293" y="585"/>
                        <a:pt x="299" y="594"/>
                        <a:pt x="299" y="594"/>
                      </a:cubicBezTo>
                      <a:cubicBezTo>
                        <a:pt x="299" y="594"/>
                        <a:pt x="306" y="607"/>
                        <a:pt x="310" y="612"/>
                      </a:cubicBezTo>
                      <a:cubicBezTo>
                        <a:pt x="314" y="617"/>
                        <a:pt x="326" y="619"/>
                        <a:pt x="326" y="619"/>
                      </a:cubicBezTo>
                      <a:cubicBezTo>
                        <a:pt x="336" y="625"/>
                        <a:pt x="347" y="603"/>
                        <a:pt x="356" y="605"/>
                      </a:cubicBezTo>
                      <a:cubicBezTo>
                        <a:pt x="365" y="607"/>
                        <a:pt x="354" y="624"/>
                        <a:pt x="362" y="624"/>
                      </a:cubicBezTo>
                      <a:cubicBezTo>
                        <a:pt x="370" y="624"/>
                        <a:pt x="376" y="599"/>
                        <a:pt x="382" y="595"/>
                      </a:cubicBezTo>
                      <a:cubicBezTo>
                        <a:pt x="388" y="591"/>
                        <a:pt x="400" y="593"/>
                        <a:pt x="400" y="593"/>
                      </a:cubicBezTo>
                      <a:cubicBezTo>
                        <a:pt x="402" y="587"/>
                        <a:pt x="402" y="587"/>
                        <a:pt x="402" y="587"/>
                      </a:cubicBezTo>
                      <a:cubicBezTo>
                        <a:pt x="402" y="587"/>
                        <a:pt x="407" y="583"/>
                        <a:pt x="420" y="579"/>
                      </a:cubicBezTo>
                      <a:cubicBezTo>
                        <a:pt x="433" y="575"/>
                        <a:pt x="432" y="550"/>
                        <a:pt x="432" y="550"/>
                      </a:cubicBezTo>
                      <a:cubicBezTo>
                        <a:pt x="432" y="550"/>
                        <a:pt x="445" y="553"/>
                        <a:pt x="457" y="547"/>
                      </a:cubicBezTo>
                      <a:cubicBezTo>
                        <a:pt x="469" y="541"/>
                        <a:pt x="462" y="527"/>
                        <a:pt x="462" y="527"/>
                      </a:cubicBezTo>
                      <a:cubicBezTo>
                        <a:pt x="432" y="524"/>
                        <a:pt x="432" y="524"/>
                        <a:pt x="432" y="524"/>
                      </a:cubicBezTo>
                      <a:cubicBezTo>
                        <a:pt x="432" y="524"/>
                        <a:pt x="432" y="515"/>
                        <a:pt x="432" y="508"/>
                      </a:cubicBezTo>
                      <a:cubicBezTo>
                        <a:pt x="432" y="501"/>
                        <a:pt x="419" y="490"/>
                        <a:pt x="419" y="490"/>
                      </a:cubicBezTo>
                      <a:cubicBezTo>
                        <a:pt x="419" y="490"/>
                        <a:pt x="434" y="466"/>
                        <a:pt x="412" y="455"/>
                      </a:cubicBezTo>
                      <a:cubicBezTo>
                        <a:pt x="390" y="444"/>
                        <a:pt x="400" y="425"/>
                        <a:pt x="400" y="425"/>
                      </a:cubicBezTo>
                      <a:cubicBezTo>
                        <a:pt x="400" y="425"/>
                        <a:pt x="403" y="431"/>
                        <a:pt x="406" y="434"/>
                      </a:cubicBezTo>
                      <a:cubicBezTo>
                        <a:pt x="409" y="437"/>
                        <a:pt x="418" y="429"/>
                        <a:pt x="429" y="433"/>
                      </a:cubicBezTo>
                      <a:cubicBezTo>
                        <a:pt x="440" y="437"/>
                        <a:pt x="434" y="446"/>
                        <a:pt x="436" y="449"/>
                      </a:cubicBezTo>
                      <a:cubicBezTo>
                        <a:pt x="438" y="452"/>
                        <a:pt x="450" y="444"/>
                        <a:pt x="450" y="444"/>
                      </a:cubicBezTo>
                      <a:cubicBezTo>
                        <a:pt x="460" y="450"/>
                        <a:pt x="460" y="450"/>
                        <a:pt x="460" y="450"/>
                      </a:cubicBezTo>
                      <a:cubicBezTo>
                        <a:pt x="460" y="450"/>
                        <a:pt x="465" y="442"/>
                        <a:pt x="469" y="446"/>
                      </a:cubicBezTo>
                      <a:cubicBezTo>
                        <a:pt x="473" y="450"/>
                        <a:pt x="484" y="469"/>
                        <a:pt x="493" y="469"/>
                      </a:cubicBezTo>
                      <a:cubicBezTo>
                        <a:pt x="502" y="469"/>
                        <a:pt x="499" y="435"/>
                        <a:pt x="507" y="432"/>
                      </a:cubicBezTo>
                      <a:cubicBezTo>
                        <a:pt x="515" y="429"/>
                        <a:pt x="521" y="437"/>
                        <a:pt x="528" y="437"/>
                      </a:cubicBezTo>
                      <a:cubicBezTo>
                        <a:pt x="535" y="437"/>
                        <a:pt x="549" y="430"/>
                        <a:pt x="551" y="424"/>
                      </a:cubicBezTo>
                      <a:cubicBezTo>
                        <a:pt x="553" y="418"/>
                        <a:pt x="565" y="413"/>
                        <a:pt x="565" y="413"/>
                      </a:cubicBezTo>
                      <a:cubicBezTo>
                        <a:pt x="583" y="414"/>
                        <a:pt x="583" y="414"/>
                        <a:pt x="583" y="414"/>
                      </a:cubicBezTo>
                      <a:cubicBezTo>
                        <a:pt x="581" y="404"/>
                        <a:pt x="581" y="404"/>
                        <a:pt x="581" y="404"/>
                      </a:cubicBezTo>
                      <a:cubicBezTo>
                        <a:pt x="581" y="404"/>
                        <a:pt x="592" y="406"/>
                        <a:pt x="596" y="399"/>
                      </a:cubicBezTo>
                      <a:cubicBezTo>
                        <a:pt x="600" y="392"/>
                        <a:pt x="594" y="378"/>
                        <a:pt x="594" y="378"/>
                      </a:cubicBezTo>
                      <a:cubicBezTo>
                        <a:pt x="594" y="378"/>
                        <a:pt x="567" y="351"/>
                        <a:pt x="563" y="340"/>
                      </a:cubicBezTo>
                      <a:cubicBezTo>
                        <a:pt x="559" y="329"/>
                        <a:pt x="572" y="330"/>
                        <a:pt x="581" y="322"/>
                      </a:cubicBezTo>
                      <a:cubicBezTo>
                        <a:pt x="590" y="315"/>
                        <a:pt x="570" y="304"/>
                        <a:pt x="570" y="299"/>
                      </a:cubicBezTo>
                      <a:cubicBezTo>
                        <a:pt x="570" y="294"/>
                        <a:pt x="595" y="295"/>
                        <a:pt x="606" y="291"/>
                      </a:cubicBezTo>
                      <a:cubicBezTo>
                        <a:pt x="617" y="287"/>
                        <a:pt x="616" y="277"/>
                        <a:pt x="616" y="273"/>
                      </a:cubicBezTo>
                      <a:cubicBezTo>
                        <a:pt x="616" y="270"/>
                        <a:pt x="609" y="270"/>
                        <a:pt x="605" y="270"/>
                      </a:cubicBezTo>
                      <a:cubicBezTo>
                        <a:pt x="601" y="270"/>
                        <a:pt x="603" y="259"/>
                        <a:pt x="601" y="250"/>
                      </a:cubicBezTo>
                      <a:cubicBezTo>
                        <a:pt x="599" y="241"/>
                        <a:pt x="615" y="236"/>
                        <a:pt x="621" y="234"/>
                      </a:cubicBezTo>
                      <a:cubicBezTo>
                        <a:pt x="628" y="232"/>
                        <a:pt x="635" y="218"/>
                        <a:pt x="635" y="218"/>
                      </a:cubicBezTo>
                      <a:cubicBezTo>
                        <a:pt x="642" y="206"/>
                        <a:pt x="642" y="206"/>
                        <a:pt x="642" y="206"/>
                      </a:cubicBezTo>
                      <a:cubicBezTo>
                        <a:pt x="642" y="206"/>
                        <a:pt x="634" y="196"/>
                        <a:pt x="630" y="190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0" name="Uruguay">
                  <a:extLst>
                    <a:ext uri="{FF2B5EF4-FFF2-40B4-BE49-F238E27FC236}">
                      <a16:creationId xmlns:a16="http://schemas.microsoft.com/office/drawing/2014/main" id="{0E96E35C-6E94-57D6-3D70-0B6F84CDAC3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149103" y="4988014"/>
                  <a:ext cx="136549" cy="144396"/>
                </a:xfrm>
                <a:custGeom>
                  <a:avLst/>
                  <a:gdLst>
                    <a:gd name="T0" fmla="*/ 92 w 246"/>
                    <a:gd name="T1" fmla="*/ 249 h 258"/>
                    <a:gd name="T2" fmla="*/ 152 w 246"/>
                    <a:gd name="T3" fmla="*/ 253 h 258"/>
                    <a:gd name="T4" fmla="*/ 220 w 246"/>
                    <a:gd name="T5" fmla="*/ 244 h 258"/>
                    <a:gd name="T6" fmla="*/ 243 w 246"/>
                    <a:gd name="T7" fmla="*/ 196 h 258"/>
                    <a:gd name="T8" fmla="*/ 233 w 246"/>
                    <a:gd name="T9" fmla="*/ 197 h 258"/>
                    <a:gd name="T10" fmla="*/ 234 w 246"/>
                    <a:gd name="T11" fmla="*/ 176 h 258"/>
                    <a:gd name="T12" fmla="*/ 227 w 246"/>
                    <a:gd name="T13" fmla="*/ 169 h 258"/>
                    <a:gd name="T14" fmla="*/ 241 w 246"/>
                    <a:gd name="T15" fmla="*/ 140 h 258"/>
                    <a:gd name="T16" fmla="*/ 219 w 246"/>
                    <a:gd name="T17" fmla="*/ 127 h 258"/>
                    <a:gd name="T18" fmla="*/ 201 w 246"/>
                    <a:gd name="T19" fmla="*/ 98 h 258"/>
                    <a:gd name="T20" fmla="*/ 182 w 246"/>
                    <a:gd name="T21" fmla="*/ 95 h 258"/>
                    <a:gd name="T22" fmla="*/ 164 w 246"/>
                    <a:gd name="T23" fmla="*/ 76 h 258"/>
                    <a:gd name="T24" fmla="*/ 152 w 246"/>
                    <a:gd name="T25" fmla="*/ 67 h 258"/>
                    <a:gd name="T26" fmla="*/ 140 w 246"/>
                    <a:gd name="T27" fmla="*/ 65 h 258"/>
                    <a:gd name="T28" fmla="*/ 116 w 246"/>
                    <a:gd name="T29" fmla="*/ 43 h 258"/>
                    <a:gd name="T30" fmla="*/ 101 w 246"/>
                    <a:gd name="T31" fmla="*/ 54 h 258"/>
                    <a:gd name="T32" fmla="*/ 85 w 246"/>
                    <a:gd name="T33" fmla="*/ 31 h 258"/>
                    <a:gd name="T34" fmla="*/ 48 w 246"/>
                    <a:gd name="T35" fmla="*/ 2 h 258"/>
                    <a:gd name="T36" fmla="*/ 30 w 246"/>
                    <a:gd name="T37" fmla="*/ 10 h 258"/>
                    <a:gd name="T38" fmla="*/ 14 w 246"/>
                    <a:gd name="T39" fmla="*/ 9 h 258"/>
                    <a:gd name="T40" fmla="*/ 0 w 246"/>
                    <a:gd name="T41" fmla="*/ 24 h 258"/>
                    <a:gd name="T42" fmla="*/ 21 w 246"/>
                    <a:gd name="T43" fmla="*/ 41 h 258"/>
                    <a:gd name="T44" fmla="*/ 3 w 246"/>
                    <a:gd name="T45" fmla="*/ 48 h 258"/>
                    <a:gd name="T46" fmla="*/ 3 w 246"/>
                    <a:gd name="T47" fmla="*/ 75 h 258"/>
                    <a:gd name="T48" fmla="*/ 20 w 246"/>
                    <a:gd name="T49" fmla="*/ 85 h 258"/>
                    <a:gd name="T50" fmla="*/ 2 w 246"/>
                    <a:gd name="T51" fmla="*/ 93 h 258"/>
                    <a:gd name="T52" fmla="*/ 16 w 246"/>
                    <a:gd name="T53" fmla="*/ 114 h 258"/>
                    <a:gd name="T54" fmla="*/ 9 w 246"/>
                    <a:gd name="T55" fmla="*/ 124 h 258"/>
                    <a:gd name="T56" fmla="*/ 28 w 246"/>
                    <a:gd name="T57" fmla="*/ 152 h 258"/>
                    <a:gd name="T58" fmla="*/ 4 w 246"/>
                    <a:gd name="T59" fmla="*/ 158 h 258"/>
                    <a:gd name="T60" fmla="*/ 4 w 246"/>
                    <a:gd name="T61" fmla="*/ 190 h 258"/>
                    <a:gd name="T62" fmla="*/ 24 w 246"/>
                    <a:gd name="T63" fmla="*/ 215 h 258"/>
                    <a:gd name="T64" fmla="*/ 51 w 246"/>
                    <a:gd name="T65" fmla="*/ 234 h 258"/>
                    <a:gd name="T66" fmla="*/ 58 w 246"/>
                    <a:gd name="T67" fmla="*/ 238 h 258"/>
                    <a:gd name="T68" fmla="*/ 85 w 246"/>
                    <a:gd name="T69" fmla="*/ 238 h 258"/>
                    <a:gd name="T70" fmla="*/ 92 w 246"/>
                    <a:gd name="T71" fmla="*/ 249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46" h="258">
                      <a:moveTo>
                        <a:pt x="92" y="249"/>
                      </a:moveTo>
                      <a:cubicBezTo>
                        <a:pt x="92" y="249"/>
                        <a:pt x="119" y="248"/>
                        <a:pt x="152" y="253"/>
                      </a:cubicBezTo>
                      <a:cubicBezTo>
                        <a:pt x="185" y="258"/>
                        <a:pt x="204" y="257"/>
                        <a:pt x="220" y="244"/>
                      </a:cubicBezTo>
                      <a:cubicBezTo>
                        <a:pt x="234" y="233"/>
                        <a:pt x="241" y="203"/>
                        <a:pt x="243" y="196"/>
                      </a:cubicBezTo>
                      <a:cubicBezTo>
                        <a:pt x="233" y="197"/>
                        <a:pt x="233" y="197"/>
                        <a:pt x="233" y="197"/>
                      </a:cubicBezTo>
                      <a:cubicBezTo>
                        <a:pt x="234" y="176"/>
                        <a:pt x="234" y="176"/>
                        <a:pt x="234" y="176"/>
                      </a:cubicBezTo>
                      <a:cubicBezTo>
                        <a:pt x="234" y="176"/>
                        <a:pt x="228" y="176"/>
                        <a:pt x="227" y="169"/>
                      </a:cubicBezTo>
                      <a:cubicBezTo>
                        <a:pt x="226" y="162"/>
                        <a:pt x="236" y="149"/>
                        <a:pt x="241" y="140"/>
                      </a:cubicBezTo>
                      <a:cubicBezTo>
                        <a:pt x="246" y="131"/>
                        <a:pt x="227" y="132"/>
                        <a:pt x="219" y="127"/>
                      </a:cubicBezTo>
                      <a:cubicBezTo>
                        <a:pt x="211" y="122"/>
                        <a:pt x="201" y="98"/>
                        <a:pt x="201" y="98"/>
                      </a:cubicBezTo>
                      <a:cubicBezTo>
                        <a:pt x="201" y="98"/>
                        <a:pt x="194" y="99"/>
                        <a:pt x="182" y="95"/>
                      </a:cubicBezTo>
                      <a:cubicBezTo>
                        <a:pt x="170" y="91"/>
                        <a:pt x="168" y="78"/>
                        <a:pt x="164" y="76"/>
                      </a:cubicBezTo>
                      <a:cubicBezTo>
                        <a:pt x="160" y="74"/>
                        <a:pt x="152" y="67"/>
                        <a:pt x="152" y="67"/>
                      </a:cubicBezTo>
                      <a:cubicBezTo>
                        <a:pt x="152" y="67"/>
                        <a:pt x="145" y="68"/>
                        <a:pt x="140" y="65"/>
                      </a:cubicBezTo>
                      <a:cubicBezTo>
                        <a:pt x="135" y="62"/>
                        <a:pt x="126" y="46"/>
                        <a:pt x="116" y="43"/>
                      </a:cubicBezTo>
                      <a:cubicBezTo>
                        <a:pt x="106" y="40"/>
                        <a:pt x="107" y="54"/>
                        <a:pt x="101" y="54"/>
                      </a:cubicBezTo>
                      <a:cubicBezTo>
                        <a:pt x="95" y="54"/>
                        <a:pt x="85" y="31"/>
                        <a:pt x="85" y="31"/>
                      </a:cubicBezTo>
                      <a:cubicBezTo>
                        <a:pt x="85" y="31"/>
                        <a:pt x="60" y="4"/>
                        <a:pt x="48" y="2"/>
                      </a:cubicBezTo>
                      <a:cubicBezTo>
                        <a:pt x="36" y="0"/>
                        <a:pt x="30" y="10"/>
                        <a:pt x="30" y="10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0" y="20"/>
                        <a:pt x="0" y="24"/>
                      </a:cubicBezTo>
                      <a:cubicBezTo>
                        <a:pt x="0" y="28"/>
                        <a:pt x="21" y="41"/>
                        <a:pt x="21" y="41"/>
                      </a:cubicBezTo>
                      <a:cubicBezTo>
                        <a:pt x="3" y="48"/>
                        <a:pt x="3" y="48"/>
                        <a:pt x="3" y="48"/>
                      </a:cubicBezTo>
                      <a:cubicBezTo>
                        <a:pt x="3" y="75"/>
                        <a:pt x="3" y="75"/>
                        <a:pt x="3" y="75"/>
                      </a:cubicBezTo>
                      <a:cubicBezTo>
                        <a:pt x="20" y="85"/>
                        <a:pt x="20" y="85"/>
                        <a:pt x="20" y="85"/>
                      </a:cubicBezTo>
                      <a:cubicBezTo>
                        <a:pt x="20" y="85"/>
                        <a:pt x="1" y="84"/>
                        <a:pt x="2" y="93"/>
                      </a:cubicBezTo>
                      <a:cubicBezTo>
                        <a:pt x="3" y="102"/>
                        <a:pt x="16" y="114"/>
                        <a:pt x="16" y="114"/>
                      </a:cubicBezTo>
                      <a:cubicBezTo>
                        <a:pt x="9" y="124"/>
                        <a:pt x="9" y="124"/>
                        <a:pt x="9" y="124"/>
                      </a:cubicBezTo>
                      <a:cubicBezTo>
                        <a:pt x="9" y="124"/>
                        <a:pt x="29" y="147"/>
                        <a:pt x="28" y="152"/>
                      </a:cubicBezTo>
                      <a:cubicBezTo>
                        <a:pt x="27" y="157"/>
                        <a:pt x="4" y="158"/>
                        <a:pt x="4" y="158"/>
                      </a:cubicBezTo>
                      <a:cubicBezTo>
                        <a:pt x="4" y="190"/>
                        <a:pt x="4" y="190"/>
                        <a:pt x="4" y="190"/>
                      </a:cubicBezTo>
                      <a:cubicBezTo>
                        <a:pt x="24" y="215"/>
                        <a:pt x="24" y="215"/>
                        <a:pt x="24" y="215"/>
                      </a:cubicBezTo>
                      <a:cubicBezTo>
                        <a:pt x="32" y="209"/>
                        <a:pt x="46" y="227"/>
                        <a:pt x="51" y="234"/>
                      </a:cubicBezTo>
                      <a:cubicBezTo>
                        <a:pt x="58" y="238"/>
                        <a:pt x="58" y="238"/>
                        <a:pt x="58" y="238"/>
                      </a:cubicBezTo>
                      <a:cubicBezTo>
                        <a:pt x="85" y="238"/>
                        <a:pt x="85" y="238"/>
                        <a:pt x="85" y="238"/>
                      </a:cubicBezTo>
                      <a:lnTo>
                        <a:pt x="92" y="249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1" name="Suriname">
                  <a:extLst>
                    <a:ext uri="{FF2B5EF4-FFF2-40B4-BE49-F238E27FC236}">
                      <a16:creationId xmlns:a16="http://schemas.microsoft.com/office/drawing/2014/main" id="{20E0834C-1922-C074-02B1-443572CED8D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71302" y="3902665"/>
                  <a:ext cx="111145" cy="126941"/>
                </a:xfrm>
                <a:custGeom>
                  <a:avLst/>
                  <a:gdLst>
                    <a:gd name="T0" fmla="*/ 43 w 199"/>
                    <a:gd name="T1" fmla="*/ 52 h 228"/>
                    <a:gd name="T2" fmla="*/ 10 w 199"/>
                    <a:gd name="T3" fmla="*/ 61 h 228"/>
                    <a:gd name="T4" fmla="*/ 11 w 199"/>
                    <a:gd name="T5" fmla="*/ 89 h 228"/>
                    <a:gd name="T6" fmla="*/ 1 w 199"/>
                    <a:gd name="T7" fmla="*/ 107 h 228"/>
                    <a:gd name="T8" fmla="*/ 12 w 199"/>
                    <a:gd name="T9" fmla="*/ 122 h 228"/>
                    <a:gd name="T10" fmla="*/ 26 w 199"/>
                    <a:gd name="T11" fmla="*/ 144 h 228"/>
                    <a:gd name="T12" fmla="*/ 40 w 199"/>
                    <a:gd name="T13" fmla="*/ 137 h 228"/>
                    <a:gd name="T14" fmla="*/ 40 w 199"/>
                    <a:gd name="T15" fmla="*/ 173 h 228"/>
                    <a:gd name="T16" fmla="*/ 65 w 199"/>
                    <a:gd name="T17" fmla="*/ 212 h 228"/>
                    <a:gd name="T18" fmla="*/ 103 w 199"/>
                    <a:gd name="T19" fmla="*/ 224 h 228"/>
                    <a:gd name="T20" fmla="*/ 95 w 199"/>
                    <a:gd name="T21" fmla="*/ 204 h 228"/>
                    <a:gd name="T22" fmla="*/ 102 w 199"/>
                    <a:gd name="T23" fmla="*/ 187 h 228"/>
                    <a:gd name="T24" fmla="*/ 107 w 199"/>
                    <a:gd name="T25" fmla="*/ 195 h 228"/>
                    <a:gd name="T26" fmla="*/ 125 w 199"/>
                    <a:gd name="T27" fmla="*/ 195 h 228"/>
                    <a:gd name="T28" fmla="*/ 142 w 199"/>
                    <a:gd name="T29" fmla="*/ 183 h 228"/>
                    <a:gd name="T30" fmla="*/ 154 w 199"/>
                    <a:gd name="T31" fmla="*/ 193 h 228"/>
                    <a:gd name="T32" fmla="*/ 167 w 199"/>
                    <a:gd name="T33" fmla="*/ 199 h 228"/>
                    <a:gd name="T34" fmla="*/ 174 w 199"/>
                    <a:gd name="T35" fmla="*/ 182 h 228"/>
                    <a:gd name="T36" fmla="*/ 186 w 199"/>
                    <a:gd name="T37" fmla="*/ 175 h 228"/>
                    <a:gd name="T38" fmla="*/ 184 w 199"/>
                    <a:gd name="T39" fmla="*/ 147 h 228"/>
                    <a:gd name="T40" fmla="*/ 195 w 199"/>
                    <a:gd name="T41" fmla="*/ 132 h 228"/>
                    <a:gd name="T42" fmla="*/ 174 w 199"/>
                    <a:gd name="T43" fmla="*/ 105 h 228"/>
                    <a:gd name="T44" fmla="*/ 173 w 199"/>
                    <a:gd name="T45" fmla="*/ 55 h 228"/>
                    <a:gd name="T46" fmla="*/ 195 w 199"/>
                    <a:gd name="T47" fmla="*/ 32 h 228"/>
                    <a:gd name="T48" fmla="*/ 199 w 199"/>
                    <a:gd name="T49" fmla="*/ 11 h 228"/>
                    <a:gd name="T50" fmla="*/ 199 w 199"/>
                    <a:gd name="T51" fmla="*/ 11 h 228"/>
                    <a:gd name="T52" fmla="*/ 197 w 199"/>
                    <a:gd name="T53" fmla="*/ 9 h 228"/>
                    <a:gd name="T54" fmla="*/ 143 w 199"/>
                    <a:gd name="T55" fmla="*/ 0 h 228"/>
                    <a:gd name="T56" fmla="*/ 139 w 199"/>
                    <a:gd name="T57" fmla="*/ 9 h 228"/>
                    <a:gd name="T58" fmla="*/ 109 w 199"/>
                    <a:gd name="T59" fmla="*/ 4 h 228"/>
                    <a:gd name="T60" fmla="*/ 108 w 199"/>
                    <a:gd name="T61" fmla="*/ 15 h 228"/>
                    <a:gd name="T62" fmla="*/ 69 w 199"/>
                    <a:gd name="T63" fmla="*/ 1 h 228"/>
                    <a:gd name="T64" fmla="*/ 50 w 199"/>
                    <a:gd name="T65" fmla="*/ 7 h 228"/>
                    <a:gd name="T66" fmla="*/ 39 w 199"/>
                    <a:gd name="T67" fmla="*/ 29 h 228"/>
                    <a:gd name="T68" fmla="*/ 43 w 199"/>
                    <a:gd name="T69" fmla="*/ 52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99" h="228">
                      <a:moveTo>
                        <a:pt x="43" y="52"/>
                      </a:moveTo>
                      <a:cubicBezTo>
                        <a:pt x="31" y="55"/>
                        <a:pt x="13" y="52"/>
                        <a:pt x="10" y="61"/>
                      </a:cubicBezTo>
                      <a:cubicBezTo>
                        <a:pt x="7" y="70"/>
                        <a:pt x="11" y="89"/>
                        <a:pt x="11" y="89"/>
                      </a:cubicBezTo>
                      <a:cubicBezTo>
                        <a:pt x="11" y="89"/>
                        <a:pt x="0" y="96"/>
                        <a:pt x="1" y="107"/>
                      </a:cubicBezTo>
                      <a:cubicBezTo>
                        <a:pt x="2" y="117"/>
                        <a:pt x="12" y="115"/>
                        <a:pt x="12" y="122"/>
                      </a:cubicBezTo>
                      <a:cubicBezTo>
                        <a:pt x="12" y="129"/>
                        <a:pt x="22" y="143"/>
                        <a:pt x="26" y="144"/>
                      </a:cubicBezTo>
                      <a:cubicBezTo>
                        <a:pt x="30" y="145"/>
                        <a:pt x="39" y="130"/>
                        <a:pt x="40" y="137"/>
                      </a:cubicBezTo>
                      <a:cubicBezTo>
                        <a:pt x="41" y="144"/>
                        <a:pt x="31" y="165"/>
                        <a:pt x="40" y="173"/>
                      </a:cubicBezTo>
                      <a:cubicBezTo>
                        <a:pt x="49" y="181"/>
                        <a:pt x="65" y="212"/>
                        <a:pt x="65" y="212"/>
                      </a:cubicBezTo>
                      <a:cubicBezTo>
                        <a:pt x="65" y="212"/>
                        <a:pt x="94" y="228"/>
                        <a:pt x="103" y="224"/>
                      </a:cubicBezTo>
                      <a:cubicBezTo>
                        <a:pt x="112" y="220"/>
                        <a:pt x="98" y="210"/>
                        <a:pt x="95" y="204"/>
                      </a:cubicBezTo>
                      <a:cubicBezTo>
                        <a:pt x="92" y="198"/>
                        <a:pt x="96" y="188"/>
                        <a:pt x="102" y="187"/>
                      </a:cubicBezTo>
                      <a:cubicBezTo>
                        <a:pt x="108" y="186"/>
                        <a:pt x="107" y="195"/>
                        <a:pt x="107" y="195"/>
                      </a:cubicBezTo>
                      <a:cubicBezTo>
                        <a:pt x="125" y="195"/>
                        <a:pt x="125" y="195"/>
                        <a:pt x="125" y="195"/>
                      </a:cubicBezTo>
                      <a:cubicBezTo>
                        <a:pt x="125" y="195"/>
                        <a:pt x="134" y="184"/>
                        <a:pt x="142" y="183"/>
                      </a:cubicBezTo>
                      <a:cubicBezTo>
                        <a:pt x="150" y="182"/>
                        <a:pt x="154" y="193"/>
                        <a:pt x="154" y="193"/>
                      </a:cubicBezTo>
                      <a:cubicBezTo>
                        <a:pt x="167" y="199"/>
                        <a:pt x="167" y="199"/>
                        <a:pt x="167" y="199"/>
                      </a:cubicBezTo>
                      <a:cubicBezTo>
                        <a:pt x="167" y="199"/>
                        <a:pt x="173" y="185"/>
                        <a:pt x="174" y="182"/>
                      </a:cubicBezTo>
                      <a:cubicBezTo>
                        <a:pt x="175" y="179"/>
                        <a:pt x="186" y="175"/>
                        <a:pt x="186" y="175"/>
                      </a:cubicBezTo>
                      <a:cubicBezTo>
                        <a:pt x="184" y="147"/>
                        <a:pt x="184" y="147"/>
                        <a:pt x="184" y="147"/>
                      </a:cubicBezTo>
                      <a:cubicBezTo>
                        <a:pt x="184" y="147"/>
                        <a:pt x="196" y="142"/>
                        <a:pt x="195" y="132"/>
                      </a:cubicBezTo>
                      <a:cubicBezTo>
                        <a:pt x="194" y="122"/>
                        <a:pt x="175" y="117"/>
                        <a:pt x="174" y="105"/>
                      </a:cubicBezTo>
                      <a:cubicBezTo>
                        <a:pt x="173" y="92"/>
                        <a:pt x="163" y="71"/>
                        <a:pt x="173" y="55"/>
                      </a:cubicBezTo>
                      <a:cubicBezTo>
                        <a:pt x="184" y="38"/>
                        <a:pt x="195" y="39"/>
                        <a:pt x="195" y="32"/>
                      </a:cubicBezTo>
                      <a:cubicBezTo>
                        <a:pt x="195" y="27"/>
                        <a:pt x="195" y="18"/>
                        <a:pt x="199" y="11"/>
                      </a:cubicBezTo>
                      <a:cubicBezTo>
                        <a:pt x="199" y="11"/>
                        <a:pt x="199" y="11"/>
                        <a:pt x="199" y="11"/>
                      </a:cubicBezTo>
                      <a:cubicBezTo>
                        <a:pt x="198" y="10"/>
                        <a:pt x="197" y="10"/>
                        <a:pt x="197" y="9"/>
                      </a:cubicBezTo>
                      <a:cubicBezTo>
                        <a:pt x="190" y="0"/>
                        <a:pt x="143" y="0"/>
                        <a:pt x="143" y="0"/>
                      </a:cubicBezTo>
                      <a:cubicBezTo>
                        <a:pt x="139" y="9"/>
                        <a:pt x="139" y="9"/>
                        <a:pt x="139" y="9"/>
                      </a:cubicBezTo>
                      <a:cubicBezTo>
                        <a:pt x="109" y="4"/>
                        <a:pt x="109" y="4"/>
                        <a:pt x="109" y="4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50" y="7"/>
                        <a:pt x="50" y="7"/>
                        <a:pt x="50" y="7"/>
                      </a:cubicBezTo>
                      <a:cubicBezTo>
                        <a:pt x="50" y="7"/>
                        <a:pt x="39" y="21"/>
                        <a:pt x="39" y="29"/>
                      </a:cubicBezTo>
                      <a:cubicBezTo>
                        <a:pt x="39" y="37"/>
                        <a:pt x="55" y="49"/>
                        <a:pt x="43" y="5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2" name="Peru">
                  <a:extLst>
                    <a:ext uri="{FF2B5EF4-FFF2-40B4-BE49-F238E27FC236}">
                      <a16:creationId xmlns:a16="http://schemas.microsoft.com/office/drawing/2014/main" id="{EC4625CF-C86F-37C6-2A74-5A249574AE7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53658" y="4080380"/>
                  <a:ext cx="352487" cy="556956"/>
                </a:xfrm>
                <a:custGeom>
                  <a:avLst/>
                  <a:gdLst>
                    <a:gd name="T0" fmla="*/ 604 w 630"/>
                    <a:gd name="T1" fmla="*/ 869 h 993"/>
                    <a:gd name="T2" fmla="*/ 575 w 630"/>
                    <a:gd name="T3" fmla="*/ 854 h 993"/>
                    <a:gd name="T4" fmla="*/ 581 w 630"/>
                    <a:gd name="T5" fmla="*/ 821 h 993"/>
                    <a:gd name="T6" fmla="*/ 607 w 630"/>
                    <a:gd name="T7" fmla="*/ 835 h 993"/>
                    <a:gd name="T8" fmla="*/ 603 w 630"/>
                    <a:gd name="T9" fmla="*/ 799 h 993"/>
                    <a:gd name="T10" fmla="*/ 605 w 630"/>
                    <a:gd name="T11" fmla="*/ 744 h 993"/>
                    <a:gd name="T12" fmla="*/ 609 w 630"/>
                    <a:gd name="T13" fmla="*/ 694 h 993"/>
                    <a:gd name="T14" fmla="*/ 597 w 630"/>
                    <a:gd name="T15" fmla="*/ 632 h 993"/>
                    <a:gd name="T16" fmla="*/ 556 w 630"/>
                    <a:gd name="T17" fmla="*/ 590 h 993"/>
                    <a:gd name="T18" fmla="*/ 533 w 630"/>
                    <a:gd name="T19" fmla="*/ 591 h 993"/>
                    <a:gd name="T20" fmla="*/ 523 w 630"/>
                    <a:gd name="T21" fmla="*/ 562 h 993"/>
                    <a:gd name="T22" fmla="*/ 525 w 630"/>
                    <a:gd name="T23" fmla="*/ 507 h 993"/>
                    <a:gd name="T24" fmla="*/ 449 w 630"/>
                    <a:gd name="T25" fmla="*/ 541 h 993"/>
                    <a:gd name="T26" fmla="*/ 399 w 630"/>
                    <a:gd name="T27" fmla="*/ 509 h 993"/>
                    <a:gd name="T28" fmla="*/ 391 w 630"/>
                    <a:gd name="T29" fmla="*/ 465 h 993"/>
                    <a:gd name="T30" fmla="*/ 371 w 630"/>
                    <a:gd name="T31" fmla="*/ 420 h 993"/>
                    <a:gd name="T32" fmla="*/ 371 w 630"/>
                    <a:gd name="T33" fmla="*/ 396 h 993"/>
                    <a:gd name="T34" fmla="*/ 368 w 630"/>
                    <a:gd name="T35" fmla="*/ 370 h 993"/>
                    <a:gd name="T36" fmla="*/ 389 w 630"/>
                    <a:gd name="T37" fmla="*/ 331 h 993"/>
                    <a:gd name="T38" fmla="*/ 403 w 630"/>
                    <a:gd name="T39" fmla="*/ 277 h 993"/>
                    <a:gd name="T40" fmla="*/ 422 w 630"/>
                    <a:gd name="T41" fmla="*/ 265 h 993"/>
                    <a:gd name="T42" fmla="*/ 471 w 630"/>
                    <a:gd name="T43" fmla="*/ 244 h 993"/>
                    <a:gd name="T44" fmla="*/ 492 w 630"/>
                    <a:gd name="T45" fmla="*/ 240 h 993"/>
                    <a:gd name="T46" fmla="*/ 527 w 630"/>
                    <a:gd name="T47" fmla="*/ 236 h 993"/>
                    <a:gd name="T48" fmla="*/ 543 w 630"/>
                    <a:gd name="T49" fmla="*/ 227 h 993"/>
                    <a:gd name="T50" fmla="*/ 526 w 630"/>
                    <a:gd name="T51" fmla="*/ 207 h 993"/>
                    <a:gd name="T52" fmla="*/ 520 w 630"/>
                    <a:gd name="T53" fmla="*/ 171 h 993"/>
                    <a:gd name="T54" fmla="*/ 505 w 630"/>
                    <a:gd name="T55" fmla="*/ 135 h 993"/>
                    <a:gd name="T56" fmla="*/ 472 w 630"/>
                    <a:gd name="T57" fmla="*/ 130 h 993"/>
                    <a:gd name="T58" fmla="*/ 434 w 630"/>
                    <a:gd name="T59" fmla="*/ 138 h 993"/>
                    <a:gd name="T60" fmla="*/ 388 w 630"/>
                    <a:gd name="T61" fmla="*/ 106 h 993"/>
                    <a:gd name="T62" fmla="*/ 364 w 630"/>
                    <a:gd name="T63" fmla="*/ 73 h 993"/>
                    <a:gd name="T64" fmla="*/ 343 w 630"/>
                    <a:gd name="T65" fmla="*/ 57 h 993"/>
                    <a:gd name="T66" fmla="*/ 327 w 630"/>
                    <a:gd name="T67" fmla="*/ 33 h 993"/>
                    <a:gd name="T68" fmla="*/ 264 w 630"/>
                    <a:gd name="T69" fmla="*/ 0 h 993"/>
                    <a:gd name="T70" fmla="*/ 278 w 630"/>
                    <a:gd name="T71" fmla="*/ 1 h 993"/>
                    <a:gd name="T72" fmla="*/ 284 w 630"/>
                    <a:gd name="T73" fmla="*/ 31 h 993"/>
                    <a:gd name="T74" fmla="*/ 277 w 630"/>
                    <a:gd name="T75" fmla="*/ 58 h 993"/>
                    <a:gd name="T76" fmla="*/ 218 w 630"/>
                    <a:gd name="T77" fmla="*/ 143 h 993"/>
                    <a:gd name="T78" fmla="*/ 147 w 630"/>
                    <a:gd name="T79" fmla="*/ 186 h 993"/>
                    <a:gd name="T80" fmla="*/ 142 w 630"/>
                    <a:gd name="T81" fmla="*/ 201 h 993"/>
                    <a:gd name="T82" fmla="*/ 128 w 630"/>
                    <a:gd name="T83" fmla="*/ 252 h 993"/>
                    <a:gd name="T84" fmla="*/ 103 w 630"/>
                    <a:gd name="T85" fmla="*/ 270 h 993"/>
                    <a:gd name="T86" fmla="*/ 69 w 630"/>
                    <a:gd name="T87" fmla="*/ 243 h 993"/>
                    <a:gd name="T88" fmla="*/ 40 w 630"/>
                    <a:gd name="T89" fmla="*/ 246 h 993"/>
                    <a:gd name="T90" fmla="*/ 37 w 630"/>
                    <a:gd name="T91" fmla="*/ 224 h 993"/>
                    <a:gd name="T92" fmla="*/ 43 w 630"/>
                    <a:gd name="T93" fmla="*/ 188 h 993"/>
                    <a:gd name="T94" fmla="*/ 0 w 630"/>
                    <a:gd name="T95" fmla="*/ 254 h 993"/>
                    <a:gd name="T96" fmla="*/ 9 w 630"/>
                    <a:gd name="T97" fmla="*/ 282 h 993"/>
                    <a:gd name="T98" fmla="*/ 8 w 630"/>
                    <a:gd name="T99" fmla="*/ 331 h 993"/>
                    <a:gd name="T100" fmla="*/ 85 w 630"/>
                    <a:gd name="T101" fmla="*/ 394 h 993"/>
                    <a:gd name="T102" fmla="*/ 126 w 630"/>
                    <a:gd name="T103" fmla="*/ 462 h 993"/>
                    <a:gd name="T104" fmla="*/ 169 w 630"/>
                    <a:gd name="T105" fmla="*/ 547 h 993"/>
                    <a:gd name="T106" fmla="*/ 214 w 630"/>
                    <a:gd name="T107" fmla="*/ 622 h 993"/>
                    <a:gd name="T108" fmla="*/ 267 w 630"/>
                    <a:gd name="T109" fmla="*/ 715 h 993"/>
                    <a:gd name="T110" fmla="*/ 304 w 630"/>
                    <a:gd name="T111" fmla="*/ 803 h 993"/>
                    <a:gd name="T112" fmla="*/ 400 w 630"/>
                    <a:gd name="T113" fmla="*/ 869 h 993"/>
                    <a:gd name="T114" fmla="*/ 516 w 630"/>
                    <a:gd name="T115" fmla="*/ 939 h 993"/>
                    <a:gd name="T116" fmla="*/ 540 w 630"/>
                    <a:gd name="T117" fmla="*/ 968 h 993"/>
                    <a:gd name="T118" fmla="*/ 574 w 630"/>
                    <a:gd name="T119" fmla="*/ 993 h 993"/>
                    <a:gd name="T120" fmla="*/ 596 w 630"/>
                    <a:gd name="T121" fmla="*/ 954 h 993"/>
                    <a:gd name="T122" fmla="*/ 601 w 630"/>
                    <a:gd name="T123" fmla="*/ 929 h 993"/>
                    <a:gd name="T124" fmla="*/ 630 w 630"/>
                    <a:gd name="T125" fmla="*/ 889 h 9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630" h="993">
                      <a:moveTo>
                        <a:pt x="622" y="880"/>
                      </a:moveTo>
                      <a:cubicBezTo>
                        <a:pt x="622" y="880"/>
                        <a:pt x="612" y="873"/>
                        <a:pt x="604" y="869"/>
                      </a:cubicBezTo>
                      <a:cubicBezTo>
                        <a:pt x="596" y="865"/>
                        <a:pt x="593" y="857"/>
                        <a:pt x="593" y="857"/>
                      </a:cubicBezTo>
                      <a:cubicBezTo>
                        <a:pt x="593" y="857"/>
                        <a:pt x="579" y="859"/>
                        <a:pt x="575" y="854"/>
                      </a:cubicBezTo>
                      <a:cubicBezTo>
                        <a:pt x="580" y="840"/>
                        <a:pt x="580" y="840"/>
                        <a:pt x="580" y="840"/>
                      </a:cubicBezTo>
                      <a:cubicBezTo>
                        <a:pt x="580" y="840"/>
                        <a:pt x="576" y="825"/>
                        <a:pt x="581" y="821"/>
                      </a:cubicBezTo>
                      <a:cubicBezTo>
                        <a:pt x="584" y="818"/>
                        <a:pt x="598" y="830"/>
                        <a:pt x="607" y="838"/>
                      </a:cubicBezTo>
                      <a:cubicBezTo>
                        <a:pt x="607" y="836"/>
                        <a:pt x="607" y="835"/>
                        <a:pt x="607" y="835"/>
                      </a:cubicBezTo>
                      <a:cubicBezTo>
                        <a:pt x="612" y="824"/>
                        <a:pt x="612" y="824"/>
                        <a:pt x="612" y="824"/>
                      </a:cubicBezTo>
                      <a:cubicBezTo>
                        <a:pt x="612" y="824"/>
                        <a:pt x="604" y="813"/>
                        <a:pt x="603" y="799"/>
                      </a:cubicBezTo>
                      <a:cubicBezTo>
                        <a:pt x="601" y="784"/>
                        <a:pt x="616" y="776"/>
                        <a:pt x="620" y="766"/>
                      </a:cubicBezTo>
                      <a:cubicBezTo>
                        <a:pt x="624" y="757"/>
                        <a:pt x="605" y="744"/>
                        <a:pt x="605" y="744"/>
                      </a:cubicBezTo>
                      <a:cubicBezTo>
                        <a:pt x="618" y="724"/>
                        <a:pt x="618" y="724"/>
                        <a:pt x="618" y="724"/>
                      </a:cubicBezTo>
                      <a:cubicBezTo>
                        <a:pt x="609" y="694"/>
                        <a:pt x="609" y="694"/>
                        <a:pt x="609" y="694"/>
                      </a:cubicBezTo>
                      <a:cubicBezTo>
                        <a:pt x="609" y="694"/>
                        <a:pt x="619" y="683"/>
                        <a:pt x="620" y="677"/>
                      </a:cubicBezTo>
                      <a:cubicBezTo>
                        <a:pt x="622" y="670"/>
                        <a:pt x="612" y="645"/>
                        <a:pt x="597" y="632"/>
                      </a:cubicBezTo>
                      <a:cubicBezTo>
                        <a:pt x="586" y="621"/>
                        <a:pt x="579" y="600"/>
                        <a:pt x="577" y="591"/>
                      </a:cubicBezTo>
                      <a:cubicBezTo>
                        <a:pt x="568" y="590"/>
                        <a:pt x="560" y="590"/>
                        <a:pt x="556" y="590"/>
                      </a:cubicBezTo>
                      <a:cubicBezTo>
                        <a:pt x="545" y="590"/>
                        <a:pt x="549" y="599"/>
                        <a:pt x="541" y="599"/>
                      </a:cubicBezTo>
                      <a:cubicBezTo>
                        <a:pt x="533" y="599"/>
                        <a:pt x="533" y="591"/>
                        <a:pt x="533" y="591"/>
                      </a:cubicBezTo>
                      <a:cubicBezTo>
                        <a:pt x="526" y="592"/>
                        <a:pt x="526" y="592"/>
                        <a:pt x="526" y="592"/>
                      </a:cubicBezTo>
                      <a:cubicBezTo>
                        <a:pt x="526" y="592"/>
                        <a:pt x="525" y="572"/>
                        <a:pt x="523" y="562"/>
                      </a:cubicBezTo>
                      <a:cubicBezTo>
                        <a:pt x="521" y="552"/>
                        <a:pt x="526" y="538"/>
                        <a:pt x="528" y="534"/>
                      </a:cubicBezTo>
                      <a:cubicBezTo>
                        <a:pt x="530" y="530"/>
                        <a:pt x="525" y="507"/>
                        <a:pt x="525" y="507"/>
                      </a:cubicBezTo>
                      <a:cubicBezTo>
                        <a:pt x="491" y="537"/>
                        <a:pt x="491" y="537"/>
                        <a:pt x="491" y="537"/>
                      </a:cubicBezTo>
                      <a:cubicBezTo>
                        <a:pt x="449" y="541"/>
                        <a:pt x="449" y="541"/>
                        <a:pt x="449" y="541"/>
                      </a:cubicBezTo>
                      <a:cubicBezTo>
                        <a:pt x="449" y="541"/>
                        <a:pt x="441" y="522"/>
                        <a:pt x="438" y="515"/>
                      </a:cubicBezTo>
                      <a:cubicBezTo>
                        <a:pt x="435" y="508"/>
                        <a:pt x="399" y="509"/>
                        <a:pt x="399" y="509"/>
                      </a:cubicBezTo>
                      <a:cubicBezTo>
                        <a:pt x="399" y="509"/>
                        <a:pt x="414" y="496"/>
                        <a:pt x="416" y="491"/>
                      </a:cubicBezTo>
                      <a:cubicBezTo>
                        <a:pt x="418" y="486"/>
                        <a:pt x="396" y="471"/>
                        <a:pt x="391" y="465"/>
                      </a:cubicBezTo>
                      <a:cubicBezTo>
                        <a:pt x="386" y="459"/>
                        <a:pt x="373" y="438"/>
                        <a:pt x="373" y="438"/>
                      </a:cubicBezTo>
                      <a:cubicBezTo>
                        <a:pt x="371" y="420"/>
                        <a:pt x="371" y="420"/>
                        <a:pt x="371" y="420"/>
                      </a:cubicBezTo>
                      <a:cubicBezTo>
                        <a:pt x="371" y="420"/>
                        <a:pt x="356" y="414"/>
                        <a:pt x="356" y="409"/>
                      </a:cubicBezTo>
                      <a:cubicBezTo>
                        <a:pt x="356" y="404"/>
                        <a:pt x="371" y="396"/>
                        <a:pt x="371" y="396"/>
                      </a:cubicBezTo>
                      <a:cubicBezTo>
                        <a:pt x="365" y="392"/>
                        <a:pt x="365" y="392"/>
                        <a:pt x="365" y="392"/>
                      </a:cubicBezTo>
                      <a:cubicBezTo>
                        <a:pt x="365" y="392"/>
                        <a:pt x="360" y="378"/>
                        <a:pt x="368" y="370"/>
                      </a:cubicBezTo>
                      <a:cubicBezTo>
                        <a:pt x="376" y="362"/>
                        <a:pt x="389" y="345"/>
                        <a:pt x="395" y="354"/>
                      </a:cubicBezTo>
                      <a:cubicBezTo>
                        <a:pt x="401" y="363"/>
                        <a:pt x="391" y="338"/>
                        <a:pt x="389" y="331"/>
                      </a:cubicBezTo>
                      <a:cubicBezTo>
                        <a:pt x="387" y="324"/>
                        <a:pt x="402" y="315"/>
                        <a:pt x="402" y="315"/>
                      </a:cubicBezTo>
                      <a:cubicBezTo>
                        <a:pt x="403" y="277"/>
                        <a:pt x="403" y="277"/>
                        <a:pt x="403" y="277"/>
                      </a:cubicBezTo>
                      <a:cubicBezTo>
                        <a:pt x="419" y="277"/>
                        <a:pt x="419" y="277"/>
                        <a:pt x="419" y="277"/>
                      </a:cubicBezTo>
                      <a:cubicBezTo>
                        <a:pt x="419" y="277"/>
                        <a:pt x="420" y="269"/>
                        <a:pt x="422" y="265"/>
                      </a:cubicBezTo>
                      <a:cubicBezTo>
                        <a:pt x="424" y="261"/>
                        <a:pt x="450" y="244"/>
                        <a:pt x="450" y="244"/>
                      </a:cubicBezTo>
                      <a:cubicBezTo>
                        <a:pt x="471" y="244"/>
                        <a:pt x="471" y="244"/>
                        <a:pt x="471" y="244"/>
                      </a:cubicBezTo>
                      <a:cubicBezTo>
                        <a:pt x="473" y="237"/>
                        <a:pt x="473" y="237"/>
                        <a:pt x="473" y="237"/>
                      </a:cubicBezTo>
                      <a:cubicBezTo>
                        <a:pt x="492" y="240"/>
                        <a:pt x="492" y="240"/>
                        <a:pt x="492" y="240"/>
                      </a:cubicBezTo>
                      <a:cubicBezTo>
                        <a:pt x="492" y="240"/>
                        <a:pt x="503" y="225"/>
                        <a:pt x="513" y="224"/>
                      </a:cubicBezTo>
                      <a:cubicBezTo>
                        <a:pt x="523" y="223"/>
                        <a:pt x="527" y="236"/>
                        <a:pt x="527" y="236"/>
                      </a:cubicBezTo>
                      <a:cubicBezTo>
                        <a:pt x="527" y="236"/>
                        <a:pt x="534" y="239"/>
                        <a:pt x="539" y="236"/>
                      </a:cubicBezTo>
                      <a:cubicBezTo>
                        <a:pt x="541" y="235"/>
                        <a:pt x="542" y="231"/>
                        <a:pt x="543" y="227"/>
                      </a:cubicBezTo>
                      <a:cubicBezTo>
                        <a:pt x="532" y="223"/>
                        <a:pt x="532" y="223"/>
                        <a:pt x="532" y="223"/>
                      </a:cubicBezTo>
                      <a:cubicBezTo>
                        <a:pt x="526" y="207"/>
                        <a:pt x="526" y="207"/>
                        <a:pt x="526" y="207"/>
                      </a:cubicBezTo>
                      <a:cubicBezTo>
                        <a:pt x="526" y="207"/>
                        <a:pt x="512" y="212"/>
                        <a:pt x="509" y="206"/>
                      </a:cubicBezTo>
                      <a:cubicBezTo>
                        <a:pt x="506" y="201"/>
                        <a:pt x="515" y="171"/>
                        <a:pt x="520" y="171"/>
                      </a:cubicBezTo>
                      <a:cubicBezTo>
                        <a:pt x="525" y="171"/>
                        <a:pt x="533" y="163"/>
                        <a:pt x="533" y="148"/>
                      </a:cubicBezTo>
                      <a:cubicBezTo>
                        <a:pt x="533" y="134"/>
                        <a:pt x="505" y="135"/>
                        <a:pt x="505" y="135"/>
                      </a:cubicBezTo>
                      <a:cubicBezTo>
                        <a:pt x="505" y="135"/>
                        <a:pt x="497" y="123"/>
                        <a:pt x="493" y="122"/>
                      </a:cubicBezTo>
                      <a:cubicBezTo>
                        <a:pt x="489" y="121"/>
                        <a:pt x="481" y="130"/>
                        <a:pt x="472" y="130"/>
                      </a:cubicBezTo>
                      <a:cubicBezTo>
                        <a:pt x="464" y="130"/>
                        <a:pt x="463" y="123"/>
                        <a:pt x="449" y="120"/>
                      </a:cubicBezTo>
                      <a:cubicBezTo>
                        <a:pt x="435" y="117"/>
                        <a:pt x="434" y="138"/>
                        <a:pt x="434" y="138"/>
                      </a:cubicBezTo>
                      <a:cubicBezTo>
                        <a:pt x="434" y="138"/>
                        <a:pt x="412" y="138"/>
                        <a:pt x="393" y="133"/>
                      </a:cubicBezTo>
                      <a:cubicBezTo>
                        <a:pt x="374" y="128"/>
                        <a:pt x="389" y="113"/>
                        <a:pt x="388" y="106"/>
                      </a:cubicBezTo>
                      <a:cubicBezTo>
                        <a:pt x="387" y="98"/>
                        <a:pt x="369" y="97"/>
                        <a:pt x="369" y="97"/>
                      </a:cubicBezTo>
                      <a:cubicBezTo>
                        <a:pt x="369" y="97"/>
                        <a:pt x="367" y="79"/>
                        <a:pt x="364" y="73"/>
                      </a:cubicBezTo>
                      <a:cubicBezTo>
                        <a:pt x="362" y="67"/>
                        <a:pt x="354" y="70"/>
                        <a:pt x="354" y="70"/>
                      </a:cubicBezTo>
                      <a:cubicBezTo>
                        <a:pt x="343" y="57"/>
                        <a:pt x="343" y="57"/>
                        <a:pt x="343" y="57"/>
                      </a:cubicBezTo>
                      <a:cubicBezTo>
                        <a:pt x="335" y="57"/>
                        <a:pt x="335" y="57"/>
                        <a:pt x="335" y="57"/>
                      </a:cubicBezTo>
                      <a:cubicBezTo>
                        <a:pt x="327" y="33"/>
                        <a:pt x="327" y="33"/>
                        <a:pt x="327" y="33"/>
                      </a:cubicBezTo>
                      <a:cubicBezTo>
                        <a:pt x="327" y="33"/>
                        <a:pt x="297" y="9"/>
                        <a:pt x="290" y="5"/>
                      </a:cubicBezTo>
                      <a:cubicBezTo>
                        <a:pt x="284" y="1"/>
                        <a:pt x="274" y="1"/>
                        <a:pt x="264" y="0"/>
                      </a:cubicBezTo>
                      <a:cubicBezTo>
                        <a:pt x="264" y="0"/>
                        <a:pt x="264" y="0"/>
                        <a:pt x="264" y="0"/>
                      </a:cubicBezTo>
                      <a:cubicBezTo>
                        <a:pt x="269" y="0"/>
                        <a:pt x="273" y="1"/>
                        <a:pt x="278" y="1"/>
                      </a:cubicBezTo>
                      <a:cubicBezTo>
                        <a:pt x="279" y="19"/>
                        <a:pt x="268" y="19"/>
                        <a:pt x="268" y="19"/>
                      </a:cubicBezTo>
                      <a:cubicBezTo>
                        <a:pt x="284" y="31"/>
                        <a:pt x="284" y="31"/>
                        <a:pt x="284" y="31"/>
                      </a:cubicBezTo>
                      <a:cubicBezTo>
                        <a:pt x="287" y="53"/>
                        <a:pt x="287" y="53"/>
                        <a:pt x="287" y="53"/>
                      </a:cubicBezTo>
                      <a:cubicBezTo>
                        <a:pt x="277" y="58"/>
                        <a:pt x="277" y="58"/>
                        <a:pt x="277" y="58"/>
                      </a:cubicBezTo>
                      <a:cubicBezTo>
                        <a:pt x="269" y="87"/>
                        <a:pt x="269" y="87"/>
                        <a:pt x="269" y="87"/>
                      </a:cubicBezTo>
                      <a:cubicBezTo>
                        <a:pt x="269" y="87"/>
                        <a:pt x="241" y="128"/>
                        <a:pt x="218" y="143"/>
                      </a:cubicBezTo>
                      <a:cubicBezTo>
                        <a:pt x="195" y="157"/>
                        <a:pt x="174" y="157"/>
                        <a:pt x="161" y="168"/>
                      </a:cubicBezTo>
                      <a:cubicBezTo>
                        <a:pt x="147" y="179"/>
                        <a:pt x="147" y="186"/>
                        <a:pt x="147" y="186"/>
                      </a:cubicBezTo>
                      <a:cubicBezTo>
                        <a:pt x="139" y="189"/>
                        <a:pt x="139" y="189"/>
                        <a:pt x="139" y="189"/>
                      </a:cubicBezTo>
                      <a:cubicBezTo>
                        <a:pt x="142" y="201"/>
                        <a:pt x="142" y="201"/>
                        <a:pt x="142" y="201"/>
                      </a:cubicBezTo>
                      <a:cubicBezTo>
                        <a:pt x="142" y="201"/>
                        <a:pt x="134" y="206"/>
                        <a:pt x="132" y="216"/>
                      </a:cubicBezTo>
                      <a:cubicBezTo>
                        <a:pt x="131" y="225"/>
                        <a:pt x="128" y="252"/>
                        <a:pt x="128" y="252"/>
                      </a:cubicBezTo>
                      <a:cubicBezTo>
                        <a:pt x="128" y="252"/>
                        <a:pt x="119" y="254"/>
                        <a:pt x="115" y="256"/>
                      </a:cubicBezTo>
                      <a:cubicBezTo>
                        <a:pt x="111" y="259"/>
                        <a:pt x="116" y="270"/>
                        <a:pt x="103" y="270"/>
                      </a:cubicBezTo>
                      <a:cubicBezTo>
                        <a:pt x="89" y="270"/>
                        <a:pt x="93" y="246"/>
                        <a:pt x="88" y="241"/>
                      </a:cubicBezTo>
                      <a:cubicBezTo>
                        <a:pt x="82" y="237"/>
                        <a:pt x="69" y="243"/>
                        <a:pt x="69" y="243"/>
                      </a:cubicBezTo>
                      <a:cubicBezTo>
                        <a:pt x="60" y="232"/>
                        <a:pt x="60" y="232"/>
                        <a:pt x="60" y="232"/>
                      </a:cubicBezTo>
                      <a:cubicBezTo>
                        <a:pt x="60" y="232"/>
                        <a:pt x="50" y="250"/>
                        <a:pt x="40" y="246"/>
                      </a:cubicBezTo>
                      <a:cubicBezTo>
                        <a:pt x="31" y="241"/>
                        <a:pt x="47" y="232"/>
                        <a:pt x="47" y="232"/>
                      </a:cubicBezTo>
                      <a:cubicBezTo>
                        <a:pt x="37" y="224"/>
                        <a:pt x="37" y="224"/>
                        <a:pt x="37" y="224"/>
                      </a:cubicBezTo>
                      <a:cubicBezTo>
                        <a:pt x="37" y="224"/>
                        <a:pt x="50" y="212"/>
                        <a:pt x="58" y="203"/>
                      </a:cubicBezTo>
                      <a:cubicBezTo>
                        <a:pt x="67" y="194"/>
                        <a:pt x="43" y="188"/>
                        <a:pt x="43" y="188"/>
                      </a:cubicBezTo>
                      <a:cubicBezTo>
                        <a:pt x="43" y="188"/>
                        <a:pt x="17" y="216"/>
                        <a:pt x="9" y="223"/>
                      </a:cubicBezTo>
                      <a:cubicBezTo>
                        <a:pt x="1" y="230"/>
                        <a:pt x="0" y="241"/>
                        <a:pt x="0" y="254"/>
                      </a:cubicBezTo>
                      <a:cubicBezTo>
                        <a:pt x="0" y="267"/>
                        <a:pt x="12" y="264"/>
                        <a:pt x="12" y="264"/>
                      </a:cubicBezTo>
                      <a:cubicBezTo>
                        <a:pt x="9" y="282"/>
                        <a:pt x="9" y="282"/>
                        <a:pt x="9" y="282"/>
                      </a:cubicBezTo>
                      <a:cubicBezTo>
                        <a:pt x="9" y="282"/>
                        <a:pt x="26" y="292"/>
                        <a:pt x="27" y="304"/>
                      </a:cubicBezTo>
                      <a:cubicBezTo>
                        <a:pt x="28" y="316"/>
                        <a:pt x="8" y="317"/>
                        <a:pt x="8" y="331"/>
                      </a:cubicBezTo>
                      <a:cubicBezTo>
                        <a:pt x="8" y="345"/>
                        <a:pt x="42" y="347"/>
                        <a:pt x="51" y="352"/>
                      </a:cubicBezTo>
                      <a:cubicBezTo>
                        <a:pt x="59" y="357"/>
                        <a:pt x="82" y="389"/>
                        <a:pt x="85" y="394"/>
                      </a:cubicBezTo>
                      <a:cubicBezTo>
                        <a:pt x="87" y="398"/>
                        <a:pt x="99" y="418"/>
                        <a:pt x="99" y="424"/>
                      </a:cubicBezTo>
                      <a:cubicBezTo>
                        <a:pt x="99" y="430"/>
                        <a:pt x="123" y="456"/>
                        <a:pt x="126" y="462"/>
                      </a:cubicBezTo>
                      <a:cubicBezTo>
                        <a:pt x="130" y="468"/>
                        <a:pt x="164" y="522"/>
                        <a:pt x="164" y="522"/>
                      </a:cubicBezTo>
                      <a:cubicBezTo>
                        <a:pt x="169" y="547"/>
                        <a:pt x="169" y="547"/>
                        <a:pt x="169" y="547"/>
                      </a:cubicBezTo>
                      <a:cubicBezTo>
                        <a:pt x="169" y="547"/>
                        <a:pt x="197" y="602"/>
                        <a:pt x="197" y="609"/>
                      </a:cubicBezTo>
                      <a:cubicBezTo>
                        <a:pt x="197" y="616"/>
                        <a:pt x="205" y="616"/>
                        <a:pt x="214" y="622"/>
                      </a:cubicBezTo>
                      <a:cubicBezTo>
                        <a:pt x="222" y="628"/>
                        <a:pt x="218" y="635"/>
                        <a:pt x="220" y="647"/>
                      </a:cubicBezTo>
                      <a:cubicBezTo>
                        <a:pt x="221" y="658"/>
                        <a:pt x="255" y="699"/>
                        <a:pt x="267" y="715"/>
                      </a:cubicBezTo>
                      <a:cubicBezTo>
                        <a:pt x="279" y="732"/>
                        <a:pt x="270" y="754"/>
                        <a:pt x="270" y="762"/>
                      </a:cubicBezTo>
                      <a:cubicBezTo>
                        <a:pt x="270" y="771"/>
                        <a:pt x="293" y="796"/>
                        <a:pt x="304" y="803"/>
                      </a:cubicBezTo>
                      <a:cubicBezTo>
                        <a:pt x="314" y="810"/>
                        <a:pt x="324" y="826"/>
                        <a:pt x="332" y="835"/>
                      </a:cubicBezTo>
                      <a:cubicBezTo>
                        <a:pt x="340" y="843"/>
                        <a:pt x="386" y="861"/>
                        <a:pt x="400" y="869"/>
                      </a:cubicBezTo>
                      <a:cubicBezTo>
                        <a:pt x="415" y="877"/>
                        <a:pt x="442" y="883"/>
                        <a:pt x="463" y="901"/>
                      </a:cubicBezTo>
                      <a:cubicBezTo>
                        <a:pt x="484" y="919"/>
                        <a:pt x="516" y="939"/>
                        <a:pt x="516" y="939"/>
                      </a:cubicBezTo>
                      <a:cubicBezTo>
                        <a:pt x="522" y="954"/>
                        <a:pt x="522" y="954"/>
                        <a:pt x="522" y="954"/>
                      </a:cubicBezTo>
                      <a:cubicBezTo>
                        <a:pt x="522" y="954"/>
                        <a:pt x="533" y="962"/>
                        <a:pt x="540" y="968"/>
                      </a:cubicBezTo>
                      <a:cubicBezTo>
                        <a:pt x="547" y="974"/>
                        <a:pt x="574" y="992"/>
                        <a:pt x="574" y="992"/>
                      </a:cubicBezTo>
                      <a:cubicBezTo>
                        <a:pt x="574" y="993"/>
                        <a:pt x="574" y="993"/>
                        <a:pt x="574" y="993"/>
                      </a:cubicBezTo>
                      <a:cubicBezTo>
                        <a:pt x="580" y="989"/>
                        <a:pt x="589" y="983"/>
                        <a:pt x="596" y="977"/>
                      </a:cubicBezTo>
                      <a:cubicBezTo>
                        <a:pt x="608" y="968"/>
                        <a:pt x="596" y="954"/>
                        <a:pt x="596" y="954"/>
                      </a:cubicBezTo>
                      <a:cubicBezTo>
                        <a:pt x="608" y="946"/>
                        <a:pt x="608" y="946"/>
                        <a:pt x="608" y="946"/>
                      </a:cubicBezTo>
                      <a:cubicBezTo>
                        <a:pt x="601" y="929"/>
                        <a:pt x="601" y="929"/>
                        <a:pt x="601" y="929"/>
                      </a:cubicBezTo>
                      <a:cubicBezTo>
                        <a:pt x="601" y="929"/>
                        <a:pt x="611" y="919"/>
                        <a:pt x="620" y="912"/>
                      </a:cubicBezTo>
                      <a:cubicBezTo>
                        <a:pt x="626" y="908"/>
                        <a:pt x="629" y="897"/>
                        <a:pt x="630" y="889"/>
                      </a:cubicBezTo>
                      <a:lnTo>
                        <a:pt x="622" y="88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3" name="Paraguay">
                  <a:extLst>
                    <a:ext uri="{FF2B5EF4-FFF2-40B4-BE49-F238E27FC236}">
                      <a16:creationId xmlns:a16="http://schemas.microsoft.com/office/drawing/2014/main" id="{B2879202-69BD-5F7D-59B4-887E97E771D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988738" y="4661140"/>
                  <a:ext cx="227052" cy="253882"/>
                </a:xfrm>
                <a:custGeom>
                  <a:avLst/>
                  <a:gdLst>
                    <a:gd name="T0" fmla="*/ 326 w 407"/>
                    <a:gd name="T1" fmla="*/ 441 h 452"/>
                    <a:gd name="T2" fmla="*/ 333 w 407"/>
                    <a:gd name="T3" fmla="*/ 452 h 452"/>
                    <a:gd name="T4" fmla="*/ 342 w 407"/>
                    <a:gd name="T5" fmla="*/ 435 h 452"/>
                    <a:gd name="T6" fmla="*/ 356 w 407"/>
                    <a:gd name="T7" fmla="*/ 439 h 452"/>
                    <a:gd name="T8" fmla="*/ 369 w 407"/>
                    <a:gd name="T9" fmla="*/ 415 h 452"/>
                    <a:gd name="T10" fmla="*/ 399 w 407"/>
                    <a:gd name="T11" fmla="*/ 390 h 452"/>
                    <a:gd name="T12" fmla="*/ 399 w 407"/>
                    <a:gd name="T13" fmla="*/ 344 h 452"/>
                    <a:gd name="T14" fmla="*/ 396 w 407"/>
                    <a:gd name="T15" fmla="*/ 331 h 452"/>
                    <a:gd name="T16" fmla="*/ 399 w 407"/>
                    <a:gd name="T17" fmla="*/ 311 h 452"/>
                    <a:gd name="T18" fmla="*/ 405 w 407"/>
                    <a:gd name="T19" fmla="*/ 276 h 452"/>
                    <a:gd name="T20" fmla="*/ 388 w 407"/>
                    <a:gd name="T21" fmla="*/ 244 h 452"/>
                    <a:gd name="T22" fmla="*/ 358 w 407"/>
                    <a:gd name="T23" fmla="*/ 254 h 452"/>
                    <a:gd name="T24" fmla="*/ 338 w 407"/>
                    <a:gd name="T25" fmla="*/ 211 h 452"/>
                    <a:gd name="T26" fmla="*/ 333 w 407"/>
                    <a:gd name="T27" fmla="*/ 166 h 452"/>
                    <a:gd name="T28" fmla="*/ 296 w 407"/>
                    <a:gd name="T29" fmla="*/ 161 h 452"/>
                    <a:gd name="T30" fmla="*/ 221 w 407"/>
                    <a:gd name="T31" fmla="*/ 148 h 452"/>
                    <a:gd name="T32" fmla="*/ 220 w 407"/>
                    <a:gd name="T33" fmla="*/ 94 h 452"/>
                    <a:gd name="T34" fmla="*/ 211 w 407"/>
                    <a:gd name="T35" fmla="*/ 86 h 452"/>
                    <a:gd name="T36" fmla="*/ 211 w 407"/>
                    <a:gd name="T37" fmla="*/ 66 h 452"/>
                    <a:gd name="T38" fmla="*/ 200 w 407"/>
                    <a:gd name="T39" fmla="*/ 51 h 452"/>
                    <a:gd name="T40" fmla="*/ 187 w 407"/>
                    <a:gd name="T41" fmla="*/ 28 h 452"/>
                    <a:gd name="T42" fmla="*/ 152 w 407"/>
                    <a:gd name="T43" fmla="*/ 0 h 452"/>
                    <a:gd name="T44" fmla="*/ 99 w 407"/>
                    <a:gd name="T45" fmla="*/ 9 h 452"/>
                    <a:gd name="T46" fmla="*/ 30 w 407"/>
                    <a:gd name="T47" fmla="*/ 21 h 452"/>
                    <a:gd name="T48" fmla="*/ 26 w 407"/>
                    <a:gd name="T49" fmla="*/ 40 h 452"/>
                    <a:gd name="T50" fmla="*/ 7 w 407"/>
                    <a:gd name="T51" fmla="*/ 56 h 452"/>
                    <a:gd name="T52" fmla="*/ 16 w 407"/>
                    <a:gd name="T53" fmla="*/ 89 h 452"/>
                    <a:gd name="T54" fmla="*/ 10 w 407"/>
                    <a:gd name="T55" fmla="*/ 163 h 452"/>
                    <a:gd name="T56" fmla="*/ 23 w 407"/>
                    <a:gd name="T57" fmla="*/ 175 h 452"/>
                    <a:gd name="T58" fmla="*/ 48 w 407"/>
                    <a:gd name="T59" fmla="*/ 209 h 452"/>
                    <a:gd name="T60" fmla="*/ 84 w 407"/>
                    <a:gd name="T61" fmla="*/ 231 h 452"/>
                    <a:gd name="T62" fmla="*/ 88 w 407"/>
                    <a:gd name="T63" fmla="*/ 245 h 452"/>
                    <a:gd name="T64" fmla="*/ 133 w 407"/>
                    <a:gd name="T65" fmla="*/ 261 h 452"/>
                    <a:gd name="T66" fmla="*/ 164 w 407"/>
                    <a:gd name="T67" fmla="*/ 277 h 452"/>
                    <a:gd name="T68" fmla="*/ 220 w 407"/>
                    <a:gd name="T69" fmla="*/ 306 h 452"/>
                    <a:gd name="T70" fmla="*/ 258 w 407"/>
                    <a:gd name="T71" fmla="*/ 322 h 452"/>
                    <a:gd name="T72" fmla="*/ 246 w 407"/>
                    <a:gd name="T73" fmla="*/ 347 h 452"/>
                    <a:gd name="T74" fmla="*/ 255 w 407"/>
                    <a:gd name="T75" fmla="*/ 362 h 452"/>
                    <a:gd name="T76" fmla="*/ 239 w 407"/>
                    <a:gd name="T77" fmla="*/ 369 h 452"/>
                    <a:gd name="T78" fmla="*/ 239 w 407"/>
                    <a:gd name="T79" fmla="*/ 391 h 452"/>
                    <a:gd name="T80" fmla="*/ 224 w 407"/>
                    <a:gd name="T81" fmla="*/ 425 h 452"/>
                    <a:gd name="T82" fmla="*/ 254 w 407"/>
                    <a:gd name="T83" fmla="*/ 425 h 452"/>
                    <a:gd name="T84" fmla="*/ 287 w 407"/>
                    <a:gd name="T85" fmla="*/ 439 h 452"/>
                    <a:gd name="T86" fmla="*/ 326 w 407"/>
                    <a:gd name="T87" fmla="*/ 441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07" h="452">
                      <a:moveTo>
                        <a:pt x="326" y="441"/>
                      </a:moveTo>
                      <a:cubicBezTo>
                        <a:pt x="333" y="452"/>
                        <a:pt x="333" y="452"/>
                        <a:pt x="333" y="452"/>
                      </a:cubicBezTo>
                      <a:cubicBezTo>
                        <a:pt x="333" y="452"/>
                        <a:pt x="333" y="433"/>
                        <a:pt x="342" y="435"/>
                      </a:cubicBezTo>
                      <a:cubicBezTo>
                        <a:pt x="351" y="437"/>
                        <a:pt x="352" y="446"/>
                        <a:pt x="356" y="439"/>
                      </a:cubicBezTo>
                      <a:cubicBezTo>
                        <a:pt x="360" y="432"/>
                        <a:pt x="362" y="415"/>
                        <a:pt x="369" y="415"/>
                      </a:cubicBezTo>
                      <a:cubicBezTo>
                        <a:pt x="376" y="415"/>
                        <a:pt x="397" y="401"/>
                        <a:pt x="399" y="390"/>
                      </a:cubicBezTo>
                      <a:cubicBezTo>
                        <a:pt x="401" y="379"/>
                        <a:pt x="399" y="344"/>
                        <a:pt x="399" y="344"/>
                      </a:cubicBezTo>
                      <a:cubicBezTo>
                        <a:pt x="396" y="331"/>
                        <a:pt x="396" y="331"/>
                        <a:pt x="396" y="331"/>
                      </a:cubicBezTo>
                      <a:cubicBezTo>
                        <a:pt x="396" y="331"/>
                        <a:pt x="397" y="316"/>
                        <a:pt x="399" y="311"/>
                      </a:cubicBezTo>
                      <a:cubicBezTo>
                        <a:pt x="401" y="306"/>
                        <a:pt x="403" y="296"/>
                        <a:pt x="405" y="276"/>
                      </a:cubicBezTo>
                      <a:cubicBezTo>
                        <a:pt x="407" y="256"/>
                        <a:pt x="403" y="248"/>
                        <a:pt x="388" y="244"/>
                      </a:cubicBezTo>
                      <a:cubicBezTo>
                        <a:pt x="373" y="240"/>
                        <a:pt x="369" y="256"/>
                        <a:pt x="358" y="254"/>
                      </a:cubicBezTo>
                      <a:cubicBezTo>
                        <a:pt x="347" y="252"/>
                        <a:pt x="343" y="231"/>
                        <a:pt x="338" y="211"/>
                      </a:cubicBezTo>
                      <a:cubicBezTo>
                        <a:pt x="333" y="191"/>
                        <a:pt x="337" y="174"/>
                        <a:pt x="333" y="166"/>
                      </a:cubicBezTo>
                      <a:cubicBezTo>
                        <a:pt x="329" y="158"/>
                        <a:pt x="311" y="158"/>
                        <a:pt x="296" y="161"/>
                      </a:cubicBezTo>
                      <a:cubicBezTo>
                        <a:pt x="281" y="164"/>
                        <a:pt x="237" y="157"/>
                        <a:pt x="221" y="148"/>
                      </a:cubicBezTo>
                      <a:cubicBezTo>
                        <a:pt x="205" y="139"/>
                        <a:pt x="220" y="103"/>
                        <a:pt x="220" y="94"/>
                      </a:cubicBezTo>
                      <a:cubicBezTo>
                        <a:pt x="220" y="85"/>
                        <a:pt x="215" y="90"/>
                        <a:pt x="211" y="86"/>
                      </a:cubicBezTo>
                      <a:cubicBezTo>
                        <a:pt x="207" y="82"/>
                        <a:pt x="213" y="73"/>
                        <a:pt x="211" y="66"/>
                      </a:cubicBezTo>
                      <a:cubicBezTo>
                        <a:pt x="209" y="59"/>
                        <a:pt x="200" y="57"/>
                        <a:pt x="200" y="51"/>
                      </a:cubicBezTo>
                      <a:cubicBezTo>
                        <a:pt x="187" y="28"/>
                        <a:pt x="187" y="28"/>
                        <a:pt x="187" y="28"/>
                      </a:cubicBezTo>
                      <a:cubicBezTo>
                        <a:pt x="152" y="0"/>
                        <a:pt x="152" y="0"/>
                        <a:pt x="152" y="0"/>
                      </a:cubicBezTo>
                      <a:cubicBezTo>
                        <a:pt x="99" y="9"/>
                        <a:pt x="99" y="9"/>
                        <a:pt x="99" y="9"/>
                      </a:cubicBezTo>
                      <a:cubicBezTo>
                        <a:pt x="30" y="21"/>
                        <a:pt x="30" y="21"/>
                        <a:pt x="30" y="21"/>
                      </a:cubicBezTo>
                      <a:cubicBezTo>
                        <a:pt x="26" y="40"/>
                        <a:pt x="26" y="40"/>
                        <a:pt x="26" y="40"/>
                      </a:cubicBezTo>
                      <a:cubicBezTo>
                        <a:pt x="26" y="40"/>
                        <a:pt x="14" y="52"/>
                        <a:pt x="7" y="56"/>
                      </a:cubicBezTo>
                      <a:cubicBezTo>
                        <a:pt x="0" y="60"/>
                        <a:pt x="15" y="82"/>
                        <a:pt x="16" y="89"/>
                      </a:cubicBezTo>
                      <a:cubicBezTo>
                        <a:pt x="18" y="95"/>
                        <a:pt x="10" y="163"/>
                        <a:pt x="10" y="163"/>
                      </a:cubicBezTo>
                      <a:cubicBezTo>
                        <a:pt x="23" y="175"/>
                        <a:pt x="23" y="175"/>
                        <a:pt x="23" y="175"/>
                      </a:cubicBezTo>
                      <a:cubicBezTo>
                        <a:pt x="23" y="175"/>
                        <a:pt x="39" y="204"/>
                        <a:pt x="48" y="209"/>
                      </a:cubicBezTo>
                      <a:cubicBezTo>
                        <a:pt x="57" y="214"/>
                        <a:pt x="84" y="231"/>
                        <a:pt x="84" y="231"/>
                      </a:cubicBezTo>
                      <a:cubicBezTo>
                        <a:pt x="88" y="245"/>
                        <a:pt x="88" y="245"/>
                        <a:pt x="88" y="245"/>
                      </a:cubicBezTo>
                      <a:cubicBezTo>
                        <a:pt x="88" y="245"/>
                        <a:pt x="123" y="265"/>
                        <a:pt x="133" y="261"/>
                      </a:cubicBezTo>
                      <a:cubicBezTo>
                        <a:pt x="143" y="257"/>
                        <a:pt x="164" y="277"/>
                        <a:pt x="164" y="277"/>
                      </a:cubicBezTo>
                      <a:cubicBezTo>
                        <a:pt x="164" y="277"/>
                        <a:pt x="214" y="305"/>
                        <a:pt x="220" y="306"/>
                      </a:cubicBezTo>
                      <a:cubicBezTo>
                        <a:pt x="226" y="307"/>
                        <a:pt x="260" y="314"/>
                        <a:pt x="258" y="322"/>
                      </a:cubicBezTo>
                      <a:cubicBezTo>
                        <a:pt x="256" y="330"/>
                        <a:pt x="246" y="347"/>
                        <a:pt x="246" y="347"/>
                      </a:cubicBezTo>
                      <a:cubicBezTo>
                        <a:pt x="246" y="347"/>
                        <a:pt x="259" y="355"/>
                        <a:pt x="255" y="362"/>
                      </a:cubicBezTo>
                      <a:cubicBezTo>
                        <a:pt x="251" y="369"/>
                        <a:pt x="239" y="369"/>
                        <a:pt x="239" y="369"/>
                      </a:cubicBezTo>
                      <a:cubicBezTo>
                        <a:pt x="239" y="391"/>
                        <a:pt x="239" y="391"/>
                        <a:pt x="239" y="391"/>
                      </a:cubicBezTo>
                      <a:cubicBezTo>
                        <a:pt x="239" y="391"/>
                        <a:pt x="219" y="418"/>
                        <a:pt x="224" y="425"/>
                      </a:cubicBezTo>
                      <a:cubicBezTo>
                        <a:pt x="229" y="432"/>
                        <a:pt x="245" y="422"/>
                        <a:pt x="254" y="425"/>
                      </a:cubicBezTo>
                      <a:cubicBezTo>
                        <a:pt x="263" y="428"/>
                        <a:pt x="270" y="435"/>
                        <a:pt x="287" y="439"/>
                      </a:cubicBezTo>
                      <a:cubicBezTo>
                        <a:pt x="304" y="443"/>
                        <a:pt x="326" y="441"/>
                        <a:pt x="326" y="44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4" name="Guyana">
                  <a:extLst>
                    <a:ext uri="{FF2B5EF4-FFF2-40B4-BE49-F238E27FC236}">
                      <a16:creationId xmlns:a16="http://schemas.microsoft.com/office/drawing/2014/main" id="{D35CFA29-8F12-C1F5-72E2-C52056F28DA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983974" y="3829674"/>
                  <a:ext cx="125434" cy="217388"/>
                </a:xfrm>
                <a:custGeom>
                  <a:avLst/>
                  <a:gdLst>
                    <a:gd name="T0" fmla="*/ 62 w 225"/>
                    <a:gd name="T1" fmla="*/ 28 h 388"/>
                    <a:gd name="T2" fmla="*/ 42 w 225"/>
                    <a:gd name="T3" fmla="*/ 44 h 388"/>
                    <a:gd name="T4" fmla="*/ 46 w 225"/>
                    <a:gd name="T5" fmla="*/ 64 h 388"/>
                    <a:gd name="T6" fmla="*/ 57 w 225"/>
                    <a:gd name="T7" fmla="*/ 67 h 388"/>
                    <a:gd name="T8" fmla="*/ 47 w 225"/>
                    <a:gd name="T9" fmla="*/ 85 h 388"/>
                    <a:gd name="T10" fmla="*/ 11 w 225"/>
                    <a:gd name="T11" fmla="*/ 93 h 388"/>
                    <a:gd name="T12" fmla="*/ 22 w 225"/>
                    <a:gd name="T13" fmla="*/ 116 h 388"/>
                    <a:gd name="T14" fmla="*/ 4 w 225"/>
                    <a:gd name="T15" fmla="*/ 134 h 388"/>
                    <a:gd name="T16" fmla="*/ 35 w 225"/>
                    <a:gd name="T17" fmla="*/ 172 h 388"/>
                    <a:gd name="T18" fmla="*/ 51 w 225"/>
                    <a:gd name="T19" fmla="*/ 174 h 388"/>
                    <a:gd name="T20" fmla="*/ 56 w 225"/>
                    <a:gd name="T21" fmla="*/ 167 h 388"/>
                    <a:gd name="T22" fmla="*/ 68 w 225"/>
                    <a:gd name="T23" fmla="*/ 182 h 388"/>
                    <a:gd name="T24" fmla="*/ 59 w 225"/>
                    <a:gd name="T25" fmla="*/ 208 h 388"/>
                    <a:gd name="T26" fmla="*/ 81 w 225"/>
                    <a:gd name="T27" fmla="*/ 211 h 388"/>
                    <a:gd name="T28" fmla="*/ 80 w 225"/>
                    <a:gd name="T29" fmla="*/ 230 h 388"/>
                    <a:gd name="T30" fmla="*/ 88 w 225"/>
                    <a:gd name="T31" fmla="*/ 240 h 388"/>
                    <a:gd name="T32" fmla="*/ 74 w 225"/>
                    <a:gd name="T33" fmla="*/ 258 h 388"/>
                    <a:gd name="T34" fmla="*/ 69 w 225"/>
                    <a:gd name="T35" fmla="*/ 286 h 388"/>
                    <a:gd name="T36" fmla="*/ 61 w 225"/>
                    <a:gd name="T37" fmla="*/ 312 h 388"/>
                    <a:gd name="T38" fmla="*/ 78 w 225"/>
                    <a:gd name="T39" fmla="*/ 333 h 388"/>
                    <a:gd name="T40" fmla="*/ 78 w 225"/>
                    <a:gd name="T41" fmla="*/ 353 h 388"/>
                    <a:gd name="T42" fmla="*/ 99 w 225"/>
                    <a:gd name="T43" fmla="*/ 377 h 388"/>
                    <a:gd name="T44" fmla="*/ 108 w 225"/>
                    <a:gd name="T45" fmla="*/ 377 h 388"/>
                    <a:gd name="T46" fmla="*/ 112 w 225"/>
                    <a:gd name="T47" fmla="*/ 388 h 388"/>
                    <a:gd name="T48" fmla="*/ 132 w 225"/>
                    <a:gd name="T49" fmla="*/ 387 h 388"/>
                    <a:gd name="T50" fmla="*/ 143 w 225"/>
                    <a:gd name="T51" fmla="*/ 369 h 388"/>
                    <a:gd name="T52" fmla="*/ 161 w 225"/>
                    <a:gd name="T53" fmla="*/ 368 h 388"/>
                    <a:gd name="T54" fmla="*/ 162 w 225"/>
                    <a:gd name="T55" fmla="*/ 360 h 388"/>
                    <a:gd name="T56" fmla="*/ 183 w 225"/>
                    <a:gd name="T57" fmla="*/ 359 h 388"/>
                    <a:gd name="T58" fmla="*/ 197 w 225"/>
                    <a:gd name="T59" fmla="*/ 342 h 388"/>
                    <a:gd name="T60" fmla="*/ 217 w 225"/>
                    <a:gd name="T61" fmla="*/ 350 h 388"/>
                    <a:gd name="T62" fmla="*/ 221 w 225"/>
                    <a:gd name="T63" fmla="*/ 341 h 388"/>
                    <a:gd name="T64" fmla="*/ 196 w 225"/>
                    <a:gd name="T65" fmla="*/ 302 h 388"/>
                    <a:gd name="T66" fmla="*/ 196 w 225"/>
                    <a:gd name="T67" fmla="*/ 266 h 388"/>
                    <a:gd name="T68" fmla="*/ 182 w 225"/>
                    <a:gd name="T69" fmla="*/ 273 h 388"/>
                    <a:gd name="T70" fmla="*/ 168 w 225"/>
                    <a:gd name="T71" fmla="*/ 251 h 388"/>
                    <a:gd name="T72" fmla="*/ 157 w 225"/>
                    <a:gd name="T73" fmla="*/ 236 h 388"/>
                    <a:gd name="T74" fmla="*/ 167 w 225"/>
                    <a:gd name="T75" fmla="*/ 218 h 388"/>
                    <a:gd name="T76" fmla="*/ 166 w 225"/>
                    <a:gd name="T77" fmla="*/ 190 h 388"/>
                    <a:gd name="T78" fmla="*/ 199 w 225"/>
                    <a:gd name="T79" fmla="*/ 181 h 388"/>
                    <a:gd name="T80" fmla="*/ 195 w 225"/>
                    <a:gd name="T81" fmla="*/ 158 h 388"/>
                    <a:gd name="T82" fmla="*/ 206 w 225"/>
                    <a:gd name="T83" fmla="*/ 136 h 388"/>
                    <a:gd name="T84" fmla="*/ 203 w 225"/>
                    <a:gd name="T85" fmla="*/ 117 h 388"/>
                    <a:gd name="T86" fmla="*/ 185 w 225"/>
                    <a:gd name="T87" fmla="*/ 117 h 388"/>
                    <a:gd name="T88" fmla="*/ 183 w 225"/>
                    <a:gd name="T89" fmla="*/ 102 h 388"/>
                    <a:gd name="T90" fmla="*/ 153 w 225"/>
                    <a:gd name="T91" fmla="*/ 85 h 388"/>
                    <a:gd name="T92" fmla="*/ 133 w 225"/>
                    <a:gd name="T93" fmla="*/ 109 h 388"/>
                    <a:gd name="T94" fmla="*/ 144 w 225"/>
                    <a:gd name="T95" fmla="*/ 61 h 388"/>
                    <a:gd name="T96" fmla="*/ 126 w 225"/>
                    <a:gd name="T97" fmla="*/ 22 h 388"/>
                    <a:gd name="T98" fmla="*/ 83 w 225"/>
                    <a:gd name="T99" fmla="*/ 0 h 388"/>
                    <a:gd name="T100" fmla="*/ 76 w 225"/>
                    <a:gd name="T101" fmla="*/ 12 h 388"/>
                    <a:gd name="T102" fmla="*/ 62 w 225"/>
                    <a:gd name="T103" fmla="*/ 28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25" h="388">
                      <a:moveTo>
                        <a:pt x="62" y="28"/>
                      </a:moveTo>
                      <a:cubicBezTo>
                        <a:pt x="56" y="30"/>
                        <a:pt x="40" y="35"/>
                        <a:pt x="42" y="44"/>
                      </a:cubicBezTo>
                      <a:cubicBezTo>
                        <a:pt x="44" y="53"/>
                        <a:pt x="42" y="64"/>
                        <a:pt x="46" y="64"/>
                      </a:cubicBezTo>
                      <a:cubicBezTo>
                        <a:pt x="50" y="64"/>
                        <a:pt x="57" y="64"/>
                        <a:pt x="57" y="67"/>
                      </a:cubicBezTo>
                      <a:cubicBezTo>
                        <a:pt x="57" y="71"/>
                        <a:pt x="58" y="81"/>
                        <a:pt x="47" y="85"/>
                      </a:cubicBezTo>
                      <a:cubicBezTo>
                        <a:pt x="36" y="89"/>
                        <a:pt x="11" y="88"/>
                        <a:pt x="11" y="93"/>
                      </a:cubicBezTo>
                      <a:cubicBezTo>
                        <a:pt x="11" y="98"/>
                        <a:pt x="31" y="109"/>
                        <a:pt x="22" y="116"/>
                      </a:cubicBezTo>
                      <a:cubicBezTo>
                        <a:pt x="13" y="124"/>
                        <a:pt x="0" y="123"/>
                        <a:pt x="4" y="134"/>
                      </a:cubicBezTo>
                      <a:cubicBezTo>
                        <a:pt x="8" y="145"/>
                        <a:pt x="35" y="172"/>
                        <a:pt x="35" y="172"/>
                      </a:cubicBezTo>
                      <a:cubicBezTo>
                        <a:pt x="51" y="174"/>
                        <a:pt x="51" y="174"/>
                        <a:pt x="51" y="174"/>
                      </a:cubicBezTo>
                      <a:cubicBezTo>
                        <a:pt x="56" y="167"/>
                        <a:pt x="56" y="167"/>
                        <a:pt x="56" y="167"/>
                      </a:cubicBezTo>
                      <a:cubicBezTo>
                        <a:pt x="56" y="167"/>
                        <a:pt x="65" y="168"/>
                        <a:pt x="68" y="182"/>
                      </a:cubicBezTo>
                      <a:cubicBezTo>
                        <a:pt x="71" y="196"/>
                        <a:pt x="59" y="208"/>
                        <a:pt x="59" y="208"/>
                      </a:cubicBezTo>
                      <a:cubicBezTo>
                        <a:pt x="59" y="217"/>
                        <a:pt x="81" y="211"/>
                        <a:pt x="81" y="211"/>
                      </a:cubicBezTo>
                      <a:cubicBezTo>
                        <a:pt x="80" y="230"/>
                        <a:pt x="80" y="230"/>
                        <a:pt x="80" y="230"/>
                      </a:cubicBezTo>
                      <a:cubicBezTo>
                        <a:pt x="80" y="230"/>
                        <a:pt x="89" y="234"/>
                        <a:pt x="88" y="240"/>
                      </a:cubicBezTo>
                      <a:cubicBezTo>
                        <a:pt x="87" y="246"/>
                        <a:pt x="74" y="258"/>
                        <a:pt x="74" y="258"/>
                      </a:cubicBezTo>
                      <a:cubicBezTo>
                        <a:pt x="69" y="286"/>
                        <a:pt x="69" y="286"/>
                        <a:pt x="69" y="286"/>
                      </a:cubicBezTo>
                      <a:cubicBezTo>
                        <a:pt x="69" y="286"/>
                        <a:pt x="61" y="302"/>
                        <a:pt x="61" y="312"/>
                      </a:cubicBezTo>
                      <a:cubicBezTo>
                        <a:pt x="61" y="322"/>
                        <a:pt x="78" y="325"/>
                        <a:pt x="78" y="333"/>
                      </a:cubicBezTo>
                      <a:cubicBezTo>
                        <a:pt x="78" y="341"/>
                        <a:pt x="78" y="353"/>
                        <a:pt x="78" y="353"/>
                      </a:cubicBezTo>
                      <a:cubicBezTo>
                        <a:pt x="99" y="377"/>
                        <a:pt x="99" y="377"/>
                        <a:pt x="99" y="377"/>
                      </a:cubicBezTo>
                      <a:cubicBezTo>
                        <a:pt x="108" y="377"/>
                        <a:pt x="108" y="377"/>
                        <a:pt x="108" y="377"/>
                      </a:cubicBezTo>
                      <a:cubicBezTo>
                        <a:pt x="112" y="388"/>
                        <a:pt x="112" y="388"/>
                        <a:pt x="112" y="388"/>
                      </a:cubicBezTo>
                      <a:cubicBezTo>
                        <a:pt x="112" y="388"/>
                        <a:pt x="122" y="388"/>
                        <a:pt x="132" y="387"/>
                      </a:cubicBezTo>
                      <a:cubicBezTo>
                        <a:pt x="142" y="386"/>
                        <a:pt x="137" y="373"/>
                        <a:pt x="143" y="369"/>
                      </a:cubicBezTo>
                      <a:cubicBezTo>
                        <a:pt x="149" y="365"/>
                        <a:pt x="161" y="368"/>
                        <a:pt x="161" y="368"/>
                      </a:cubicBezTo>
                      <a:cubicBezTo>
                        <a:pt x="162" y="360"/>
                        <a:pt x="162" y="360"/>
                        <a:pt x="162" y="360"/>
                      </a:cubicBezTo>
                      <a:cubicBezTo>
                        <a:pt x="183" y="359"/>
                        <a:pt x="183" y="359"/>
                        <a:pt x="183" y="359"/>
                      </a:cubicBezTo>
                      <a:cubicBezTo>
                        <a:pt x="183" y="359"/>
                        <a:pt x="187" y="343"/>
                        <a:pt x="197" y="342"/>
                      </a:cubicBezTo>
                      <a:cubicBezTo>
                        <a:pt x="207" y="341"/>
                        <a:pt x="209" y="352"/>
                        <a:pt x="217" y="350"/>
                      </a:cubicBezTo>
                      <a:cubicBezTo>
                        <a:pt x="225" y="348"/>
                        <a:pt x="221" y="341"/>
                        <a:pt x="221" y="341"/>
                      </a:cubicBezTo>
                      <a:cubicBezTo>
                        <a:pt x="221" y="341"/>
                        <a:pt x="205" y="310"/>
                        <a:pt x="196" y="302"/>
                      </a:cubicBezTo>
                      <a:cubicBezTo>
                        <a:pt x="187" y="294"/>
                        <a:pt x="197" y="273"/>
                        <a:pt x="196" y="266"/>
                      </a:cubicBezTo>
                      <a:cubicBezTo>
                        <a:pt x="195" y="259"/>
                        <a:pt x="186" y="274"/>
                        <a:pt x="182" y="273"/>
                      </a:cubicBezTo>
                      <a:cubicBezTo>
                        <a:pt x="178" y="272"/>
                        <a:pt x="168" y="258"/>
                        <a:pt x="168" y="251"/>
                      </a:cubicBezTo>
                      <a:cubicBezTo>
                        <a:pt x="168" y="244"/>
                        <a:pt x="158" y="246"/>
                        <a:pt x="157" y="236"/>
                      </a:cubicBezTo>
                      <a:cubicBezTo>
                        <a:pt x="156" y="225"/>
                        <a:pt x="167" y="218"/>
                        <a:pt x="167" y="218"/>
                      </a:cubicBezTo>
                      <a:cubicBezTo>
                        <a:pt x="167" y="218"/>
                        <a:pt x="163" y="199"/>
                        <a:pt x="166" y="190"/>
                      </a:cubicBezTo>
                      <a:cubicBezTo>
                        <a:pt x="169" y="181"/>
                        <a:pt x="187" y="184"/>
                        <a:pt x="199" y="181"/>
                      </a:cubicBezTo>
                      <a:cubicBezTo>
                        <a:pt x="211" y="178"/>
                        <a:pt x="195" y="166"/>
                        <a:pt x="195" y="158"/>
                      </a:cubicBezTo>
                      <a:cubicBezTo>
                        <a:pt x="195" y="150"/>
                        <a:pt x="206" y="136"/>
                        <a:pt x="206" y="136"/>
                      </a:cubicBezTo>
                      <a:cubicBezTo>
                        <a:pt x="206" y="136"/>
                        <a:pt x="206" y="125"/>
                        <a:pt x="203" y="117"/>
                      </a:cubicBezTo>
                      <a:cubicBezTo>
                        <a:pt x="200" y="109"/>
                        <a:pt x="185" y="117"/>
                        <a:pt x="185" y="117"/>
                      </a:cubicBezTo>
                      <a:cubicBezTo>
                        <a:pt x="183" y="102"/>
                        <a:pt x="183" y="102"/>
                        <a:pt x="183" y="102"/>
                      </a:cubicBezTo>
                      <a:cubicBezTo>
                        <a:pt x="183" y="102"/>
                        <a:pt x="166" y="87"/>
                        <a:pt x="153" y="85"/>
                      </a:cubicBezTo>
                      <a:cubicBezTo>
                        <a:pt x="140" y="83"/>
                        <a:pt x="133" y="109"/>
                        <a:pt x="133" y="109"/>
                      </a:cubicBezTo>
                      <a:cubicBezTo>
                        <a:pt x="133" y="109"/>
                        <a:pt x="142" y="69"/>
                        <a:pt x="144" y="61"/>
                      </a:cubicBezTo>
                      <a:cubicBezTo>
                        <a:pt x="146" y="53"/>
                        <a:pt x="132" y="30"/>
                        <a:pt x="126" y="22"/>
                      </a:cubicBezTo>
                      <a:cubicBezTo>
                        <a:pt x="120" y="14"/>
                        <a:pt x="83" y="0"/>
                        <a:pt x="83" y="0"/>
                      </a:cubicBezTo>
                      <a:cubicBezTo>
                        <a:pt x="76" y="12"/>
                        <a:pt x="76" y="12"/>
                        <a:pt x="76" y="12"/>
                      </a:cubicBezTo>
                      <a:cubicBezTo>
                        <a:pt x="76" y="12"/>
                        <a:pt x="69" y="26"/>
                        <a:pt x="62" y="28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5" name="French Guiana">
                  <a:extLst>
                    <a:ext uri="{FF2B5EF4-FFF2-40B4-BE49-F238E27FC236}">
                      <a16:creationId xmlns:a16="http://schemas.microsoft.com/office/drawing/2014/main" id="{C937665A-8C2F-A961-883A-E1377A723D4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164291" y="3909128"/>
                  <a:ext cx="76195" cy="110951"/>
                </a:xfrm>
                <a:custGeom>
                  <a:avLst/>
                  <a:gdLst>
                    <a:gd name="T0" fmla="*/ 18 w 24"/>
                    <a:gd name="T1" fmla="*/ 8 h 35"/>
                    <a:gd name="T2" fmla="*/ 16 w 24"/>
                    <a:gd name="T3" fmla="*/ 3 h 35"/>
                    <a:gd name="T4" fmla="*/ 12 w 24"/>
                    <a:gd name="T5" fmla="*/ 3 h 35"/>
                    <a:gd name="T6" fmla="*/ 6 w 24"/>
                    <a:gd name="T7" fmla="*/ 0 h 35"/>
                    <a:gd name="T8" fmla="*/ 5 w 24"/>
                    <a:gd name="T9" fmla="*/ 4 h 35"/>
                    <a:gd name="T10" fmla="*/ 1 w 24"/>
                    <a:gd name="T11" fmla="*/ 8 h 35"/>
                    <a:gd name="T12" fmla="*/ 2 w 24"/>
                    <a:gd name="T13" fmla="*/ 16 h 35"/>
                    <a:gd name="T14" fmla="*/ 5 w 24"/>
                    <a:gd name="T15" fmla="*/ 21 h 35"/>
                    <a:gd name="T16" fmla="*/ 3 w 24"/>
                    <a:gd name="T17" fmla="*/ 24 h 35"/>
                    <a:gd name="T18" fmla="*/ 4 w 24"/>
                    <a:gd name="T19" fmla="*/ 29 h 35"/>
                    <a:gd name="T20" fmla="*/ 2 w 24"/>
                    <a:gd name="T21" fmla="*/ 30 h 35"/>
                    <a:gd name="T22" fmla="*/ 0 w 24"/>
                    <a:gd name="T23" fmla="*/ 33 h 35"/>
                    <a:gd name="T24" fmla="*/ 3 w 24"/>
                    <a:gd name="T25" fmla="*/ 35 h 35"/>
                    <a:gd name="T26" fmla="*/ 6 w 24"/>
                    <a:gd name="T27" fmla="*/ 33 h 35"/>
                    <a:gd name="T28" fmla="*/ 8 w 24"/>
                    <a:gd name="T29" fmla="*/ 33 h 35"/>
                    <a:gd name="T30" fmla="*/ 10 w 24"/>
                    <a:gd name="T31" fmla="*/ 34 h 35"/>
                    <a:gd name="T32" fmla="*/ 11 w 24"/>
                    <a:gd name="T33" fmla="*/ 33 h 35"/>
                    <a:gd name="T34" fmla="*/ 11 w 24"/>
                    <a:gd name="T35" fmla="*/ 34 h 35"/>
                    <a:gd name="T36" fmla="*/ 15 w 24"/>
                    <a:gd name="T37" fmla="*/ 33 h 35"/>
                    <a:gd name="T38" fmla="*/ 19 w 24"/>
                    <a:gd name="T39" fmla="*/ 26 h 35"/>
                    <a:gd name="T40" fmla="*/ 22 w 24"/>
                    <a:gd name="T41" fmla="*/ 20 h 35"/>
                    <a:gd name="T42" fmla="*/ 24 w 24"/>
                    <a:gd name="T43" fmla="*/ 16 h 35"/>
                    <a:gd name="T44" fmla="*/ 22 w 24"/>
                    <a:gd name="T45" fmla="*/ 10 h 35"/>
                    <a:gd name="T46" fmla="*/ 18 w 24"/>
                    <a:gd name="T47" fmla="*/ 8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4" h="35">
                      <a:moveTo>
                        <a:pt x="18" y="8"/>
                      </a:move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2" y="3"/>
                        <a:pt x="7" y="1"/>
                        <a:pt x="6" y="0"/>
                      </a:cubicBezTo>
                      <a:cubicBezTo>
                        <a:pt x="5" y="1"/>
                        <a:pt x="5" y="3"/>
                        <a:pt x="5" y="4"/>
                      </a:cubicBezTo>
                      <a:cubicBezTo>
                        <a:pt x="5" y="5"/>
                        <a:pt x="3" y="5"/>
                        <a:pt x="1" y="8"/>
                      </a:cubicBezTo>
                      <a:cubicBezTo>
                        <a:pt x="0" y="10"/>
                        <a:pt x="1" y="14"/>
                        <a:pt x="2" y="16"/>
                      </a:cubicBezTo>
                      <a:cubicBezTo>
                        <a:pt x="2" y="19"/>
                        <a:pt x="5" y="19"/>
                        <a:pt x="5" y="21"/>
                      </a:cubicBezTo>
                      <a:cubicBezTo>
                        <a:pt x="6" y="23"/>
                        <a:pt x="3" y="24"/>
                        <a:pt x="3" y="24"/>
                      </a:cubicBez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4" y="29"/>
                        <a:pt x="2" y="29"/>
                        <a:pt x="2" y="30"/>
                      </a:cubicBezTo>
                      <a:cubicBezTo>
                        <a:pt x="1" y="31"/>
                        <a:pt x="0" y="33"/>
                        <a:pt x="0" y="33"/>
                      </a:cubicBezTo>
                      <a:cubicBezTo>
                        <a:pt x="0" y="33"/>
                        <a:pt x="1" y="35"/>
                        <a:pt x="3" y="35"/>
                      </a:cubicBezTo>
                      <a:cubicBezTo>
                        <a:pt x="6" y="35"/>
                        <a:pt x="5" y="34"/>
                        <a:pt x="6" y="33"/>
                      </a:cubicBezTo>
                      <a:cubicBezTo>
                        <a:pt x="7" y="32"/>
                        <a:pt x="8" y="33"/>
                        <a:pt x="8" y="33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11" y="33"/>
                        <a:pt x="11" y="34"/>
                        <a:pt x="11" y="34"/>
                      </a:cubicBezTo>
                      <a:cubicBezTo>
                        <a:pt x="12" y="34"/>
                        <a:pt x="15" y="33"/>
                        <a:pt x="15" y="33"/>
                      </a:cubicBezTo>
                      <a:cubicBezTo>
                        <a:pt x="18" y="31"/>
                        <a:pt x="18" y="28"/>
                        <a:pt x="19" y="26"/>
                      </a:cubicBezTo>
                      <a:cubicBezTo>
                        <a:pt x="19" y="24"/>
                        <a:pt x="21" y="21"/>
                        <a:pt x="22" y="20"/>
                      </a:cubicBezTo>
                      <a:cubicBezTo>
                        <a:pt x="23" y="19"/>
                        <a:pt x="24" y="16"/>
                        <a:pt x="24" y="16"/>
                      </a:cubicBezTo>
                      <a:cubicBezTo>
                        <a:pt x="24" y="15"/>
                        <a:pt x="22" y="10"/>
                        <a:pt x="22" y="10"/>
                      </a:cubicBezTo>
                      <a:cubicBezTo>
                        <a:pt x="18" y="8"/>
                        <a:pt x="18" y="8"/>
                        <a:pt x="18" y="8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6" name="Ecuador">
                  <a:extLst>
                    <a:ext uri="{FF2B5EF4-FFF2-40B4-BE49-F238E27FC236}">
                      <a16:creationId xmlns:a16="http://schemas.microsoft.com/office/drawing/2014/main" id="{143BF920-6DD6-B820-ADBF-7D3701AD277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458420" y="4034367"/>
                  <a:ext cx="155602" cy="198346"/>
                </a:xfrm>
                <a:custGeom>
                  <a:avLst/>
                  <a:gdLst>
                    <a:gd name="T0" fmla="*/ 42 w 280"/>
                    <a:gd name="T1" fmla="*/ 249 h 353"/>
                    <a:gd name="T2" fmla="*/ 49 w 280"/>
                    <a:gd name="T3" fmla="*/ 229 h 353"/>
                    <a:gd name="T4" fmla="*/ 42 w 280"/>
                    <a:gd name="T5" fmla="*/ 249 h 353"/>
                    <a:gd name="T6" fmla="*/ 277 w 280"/>
                    <a:gd name="T7" fmla="*/ 114 h 353"/>
                    <a:gd name="T8" fmla="*/ 261 w 280"/>
                    <a:gd name="T9" fmla="*/ 102 h 353"/>
                    <a:gd name="T10" fmla="*/ 271 w 280"/>
                    <a:gd name="T11" fmla="*/ 84 h 353"/>
                    <a:gd name="T12" fmla="*/ 252 w 280"/>
                    <a:gd name="T13" fmla="*/ 83 h 353"/>
                    <a:gd name="T14" fmla="*/ 230 w 280"/>
                    <a:gd name="T15" fmla="*/ 61 h 353"/>
                    <a:gd name="T16" fmla="*/ 218 w 280"/>
                    <a:gd name="T17" fmla="*/ 73 h 353"/>
                    <a:gd name="T18" fmla="*/ 195 w 280"/>
                    <a:gd name="T19" fmla="*/ 65 h 353"/>
                    <a:gd name="T20" fmla="*/ 175 w 280"/>
                    <a:gd name="T21" fmla="*/ 64 h 353"/>
                    <a:gd name="T22" fmla="*/ 163 w 280"/>
                    <a:gd name="T23" fmla="*/ 43 h 353"/>
                    <a:gd name="T24" fmla="*/ 140 w 280"/>
                    <a:gd name="T25" fmla="*/ 40 h 353"/>
                    <a:gd name="T26" fmla="*/ 121 w 280"/>
                    <a:gd name="T27" fmla="*/ 22 h 353"/>
                    <a:gd name="T28" fmla="*/ 98 w 280"/>
                    <a:gd name="T29" fmla="*/ 0 h 353"/>
                    <a:gd name="T30" fmla="*/ 101 w 280"/>
                    <a:gd name="T31" fmla="*/ 23 h 353"/>
                    <a:gd name="T32" fmla="*/ 68 w 280"/>
                    <a:gd name="T33" fmla="*/ 37 h 353"/>
                    <a:gd name="T34" fmla="*/ 66 w 280"/>
                    <a:gd name="T35" fmla="*/ 27 h 353"/>
                    <a:gd name="T36" fmla="*/ 44 w 280"/>
                    <a:gd name="T37" fmla="*/ 46 h 353"/>
                    <a:gd name="T38" fmla="*/ 49 w 280"/>
                    <a:gd name="T39" fmla="*/ 77 h 353"/>
                    <a:gd name="T40" fmla="*/ 31 w 280"/>
                    <a:gd name="T41" fmla="*/ 97 h 353"/>
                    <a:gd name="T42" fmla="*/ 39 w 280"/>
                    <a:gd name="T43" fmla="*/ 119 h 353"/>
                    <a:gd name="T44" fmla="*/ 27 w 280"/>
                    <a:gd name="T45" fmla="*/ 119 h 353"/>
                    <a:gd name="T46" fmla="*/ 26 w 280"/>
                    <a:gd name="T47" fmla="*/ 130 h 353"/>
                    <a:gd name="T48" fmla="*/ 3 w 280"/>
                    <a:gd name="T49" fmla="*/ 144 h 353"/>
                    <a:gd name="T50" fmla="*/ 19 w 280"/>
                    <a:gd name="T51" fmla="*/ 154 h 353"/>
                    <a:gd name="T52" fmla="*/ 8 w 280"/>
                    <a:gd name="T53" fmla="*/ 173 h 353"/>
                    <a:gd name="T54" fmla="*/ 18 w 280"/>
                    <a:gd name="T55" fmla="*/ 187 h 353"/>
                    <a:gd name="T56" fmla="*/ 3 w 280"/>
                    <a:gd name="T57" fmla="*/ 201 h 353"/>
                    <a:gd name="T58" fmla="*/ 12 w 280"/>
                    <a:gd name="T59" fmla="*/ 207 h 353"/>
                    <a:gd name="T60" fmla="*/ 22 w 280"/>
                    <a:gd name="T61" fmla="*/ 228 h 353"/>
                    <a:gd name="T62" fmla="*/ 48 w 280"/>
                    <a:gd name="T63" fmla="*/ 214 h 353"/>
                    <a:gd name="T64" fmla="*/ 65 w 280"/>
                    <a:gd name="T65" fmla="*/ 219 h 353"/>
                    <a:gd name="T66" fmla="*/ 61 w 280"/>
                    <a:gd name="T67" fmla="*/ 258 h 353"/>
                    <a:gd name="T68" fmla="*/ 36 w 280"/>
                    <a:gd name="T69" fmla="*/ 271 h 353"/>
                    <a:gd name="T70" fmla="*/ 51 w 280"/>
                    <a:gd name="T71" fmla="*/ 286 h 353"/>
                    <a:gd name="T72" fmla="*/ 30 w 280"/>
                    <a:gd name="T73" fmla="*/ 307 h 353"/>
                    <a:gd name="T74" fmla="*/ 40 w 280"/>
                    <a:gd name="T75" fmla="*/ 315 h 353"/>
                    <a:gd name="T76" fmla="*/ 33 w 280"/>
                    <a:gd name="T77" fmla="*/ 329 h 353"/>
                    <a:gd name="T78" fmla="*/ 53 w 280"/>
                    <a:gd name="T79" fmla="*/ 315 h 353"/>
                    <a:gd name="T80" fmla="*/ 62 w 280"/>
                    <a:gd name="T81" fmla="*/ 326 h 353"/>
                    <a:gd name="T82" fmla="*/ 81 w 280"/>
                    <a:gd name="T83" fmla="*/ 324 h 353"/>
                    <a:gd name="T84" fmla="*/ 96 w 280"/>
                    <a:gd name="T85" fmla="*/ 353 h 353"/>
                    <a:gd name="T86" fmla="*/ 108 w 280"/>
                    <a:gd name="T87" fmla="*/ 339 h 353"/>
                    <a:gd name="T88" fmla="*/ 121 w 280"/>
                    <a:gd name="T89" fmla="*/ 335 h 353"/>
                    <a:gd name="T90" fmla="*/ 125 w 280"/>
                    <a:gd name="T91" fmla="*/ 299 h 353"/>
                    <a:gd name="T92" fmla="*/ 135 w 280"/>
                    <a:gd name="T93" fmla="*/ 284 h 353"/>
                    <a:gd name="T94" fmla="*/ 132 w 280"/>
                    <a:gd name="T95" fmla="*/ 272 h 353"/>
                    <a:gd name="T96" fmla="*/ 140 w 280"/>
                    <a:gd name="T97" fmla="*/ 269 h 353"/>
                    <a:gd name="T98" fmla="*/ 154 w 280"/>
                    <a:gd name="T99" fmla="*/ 251 h 353"/>
                    <a:gd name="T100" fmla="*/ 211 w 280"/>
                    <a:gd name="T101" fmla="*/ 226 h 353"/>
                    <a:gd name="T102" fmla="*/ 262 w 280"/>
                    <a:gd name="T103" fmla="*/ 170 h 353"/>
                    <a:gd name="T104" fmla="*/ 270 w 280"/>
                    <a:gd name="T105" fmla="*/ 141 h 353"/>
                    <a:gd name="T106" fmla="*/ 280 w 280"/>
                    <a:gd name="T107" fmla="*/ 136 h 353"/>
                    <a:gd name="T108" fmla="*/ 277 w 280"/>
                    <a:gd name="T109" fmla="*/ 114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80" h="353">
                      <a:moveTo>
                        <a:pt x="42" y="249"/>
                      </a:moveTo>
                      <a:cubicBezTo>
                        <a:pt x="57" y="245"/>
                        <a:pt x="59" y="225"/>
                        <a:pt x="49" y="229"/>
                      </a:cubicBezTo>
                      <a:cubicBezTo>
                        <a:pt x="40" y="233"/>
                        <a:pt x="34" y="250"/>
                        <a:pt x="42" y="249"/>
                      </a:cubicBezTo>
                      <a:close/>
                      <a:moveTo>
                        <a:pt x="277" y="114"/>
                      </a:moveTo>
                      <a:cubicBezTo>
                        <a:pt x="261" y="102"/>
                        <a:pt x="261" y="102"/>
                        <a:pt x="261" y="102"/>
                      </a:cubicBezTo>
                      <a:cubicBezTo>
                        <a:pt x="261" y="102"/>
                        <a:pt x="272" y="102"/>
                        <a:pt x="271" y="84"/>
                      </a:cubicBezTo>
                      <a:cubicBezTo>
                        <a:pt x="265" y="83"/>
                        <a:pt x="258" y="83"/>
                        <a:pt x="252" y="83"/>
                      </a:cubicBezTo>
                      <a:cubicBezTo>
                        <a:pt x="239" y="82"/>
                        <a:pt x="247" y="64"/>
                        <a:pt x="230" y="61"/>
                      </a:cubicBezTo>
                      <a:cubicBezTo>
                        <a:pt x="213" y="58"/>
                        <a:pt x="225" y="71"/>
                        <a:pt x="218" y="73"/>
                      </a:cubicBezTo>
                      <a:cubicBezTo>
                        <a:pt x="211" y="75"/>
                        <a:pt x="195" y="65"/>
                        <a:pt x="195" y="65"/>
                      </a:cubicBezTo>
                      <a:cubicBezTo>
                        <a:pt x="195" y="65"/>
                        <a:pt x="184" y="70"/>
                        <a:pt x="175" y="64"/>
                      </a:cubicBezTo>
                      <a:cubicBezTo>
                        <a:pt x="166" y="58"/>
                        <a:pt x="173" y="51"/>
                        <a:pt x="163" y="43"/>
                      </a:cubicBezTo>
                      <a:cubicBezTo>
                        <a:pt x="153" y="35"/>
                        <a:pt x="140" y="40"/>
                        <a:pt x="140" y="40"/>
                      </a:cubicBezTo>
                      <a:cubicBezTo>
                        <a:pt x="140" y="40"/>
                        <a:pt x="132" y="28"/>
                        <a:pt x="121" y="22"/>
                      </a:cubicBezTo>
                      <a:cubicBezTo>
                        <a:pt x="113" y="19"/>
                        <a:pt x="103" y="6"/>
                        <a:pt x="98" y="0"/>
                      </a:cubicBezTo>
                      <a:cubicBezTo>
                        <a:pt x="99" y="10"/>
                        <a:pt x="105" y="14"/>
                        <a:pt x="101" y="23"/>
                      </a:cubicBezTo>
                      <a:cubicBezTo>
                        <a:pt x="98" y="32"/>
                        <a:pt x="68" y="37"/>
                        <a:pt x="68" y="37"/>
                      </a:cubicBezTo>
                      <a:cubicBezTo>
                        <a:pt x="66" y="27"/>
                        <a:pt x="66" y="27"/>
                        <a:pt x="66" y="27"/>
                      </a:cubicBezTo>
                      <a:cubicBezTo>
                        <a:pt x="66" y="27"/>
                        <a:pt x="46" y="38"/>
                        <a:pt x="44" y="46"/>
                      </a:cubicBezTo>
                      <a:cubicBezTo>
                        <a:pt x="41" y="54"/>
                        <a:pt x="51" y="64"/>
                        <a:pt x="49" y="77"/>
                      </a:cubicBezTo>
                      <a:cubicBezTo>
                        <a:pt x="48" y="90"/>
                        <a:pt x="35" y="89"/>
                        <a:pt x="31" y="97"/>
                      </a:cubicBezTo>
                      <a:cubicBezTo>
                        <a:pt x="26" y="105"/>
                        <a:pt x="39" y="119"/>
                        <a:pt x="39" y="119"/>
                      </a:cubicBezTo>
                      <a:cubicBezTo>
                        <a:pt x="27" y="119"/>
                        <a:pt x="27" y="119"/>
                        <a:pt x="27" y="119"/>
                      </a:cubicBezTo>
                      <a:cubicBezTo>
                        <a:pt x="26" y="130"/>
                        <a:pt x="26" y="130"/>
                        <a:pt x="26" y="130"/>
                      </a:cubicBezTo>
                      <a:cubicBezTo>
                        <a:pt x="3" y="144"/>
                        <a:pt x="3" y="144"/>
                        <a:pt x="3" y="144"/>
                      </a:cubicBezTo>
                      <a:cubicBezTo>
                        <a:pt x="19" y="154"/>
                        <a:pt x="19" y="154"/>
                        <a:pt x="19" y="154"/>
                      </a:cubicBezTo>
                      <a:cubicBezTo>
                        <a:pt x="8" y="173"/>
                        <a:pt x="8" y="173"/>
                        <a:pt x="8" y="173"/>
                      </a:cubicBezTo>
                      <a:cubicBezTo>
                        <a:pt x="8" y="173"/>
                        <a:pt x="19" y="176"/>
                        <a:pt x="18" y="187"/>
                      </a:cubicBezTo>
                      <a:cubicBezTo>
                        <a:pt x="16" y="198"/>
                        <a:pt x="3" y="201"/>
                        <a:pt x="3" y="201"/>
                      </a:cubicBezTo>
                      <a:cubicBezTo>
                        <a:pt x="12" y="207"/>
                        <a:pt x="12" y="207"/>
                        <a:pt x="12" y="207"/>
                      </a:cubicBezTo>
                      <a:cubicBezTo>
                        <a:pt x="12" y="207"/>
                        <a:pt x="0" y="221"/>
                        <a:pt x="22" y="228"/>
                      </a:cubicBezTo>
                      <a:cubicBezTo>
                        <a:pt x="45" y="235"/>
                        <a:pt x="48" y="214"/>
                        <a:pt x="48" y="214"/>
                      </a:cubicBezTo>
                      <a:cubicBezTo>
                        <a:pt x="65" y="219"/>
                        <a:pt x="65" y="219"/>
                        <a:pt x="65" y="219"/>
                      </a:cubicBezTo>
                      <a:cubicBezTo>
                        <a:pt x="73" y="227"/>
                        <a:pt x="64" y="246"/>
                        <a:pt x="61" y="258"/>
                      </a:cubicBezTo>
                      <a:cubicBezTo>
                        <a:pt x="59" y="270"/>
                        <a:pt x="36" y="271"/>
                        <a:pt x="36" y="271"/>
                      </a:cubicBezTo>
                      <a:cubicBezTo>
                        <a:pt x="36" y="271"/>
                        <a:pt x="60" y="277"/>
                        <a:pt x="51" y="286"/>
                      </a:cubicBezTo>
                      <a:cubicBezTo>
                        <a:pt x="43" y="295"/>
                        <a:pt x="30" y="307"/>
                        <a:pt x="30" y="307"/>
                      </a:cubicBezTo>
                      <a:cubicBezTo>
                        <a:pt x="40" y="315"/>
                        <a:pt x="40" y="315"/>
                        <a:pt x="40" y="315"/>
                      </a:cubicBezTo>
                      <a:cubicBezTo>
                        <a:pt x="40" y="315"/>
                        <a:pt x="24" y="324"/>
                        <a:pt x="33" y="329"/>
                      </a:cubicBezTo>
                      <a:cubicBezTo>
                        <a:pt x="43" y="333"/>
                        <a:pt x="53" y="315"/>
                        <a:pt x="53" y="315"/>
                      </a:cubicBezTo>
                      <a:cubicBezTo>
                        <a:pt x="62" y="326"/>
                        <a:pt x="62" y="326"/>
                        <a:pt x="62" y="326"/>
                      </a:cubicBezTo>
                      <a:cubicBezTo>
                        <a:pt x="62" y="326"/>
                        <a:pt x="75" y="320"/>
                        <a:pt x="81" y="324"/>
                      </a:cubicBezTo>
                      <a:cubicBezTo>
                        <a:pt x="86" y="329"/>
                        <a:pt x="82" y="353"/>
                        <a:pt x="96" y="353"/>
                      </a:cubicBezTo>
                      <a:cubicBezTo>
                        <a:pt x="109" y="353"/>
                        <a:pt x="104" y="342"/>
                        <a:pt x="108" y="339"/>
                      </a:cubicBezTo>
                      <a:cubicBezTo>
                        <a:pt x="112" y="337"/>
                        <a:pt x="121" y="335"/>
                        <a:pt x="121" y="335"/>
                      </a:cubicBezTo>
                      <a:cubicBezTo>
                        <a:pt x="121" y="335"/>
                        <a:pt x="124" y="308"/>
                        <a:pt x="125" y="299"/>
                      </a:cubicBezTo>
                      <a:cubicBezTo>
                        <a:pt x="127" y="289"/>
                        <a:pt x="135" y="284"/>
                        <a:pt x="135" y="284"/>
                      </a:cubicBezTo>
                      <a:cubicBezTo>
                        <a:pt x="132" y="272"/>
                        <a:pt x="132" y="272"/>
                        <a:pt x="132" y="272"/>
                      </a:cubicBezTo>
                      <a:cubicBezTo>
                        <a:pt x="140" y="269"/>
                        <a:pt x="140" y="269"/>
                        <a:pt x="140" y="269"/>
                      </a:cubicBezTo>
                      <a:cubicBezTo>
                        <a:pt x="140" y="269"/>
                        <a:pt x="140" y="262"/>
                        <a:pt x="154" y="251"/>
                      </a:cubicBezTo>
                      <a:cubicBezTo>
                        <a:pt x="167" y="240"/>
                        <a:pt x="188" y="240"/>
                        <a:pt x="211" y="226"/>
                      </a:cubicBezTo>
                      <a:cubicBezTo>
                        <a:pt x="234" y="211"/>
                        <a:pt x="262" y="170"/>
                        <a:pt x="262" y="170"/>
                      </a:cubicBezTo>
                      <a:cubicBezTo>
                        <a:pt x="270" y="141"/>
                        <a:pt x="270" y="141"/>
                        <a:pt x="270" y="141"/>
                      </a:cubicBezTo>
                      <a:cubicBezTo>
                        <a:pt x="280" y="136"/>
                        <a:pt x="280" y="136"/>
                        <a:pt x="280" y="136"/>
                      </a:cubicBezTo>
                      <a:lnTo>
                        <a:pt x="277" y="114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7" name="Colombia">
                  <a:extLst>
                    <a:ext uri="{FF2B5EF4-FFF2-40B4-BE49-F238E27FC236}">
                      <a16:creationId xmlns:a16="http://schemas.microsoft.com/office/drawing/2014/main" id="{F2870699-FA4A-15AE-AFCB-4F3FFE6CC07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12403" y="3702732"/>
                  <a:ext cx="325495" cy="506180"/>
                </a:xfrm>
                <a:custGeom>
                  <a:avLst/>
                  <a:gdLst>
                    <a:gd name="T0" fmla="*/ 65 w 581"/>
                    <a:gd name="T1" fmla="*/ 635 h 902"/>
                    <a:gd name="T2" fmla="*/ 120 w 581"/>
                    <a:gd name="T3" fmla="*/ 665 h 902"/>
                    <a:gd name="T4" fmla="*/ 185 w 581"/>
                    <a:gd name="T5" fmla="*/ 680 h 902"/>
                    <a:gd name="T6" fmla="*/ 238 w 581"/>
                    <a:gd name="T7" fmla="*/ 732 h 902"/>
                    <a:gd name="T8" fmla="*/ 264 w 581"/>
                    <a:gd name="T9" fmla="*/ 772 h 902"/>
                    <a:gd name="T10" fmla="*/ 329 w 581"/>
                    <a:gd name="T11" fmla="*/ 813 h 902"/>
                    <a:gd name="T12" fmla="*/ 388 w 581"/>
                    <a:gd name="T13" fmla="*/ 797 h 902"/>
                    <a:gd name="T14" fmla="*/ 415 w 581"/>
                    <a:gd name="T15" fmla="*/ 846 h 902"/>
                    <a:gd name="T16" fmla="*/ 427 w 581"/>
                    <a:gd name="T17" fmla="*/ 898 h 902"/>
                    <a:gd name="T18" fmla="*/ 444 w 581"/>
                    <a:gd name="T19" fmla="*/ 831 h 902"/>
                    <a:gd name="T20" fmla="*/ 464 w 581"/>
                    <a:gd name="T21" fmla="*/ 749 h 902"/>
                    <a:gd name="T22" fmla="*/ 425 w 581"/>
                    <a:gd name="T23" fmla="*/ 688 h 902"/>
                    <a:gd name="T24" fmla="*/ 471 w 581"/>
                    <a:gd name="T25" fmla="*/ 643 h 902"/>
                    <a:gd name="T26" fmla="*/ 442 w 581"/>
                    <a:gd name="T27" fmla="*/ 616 h 902"/>
                    <a:gd name="T28" fmla="*/ 510 w 581"/>
                    <a:gd name="T29" fmla="*/ 586 h 902"/>
                    <a:gd name="T30" fmla="*/ 555 w 581"/>
                    <a:gd name="T31" fmla="*/ 563 h 902"/>
                    <a:gd name="T32" fmla="*/ 564 w 581"/>
                    <a:gd name="T33" fmla="*/ 614 h 902"/>
                    <a:gd name="T34" fmla="*/ 566 w 581"/>
                    <a:gd name="T35" fmla="*/ 569 h 902"/>
                    <a:gd name="T36" fmla="*/ 531 w 581"/>
                    <a:gd name="T37" fmla="*/ 524 h 902"/>
                    <a:gd name="T38" fmla="*/ 543 w 581"/>
                    <a:gd name="T39" fmla="*/ 460 h 902"/>
                    <a:gd name="T40" fmla="*/ 533 w 581"/>
                    <a:gd name="T41" fmla="*/ 395 h 902"/>
                    <a:gd name="T42" fmla="*/ 558 w 581"/>
                    <a:gd name="T43" fmla="*/ 343 h 902"/>
                    <a:gd name="T44" fmla="*/ 503 w 581"/>
                    <a:gd name="T45" fmla="*/ 350 h 902"/>
                    <a:gd name="T46" fmla="*/ 463 w 581"/>
                    <a:gd name="T47" fmla="*/ 350 h 902"/>
                    <a:gd name="T48" fmla="*/ 404 w 581"/>
                    <a:gd name="T49" fmla="*/ 297 h 902"/>
                    <a:gd name="T50" fmla="*/ 341 w 581"/>
                    <a:gd name="T51" fmla="*/ 300 h 902"/>
                    <a:gd name="T52" fmla="*/ 324 w 581"/>
                    <a:gd name="T53" fmla="*/ 252 h 902"/>
                    <a:gd name="T54" fmla="*/ 317 w 581"/>
                    <a:gd name="T55" fmla="*/ 200 h 902"/>
                    <a:gd name="T56" fmla="*/ 306 w 581"/>
                    <a:gd name="T57" fmla="*/ 153 h 902"/>
                    <a:gd name="T58" fmla="*/ 320 w 581"/>
                    <a:gd name="T59" fmla="*/ 97 h 902"/>
                    <a:gd name="T60" fmla="*/ 381 w 581"/>
                    <a:gd name="T61" fmla="*/ 47 h 902"/>
                    <a:gd name="T62" fmla="*/ 342 w 581"/>
                    <a:gd name="T63" fmla="*/ 45 h 902"/>
                    <a:gd name="T64" fmla="*/ 271 w 581"/>
                    <a:gd name="T65" fmla="*/ 74 h 902"/>
                    <a:gd name="T66" fmla="*/ 239 w 581"/>
                    <a:gd name="T67" fmla="*/ 101 h 902"/>
                    <a:gd name="T68" fmla="*/ 207 w 581"/>
                    <a:gd name="T69" fmla="*/ 94 h 902"/>
                    <a:gd name="T70" fmla="*/ 177 w 581"/>
                    <a:gd name="T71" fmla="*/ 155 h 902"/>
                    <a:gd name="T72" fmla="*/ 147 w 581"/>
                    <a:gd name="T73" fmla="*/ 198 h 902"/>
                    <a:gd name="T74" fmla="*/ 123 w 581"/>
                    <a:gd name="T75" fmla="*/ 229 h 902"/>
                    <a:gd name="T76" fmla="*/ 93 w 581"/>
                    <a:gd name="T77" fmla="*/ 215 h 902"/>
                    <a:gd name="T78" fmla="*/ 92 w 581"/>
                    <a:gd name="T79" fmla="*/ 267 h 902"/>
                    <a:gd name="T80" fmla="*/ 74 w 581"/>
                    <a:gd name="T81" fmla="*/ 301 h 902"/>
                    <a:gd name="T82" fmla="*/ 77 w 581"/>
                    <a:gd name="T83" fmla="*/ 338 h 902"/>
                    <a:gd name="T84" fmla="*/ 77 w 581"/>
                    <a:gd name="T85" fmla="*/ 378 h 902"/>
                    <a:gd name="T86" fmla="*/ 74 w 581"/>
                    <a:gd name="T87" fmla="*/ 454 h 902"/>
                    <a:gd name="T88" fmla="*/ 74 w 581"/>
                    <a:gd name="T89" fmla="*/ 522 h 902"/>
                    <a:gd name="T90" fmla="*/ 26 w 581"/>
                    <a:gd name="T91" fmla="*/ 580 h 902"/>
                    <a:gd name="T92" fmla="*/ 23 w 581"/>
                    <a:gd name="T93" fmla="*/ 614 h 9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581" h="902">
                      <a:moveTo>
                        <a:pt x="23" y="614"/>
                      </a:moveTo>
                      <a:cubicBezTo>
                        <a:pt x="34" y="620"/>
                        <a:pt x="42" y="632"/>
                        <a:pt x="42" y="632"/>
                      </a:cubicBezTo>
                      <a:cubicBezTo>
                        <a:pt x="42" y="632"/>
                        <a:pt x="55" y="627"/>
                        <a:pt x="65" y="635"/>
                      </a:cubicBezTo>
                      <a:cubicBezTo>
                        <a:pt x="75" y="643"/>
                        <a:pt x="68" y="650"/>
                        <a:pt x="77" y="656"/>
                      </a:cubicBezTo>
                      <a:cubicBezTo>
                        <a:pt x="86" y="662"/>
                        <a:pt x="97" y="657"/>
                        <a:pt x="97" y="657"/>
                      </a:cubicBezTo>
                      <a:cubicBezTo>
                        <a:pt x="97" y="657"/>
                        <a:pt x="113" y="667"/>
                        <a:pt x="120" y="665"/>
                      </a:cubicBezTo>
                      <a:cubicBezTo>
                        <a:pt x="127" y="663"/>
                        <a:pt x="115" y="650"/>
                        <a:pt x="132" y="653"/>
                      </a:cubicBezTo>
                      <a:cubicBezTo>
                        <a:pt x="149" y="656"/>
                        <a:pt x="141" y="674"/>
                        <a:pt x="154" y="675"/>
                      </a:cubicBezTo>
                      <a:cubicBezTo>
                        <a:pt x="166" y="676"/>
                        <a:pt x="178" y="676"/>
                        <a:pt x="185" y="680"/>
                      </a:cubicBezTo>
                      <a:cubicBezTo>
                        <a:pt x="192" y="684"/>
                        <a:pt x="222" y="708"/>
                        <a:pt x="222" y="708"/>
                      </a:cubicBezTo>
                      <a:cubicBezTo>
                        <a:pt x="230" y="732"/>
                        <a:pt x="230" y="732"/>
                        <a:pt x="230" y="732"/>
                      </a:cubicBezTo>
                      <a:cubicBezTo>
                        <a:pt x="238" y="732"/>
                        <a:pt x="238" y="732"/>
                        <a:pt x="238" y="732"/>
                      </a:cubicBezTo>
                      <a:cubicBezTo>
                        <a:pt x="249" y="745"/>
                        <a:pt x="249" y="745"/>
                        <a:pt x="249" y="745"/>
                      </a:cubicBezTo>
                      <a:cubicBezTo>
                        <a:pt x="249" y="745"/>
                        <a:pt x="257" y="742"/>
                        <a:pt x="259" y="748"/>
                      </a:cubicBezTo>
                      <a:cubicBezTo>
                        <a:pt x="262" y="754"/>
                        <a:pt x="264" y="772"/>
                        <a:pt x="264" y="772"/>
                      </a:cubicBezTo>
                      <a:cubicBezTo>
                        <a:pt x="264" y="772"/>
                        <a:pt x="282" y="773"/>
                        <a:pt x="283" y="781"/>
                      </a:cubicBezTo>
                      <a:cubicBezTo>
                        <a:pt x="284" y="788"/>
                        <a:pt x="269" y="803"/>
                        <a:pt x="288" y="808"/>
                      </a:cubicBezTo>
                      <a:cubicBezTo>
                        <a:pt x="307" y="813"/>
                        <a:pt x="329" y="813"/>
                        <a:pt x="329" y="813"/>
                      </a:cubicBezTo>
                      <a:cubicBezTo>
                        <a:pt x="329" y="813"/>
                        <a:pt x="330" y="792"/>
                        <a:pt x="344" y="795"/>
                      </a:cubicBezTo>
                      <a:cubicBezTo>
                        <a:pt x="358" y="798"/>
                        <a:pt x="359" y="805"/>
                        <a:pt x="367" y="805"/>
                      </a:cubicBezTo>
                      <a:cubicBezTo>
                        <a:pt x="376" y="805"/>
                        <a:pt x="384" y="796"/>
                        <a:pt x="388" y="797"/>
                      </a:cubicBezTo>
                      <a:cubicBezTo>
                        <a:pt x="392" y="798"/>
                        <a:pt x="400" y="810"/>
                        <a:pt x="400" y="810"/>
                      </a:cubicBezTo>
                      <a:cubicBezTo>
                        <a:pt x="400" y="810"/>
                        <a:pt x="428" y="809"/>
                        <a:pt x="428" y="823"/>
                      </a:cubicBezTo>
                      <a:cubicBezTo>
                        <a:pt x="428" y="838"/>
                        <a:pt x="420" y="846"/>
                        <a:pt x="415" y="846"/>
                      </a:cubicBezTo>
                      <a:cubicBezTo>
                        <a:pt x="410" y="846"/>
                        <a:pt x="401" y="876"/>
                        <a:pt x="404" y="881"/>
                      </a:cubicBezTo>
                      <a:cubicBezTo>
                        <a:pt x="407" y="887"/>
                        <a:pt x="421" y="882"/>
                        <a:pt x="421" y="882"/>
                      </a:cubicBezTo>
                      <a:cubicBezTo>
                        <a:pt x="427" y="898"/>
                        <a:pt x="427" y="898"/>
                        <a:pt x="427" y="898"/>
                      </a:cubicBezTo>
                      <a:cubicBezTo>
                        <a:pt x="438" y="902"/>
                        <a:pt x="438" y="902"/>
                        <a:pt x="438" y="902"/>
                      </a:cubicBezTo>
                      <a:cubicBezTo>
                        <a:pt x="441" y="893"/>
                        <a:pt x="442" y="881"/>
                        <a:pt x="442" y="881"/>
                      </a:cubicBezTo>
                      <a:cubicBezTo>
                        <a:pt x="444" y="831"/>
                        <a:pt x="444" y="831"/>
                        <a:pt x="444" y="831"/>
                      </a:cubicBezTo>
                      <a:cubicBezTo>
                        <a:pt x="455" y="801"/>
                        <a:pt x="455" y="801"/>
                        <a:pt x="455" y="801"/>
                      </a:cubicBezTo>
                      <a:cubicBezTo>
                        <a:pt x="453" y="767"/>
                        <a:pt x="453" y="767"/>
                        <a:pt x="453" y="767"/>
                      </a:cubicBezTo>
                      <a:cubicBezTo>
                        <a:pt x="453" y="767"/>
                        <a:pt x="463" y="756"/>
                        <a:pt x="464" y="749"/>
                      </a:cubicBezTo>
                      <a:cubicBezTo>
                        <a:pt x="465" y="742"/>
                        <a:pt x="451" y="727"/>
                        <a:pt x="451" y="727"/>
                      </a:cubicBezTo>
                      <a:cubicBezTo>
                        <a:pt x="451" y="727"/>
                        <a:pt x="450" y="715"/>
                        <a:pt x="448" y="706"/>
                      </a:cubicBezTo>
                      <a:cubicBezTo>
                        <a:pt x="446" y="697"/>
                        <a:pt x="425" y="688"/>
                        <a:pt x="425" y="688"/>
                      </a:cubicBezTo>
                      <a:cubicBezTo>
                        <a:pt x="427" y="646"/>
                        <a:pt x="427" y="646"/>
                        <a:pt x="427" y="646"/>
                      </a:cubicBezTo>
                      <a:cubicBezTo>
                        <a:pt x="449" y="641"/>
                        <a:pt x="449" y="641"/>
                        <a:pt x="449" y="641"/>
                      </a:cubicBezTo>
                      <a:cubicBezTo>
                        <a:pt x="449" y="641"/>
                        <a:pt x="458" y="645"/>
                        <a:pt x="471" y="643"/>
                      </a:cubicBezTo>
                      <a:cubicBezTo>
                        <a:pt x="484" y="641"/>
                        <a:pt x="465" y="621"/>
                        <a:pt x="465" y="621"/>
                      </a:cubicBezTo>
                      <a:cubicBezTo>
                        <a:pt x="458" y="623"/>
                        <a:pt x="458" y="623"/>
                        <a:pt x="458" y="623"/>
                      </a:cubicBezTo>
                      <a:cubicBezTo>
                        <a:pt x="442" y="616"/>
                        <a:pt x="442" y="616"/>
                        <a:pt x="442" y="616"/>
                      </a:cubicBezTo>
                      <a:cubicBezTo>
                        <a:pt x="442" y="616"/>
                        <a:pt x="434" y="587"/>
                        <a:pt x="443" y="582"/>
                      </a:cubicBezTo>
                      <a:cubicBezTo>
                        <a:pt x="452" y="577"/>
                        <a:pt x="466" y="590"/>
                        <a:pt x="466" y="590"/>
                      </a:cubicBezTo>
                      <a:cubicBezTo>
                        <a:pt x="510" y="586"/>
                        <a:pt x="510" y="586"/>
                        <a:pt x="510" y="586"/>
                      </a:cubicBezTo>
                      <a:cubicBezTo>
                        <a:pt x="510" y="586"/>
                        <a:pt x="510" y="569"/>
                        <a:pt x="516" y="569"/>
                      </a:cubicBezTo>
                      <a:cubicBezTo>
                        <a:pt x="522" y="569"/>
                        <a:pt x="527" y="585"/>
                        <a:pt x="533" y="584"/>
                      </a:cubicBezTo>
                      <a:cubicBezTo>
                        <a:pt x="539" y="583"/>
                        <a:pt x="548" y="560"/>
                        <a:pt x="555" y="563"/>
                      </a:cubicBezTo>
                      <a:cubicBezTo>
                        <a:pt x="562" y="566"/>
                        <a:pt x="557" y="573"/>
                        <a:pt x="557" y="573"/>
                      </a:cubicBezTo>
                      <a:cubicBezTo>
                        <a:pt x="557" y="573"/>
                        <a:pt x="560" y="574"/>
                        <a:pt x="562" y="580"/>
                      </a:cubicBezTo>
                      <a:cubicBezTo>
                        <a:pt x="564" y="586"/>
                        <a:pt x="564" y="614"/>
                        <a:pt x="564" y="614"/>
                      </a:cubicBezTo>
                      <a:cubicBezTo>
                        <a:pt x="581" y="614"/>
                        <a:pt x="581" y="614"/>
                        <a:pt x="581" y="614"/>
                      </a:cubicBezTo>
                      <a:cubicBezTo>
                        <a:pt x="581" y="614"/>
                        <a:pt x="575" y="605"/>
                        <a:pt x="576" y="600"/>
                      </a:cubicBezTo>
                      <a:cubicBezTo>
                        <a:pt x="577" y="595"/>
                        <a:pt x="566" y="569"/>
                        <a:pt x="566" y="569"/>
                      </a:cubicBezTo>
                      <a:cubicBezTo>
                        <a:pt x="566" y="569"/>
                        <a:pt x="563" y="549"/>
                        <a:pt x="563" y="545"/>
                      </a:cubicBezTo>
                      <a:cubicBezTo>
                        <a:pt x="563" y="541"/>
                        <a:pt x="541" y="527"/>
                        <a:pt x="541" y="527"/>
                      </a:cubicBezTo>
                      <a:cubicBezTo>
                        <a:pt x="531" y="524"/>
                        <a:pt x="531" y="524"/>
                        <a:pt x="531" y="524"/>
                      </a:cubicBezTo>
                      <a:cubicBezTo>
                        <a:pt x="531" y="524"/>
                        <a:pt x="560" y="506"/>
                        <a:pt x="560" y="496"/>
                      </a:cubicBezTo>
                      <a:cubicBezTo>
                        <a:pt x="560" y="486"/>
                        <a:pt x="544" y="472"/>
                        <a:pt x="544" y="472"/>
                      </a:cubicBezTo>
                      <a:cubicBezTo>
                        <a:pt x="544" y="472"/>
                        <a:pt x="543" y="463"/>
                        <a:pt x="543" y="460"/>
                      </a:cubicBezTo>
                      <a:cubicBezTo>
                        <a:pt x="543" y="457"/>
                        <a:pt x="534" y="453"/>
                        <a:pt x="534" y="453"/>
                      </a:cubicBezTo>
                      <a:cubicBezTo>
                        <a:pt x="534" y="453"/>
                        <a:pt x="536" y="430"/>
                        <a:pt x="536" y="424"/>
                      </a:cubicBezTo>
                      <a:cubicBezTo>
                        <a:pt x="536" y="418"/>
                        <a:pt x="534" y="400"/>
                        <a:pt x="533" y="395"/>
                      </a:cubicBezTo>
                      <a:cubicBezTo>
                        <a:pt x="532" y="390"/>
                        <a:pt x="542" y="385"/>
                        <a:pt x="545" y="382"/>
                      </a:cubicBezTo>
                      <a:cubicBezTo>
                        <a:pt x="548" y="379"/>
                        <a:pt x="547" y="364"/>
                        <a:pt x="547" y="364"/>
                      </a:cubicBezTo>
                      <a:cubicBezTo>
                        <a:pt x="547" y="364"/>
                        <a:pt x="564" y="356"/>
                        <a:pt x="558" y="343"/>
                      </a:cubicBezTo>
                      <a:cubicBezTo>
                        <a:pt x="552" y="331"/>
                        <a:pt x="533" y="346"/>
                        <a:pt x="533" y="346"/>
                      </a:cubicBezTo>
                      <a:cubicBezTo>
                        <a:pt x="514" y="344"/>
                        <a:pt x="514" y="344"/>
                        <a:pt x="514" y="344"/>
                      </a:cubicBezTo>
                      <a:cubicBezTo>
                        <a:pt x="514" y="344"/>
                        <a:pt x="511" y="351"/>
                        <a:pt x="503" y="350"/>
                      </a:cubicBezTo>
                      <a:cubicBezTo>
                        <a:pt x="495" y="349"/>
                        <a:pt x="493" y="342"/>
                        <a:pt x="485" y="342"/>
                      </a:cubicBezTo>
                      <a:cubicBezTo>
                        <a:pt x="477" y="342"/>
                        <a:pt x="479" y="349"/>
                        <a:pt x="479" y="349"/>
                      </a:cubicBezTo>
                      <a:cubicBezTo>
                        <a:pt x="479" y="349"/>
                        <a:pt x="471" y="352"/>
                        <a:pt x="463" y="350"/>
                      </a:cubicBezTo>
                      <a:cubicBezTo>
                        <a:pt x="455" y="347"/>
                        <a:pt x="436" y="305"/>
                        <a:pt x="436" y="305"/>
                      </a:cubicBezTo>
                      <a:cubicBezTo>
                        <a:pt x="418" y="304"/>
                        <a:pt x="418" y="304"/>
                        <a:pt x="418" y="304"/>
                      </a:cubicBezTo>
                      <a:cubicBezTo>
                        <a:pt x="418" y="304"/>
                        <a:pt x="409" y="297"/>
                        <a:pt x="404" y="297"/>
                      </a:cubicBezTo>
                      <a:cubicBezTo>
                        <a:pt x="399" y="297"/>
                        <a:pt x="398" y="303"/>
                        <a:pt x="393" y="304"/>
                      </a:cubicBezTo>
                      <a:cubicBezTo>
                        <a:pt x="388" y="305"/>
                        <a:pt x="370" y="298"/>
                        <a:pt x="365" y="298"/>
                      </a:cubicBezTo>
                      <a:cubicBezTo>
                        <a:pt x="361" y="298"/>
                        <a:pt x="350" y="303"/>
                        <a:pt x="341" y="300"/>
                      </a:cubicBezTo>
                      <a:cubicBezTo>
                        <a:pt x="332" y="297"/>
                        <a:pt x="333" y="279"/>
                        <a:pt x="333" y="279"/>
                      </a:cubicBezTo>
                      <a:cubicBezTo>
                        <a:pt x="323" y="279"/>
                        <a:pt x="323" y="279"/>
                        <a:pt x="323" y="279"/>
                      </a:cubicBezTo>
                      <a:cubicBezTo>
                        <a:pt x="324" y="252"/>
                        <a:pt x="324" y="252"/>
                        <a:pt x="324" y="252"/>
                      </a:cubicBezTo>
                      <a:cubicBezTo>
                        <a:pt x="324" y="252"/>
                        <a:pt x="330" y="249"/>
                        <a:pt x="332" y="236"/>
                      </a:cubicBezTo>
                      <a:cubicBezTo>
                        <a:pt x="334" y="224"/>
                        <a:pt x="318" y="215"/>
                        <a:pt x="318" y="215"/>
                      </a:cubicBezTo>
                      <a:cubicBezTo>
                        <a:pt x="318" y="215"/>
                        <a:pt x="317" y="209"/>
                        <a:pt x="317" y="200"/>
                      </a:cubicBezTo>
                      <a:cubicBezTo>
                        <a:pt x="317" y="191"/>
                        <a:pt x="310" y="177"/>
                        <a:pt x="303" y="177"/>
                      </a:cubicBezTo>
                      <a:cubicBezTo>
                        <a:pt x="296" y="177"/>
                        <a:pt x="292" y="191"/>
                        <a:pt x="287" y="182"/>
                      </a:cubicBezTo>
                      <a:cubicBezTo>
                        <a:pt x="282" y="174"/>
                        <a:pt x="306" y="153"/>
                        <a:pt x="306" y="153"/>
                      </a:cubicBezTo>
                      <a:cubicBezTo>
                        <a:pt x="306" y="135"/>
                        <a:pt x="306" y="135"/>
                        <a:pt x="306" y="135"/>
                      </a:cubicBezTo>
                      <a:cubicBezTo>
                        <a:pt x="312" y="130"/>
                        <a:pt x="312" y="130"/>
                        <a:pt x="312" y="130"/>
                      </a:cubicBezTo>
                      <a:cubicBezTo>
                        <a:pt x="312" y="130"/>
                        <a:pt x="312" y="110"/>
                        <a:pt x="320" y="97"/>
                      </a:cubicBezTo>
                      <a:cubicBezTo>
                        <a:pt x="327" y="84"/>
                        <a:pt x="336" y="80"/>
                        <a:pt x="347" y="76"/>
                      </a:cubicBezTo>
                      <a:cubicBezTo>
                        <a:pt x="358" y="73"/>
                        <a:pt x="359" y="58"/>
                        <a:pt x="359" y="58"/>
                      </a:cubicBezTo>
                      <a:cubicBezTo>
                        <a:pt x="359" y="58"/>
                        <a:pt x="376" y="48"/>
                        <a:pt x="381" y="47"/>
                      </a:cubicBezTo>
                      <a:cubicBezTo>
                        <a:pt x="386" y="46"/>
                        <a:pt x="401" y="42"/>
                        <a:pt x="402" y="21"/>
                      </a:cubicBezTo>
                      <a:cubicBezTo>
                        <a:pt x="403" y="0"/>
                        <a:pt x="361" y="16"/>
                        <a:pt x="355" y="17"/>
                      </a:cubicBezTo>
                      <a:cubicBezTo>
                        <a:pt x="349" y="18"/>
                        <a:pt x="349" y="38"/>
                        <a:pt x="342" y="45"/>
                      </a:cubicBezTo>
                      <a:cubicBezTo>
                        <a:pt x="335" y="52"/>
                        <a:pt x="324" y="45"/>
                        <a:pt x="317" y="46"/>
                      </a:cubicBezTo>
                      <a:cubicBezTo>
                        <a:pt x="310" y="47"/>
                        <a:pt x="296" y="70"/>
                        <a:pt x="296" y="70"/>
                      </a:cubicBezTo>
                      <a:cubicBezTo>
                        <a:pt x="271" y="74"/>
                        <a:pt x="271" y="74"/>
                        <a:pt x="271" y="74"/>
                      </a:cubicBezTo>
                      <a:cubicBezTo>
                        <a:pt x="271" y="74"/>
                        <a:pt x="265" y="65"/>
                        <a:pt x="258" y="69"/>
                      </a:cubicBezTo>
                      <a:cubicBezTo>
                        <a:pt x="251" y="74"/>
                        <a:pt x="251" y="86"/>
                        <a:pt x="251" y="86"/>
                      </a:cubicBezTo>
                      <a:cubicBezTo>
                        <a:pt x="251" y="86"/>
                        <a:pt x="246" y="100"/>
                        <a:pt x="239" y="101"/>
                      </a:cubicBezTo>
                      <a:cubicBezTo>
                        <a:pt x="232" y="103"/>
                        <a:pt x="240" y="92"/>
                        <a:pt x="240" y="92"/>
                      </a:cubicBezTo>
                      <a:cubicBezTo>
                        <a:pt x="240" y="92"/>
                        <a:pt x="234" y="87"/>
                        <a:pt x="230" y="87"/>
                      </a:cubicBezTo>
                      <a:cubicBezTo>
                        <a:pt x="227" y="87"/>
                        <a:pt x="212" y="91"/>
                        <a:pt x="207" y="94"/>
                      </a:cubicBezTo>
                      <a:cubicBezTo>
                        <a:pt x="202" y="98"/>
                        <a:pt x="187" y="112"/>
                        <a:pt x="183" y="119"/>
                      </a:cubicBezTo>
                      <a:cubicBezTo>
                        <a:pt x="180" y="126"/>
                        <a:pt x="188" y="135"/>
                        <a:pt x="188" y="135"/>
                      </a:cubicBezTo>
                      <a:cubicBezTo>
                        <a:pt x="177" y="155"/>
                        <a:pt x="177" y="155"/>
                        <a:pt x="177" y="155"/>
                      </a:cubicBezTo>
                      <a:cubicBezTo>
                        <a:pt x="184" y="171"/>
                        <a:pt x="184" y="171"/>
                        <a:pt x="184" y="171"/>
                      </a:cubicBezTo>
                      <a:cubicBezTo>
                        <a:pt x="184" y="171"/>
                        <a:pt x="168" y="172"/>
                        <a:pt x="162" y="175"/>
                      </a:cubicBezTo>
                      <a:cubicBezTo>
                        <a:pt x="156" y="177"/>
                        <a:pt x="150" y="191"/>
                        <a:pt x="147" y="198"/>
                      </a:cubicBezTo>
                      <a:cubicBezTo>
                        <a:pt x="143" y="205"/>
                        <a:pt x="129" y="207"/>
                        <a:pt x="129" y="207"/>
                      </a:cubicBezTo>
                      <a:cubicBezTo>
                        <a:pt x="115" y="213"/>
                        <a:pt x="115" y="213"/>
                        <a:pt x="115" y="213"/>
                      </a:cubicBezTo>
                      <a:cubicBezTo>
                        <a:pt x="123" y="229"/>
                        <a:pt x="123" y="229"/>
                        <a:pt x="123" y="229"/>
                      </a:cubicBezTo>
                      <a:cubicBezTo>
                        <a:pt x="123" y="229"/>
                        <a:pt x="126" y="252"/>
                        <a:pt x="118" y="254"/>
                      </a:cubicBezTo>
                      <a:cubicBezTo>
                        <a:pt x="110" y="256"/>
                        <a:pt x="116" y="246"/>
                        <a:pt x="115" y="236"/>
                      </a:cubicBezTo>
                      <a:cubicBezTo>
                        <a:pt x="113" y="227"/>
                        <a:pt x="93" y="215"/>
                        <a:pt x="93" y="215"/>
                      </a:cubicBezTo>
                      <a:cubicBezTo>
                        <a:pt x="93" y="215"/>
                        <a:pt x="89" y="221"/>
                        <a:pt x="89" y="228"/>
                      </a:cubicBezTo>
                      <a:cubicBezTo>
                        <a:pt x="89" y="235"/>
                        <a:pt x="102" y="242"/>
                        <a:pt x="102" y="242"/>
                      </a:cubicBezTo>
                      <a:cubicBezTo>
                        <a:pt x="102" y="242"/>
                        <a:pt x="102" y="259"/>
                        <a:pt x="92" y="267"/>
                      </a:cubicBezTo>
                      <a:cubicBezTo>
                        <a:pt x="83" y="275"/>
                        <a:pt x="76" y="265"/>
                        <a:pt x="76" y="265"/>
                      </a:cubicBezTo>
                      <a:cubicBezTo>
                        <a:pt x="66" y="286"/>
                        <a:pt x="66" y="286"/>
                        <a:pt x="66" y="286"/>
                      </a:cubicBezTo>
                      <a:cubicBezTo>
                        <a:pt x="74" y="301"/>
                        <a:pt x="74" y="301"/>
                        <a:pt x="74" y="301"/>
                      </a:cubicBezTo>
                      <a:cubicBezTo>
                        <a:pt x="74" y="308"/>
                        <a:pt x="74" y="308"/>
                        <a:pt x="74" y="308"/>
                      </a:cubicBezTo>
                      <a:cubicBezTo>
                        <a:pt x="74" y="308"/>
                        <a:pt x="81" y="313"/>
                        <a:pt x="87" y="325"/>
                      </a:cubicBezTo>
                      <a:cubicBezTo>
                        <a:pt x="93" y="337"/>
                        <a:pt x="77" y="338"/>
                        <a:pt x="77" y="338"/>
                      </a:cubicBezTo>
                      <a:cubicBezTo>
                        <a:pt x="87" y="353"/>
                        <a:pt x="87" y="353"/>
                        <a:pt x="87" y="353"/>
                      </a:cubicBezTo>
                      <a:cubicBezTo>
                        <a:pt x="92" y="375"/>
                        <a:pt x="92" y="375"/>
                        <a:pt x="92" y="375"/>
                      </a:cubicBezTo>
                      <a:cubicBezTo>
                        <a:pt x="77" y="378"/>
                        <a:pt x="77" y="378"/>
                        <a:pt x="77" y="378"/>
                      </a:cubicBezTo>
                      <a:cubicBezTo>
                        <a:pt x="87" y="391"/>
                        <a:pt x="87" y="391"/>
                        <a:pt x="87" y="391"/>
                      </a:cubicBezTo>
                      <a:cubicBezTo>
                        <a:pt x="87" y="431"/>
                        <a:pt x="87" y="431"/>
                        <a:pt x="87" y="431"/>
                      </a:cubicBezTo>
                      <a:cubicBezTo>
                        <a:pt x="87" y="431"/>
                        <a:pt x="74" y="441"/>
                        <a:pt x="74" y="454"/>
                      </a:cubicBezTo>
                      <a:cubicBezTo>
                        <a:pt x="74" y="467"/>
                        <a:pt x="91" y="467"/>
                        <a:pt x="92" y="482"/>
                      </a:cubicBezTo>
                      <a:cubicBezTo>
                        <a:pt x="93" y="497"/>
                        <a:pt x="65" y="514"/>
                        <a:pt x="65" y="514"/>
                      </a:cubicBezTo>
                      <a:cubicBezTo>
                        <a:pt x="74" y="522"/>
                        <a:pt x="74" y="522"/>
                        <a:pt x="74" y="522"/>
                      </a:cubicBezTo>
                      <a:cubicBezTo>
                        <a:pt x="55" y="539"/>
                        <a:pt x="55" y="539"/>
                        <a:pt x="55" y="539"/>
                      </a:cubicBezTo>
                      <a:cubicBezTo>
                        <a:pt x="55" y="539"/>
                        <a:pt x="34" y="539"/>
                        <a:pt x="26" y="548"/>
                      </a:cubicBezTo>
                      <a:cubicBezTo>
                        <a:pt x="18" y="558"/>
                        <a:pt x="26" y="580"/>
                        <a:pt x="26" y="580"/>
                      </a:cubicBezTo>
                      <a:cubicBezTo>
                        <a:pt x="26" y="580"/>
                        <a:pt x="1" y="572"/>
                        <a:pt x="0" y="586"/>
                      </a:cubicBezTo>
                      <a:cubicBezTo>
                        <a:pt x="0" y="588"/>
                        <a:pt x="0" y="590"/>
                        <a:pt x="0" y="592"/>
                      </a:cubicBezTo>
                      <a:cubicBezTo>
                        <a:pt x="5" y="598"/>
                        <a:pt x="15" y="611"/>
                        <a:pt x="23" y="61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8" name="Chile">
                  <a:extLst>
                    <a:ext uri="{FF2B5EF4-FFF2-40B4-BE49-F238E27FC236}">
                      <a16:creationId xmlns:a16="http://schemas.microsoft.com/office/drawing/2014/main" id="{E404AD4D-1726-68F5-ED5B-200FE5D0B0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774388" y="4610363"/>
                  <a:ext cx="431876" cy="1131364"/>
                </a:xfrm>
                <a:custGeom>
                  <a:avLst/>
                  <a:gdLst>
                    <a:gd name="T0" fmla="*/ 550 w 771"/>
                    <a:gd name="T1" fmla="*/ 1864 h 2022"/>
                    <a:gd name="T2" fmla="*/ 572 w 771"/>
                    <a:gd name="T3" fmla="*/ 1906 h 2022"/>
                    <a:gd name="T4" fmla="*/ 567 w 771"/>
                    <a:gd name="T5" fmla="*/ 1954 h 2022"/>
                    <a:gd name="T6" fmla="*/ 690 w 771"/>
                    <a:gd name="T7" fmla="*/ 1981 h 2022"/>
                    <a:gd name="T8" fmla="*/ 658 w 771"/>
                    <a:gd name="T9" fmla="*/ 1993 h 2022"/>
                    <a:gd name="T10" fmla="*/ 617 w 771"/>
                    <a:gd name="T11" fmla="*/ 1988 h 2022"/>
                    <a:gd name="T12" fmla="*/ 663 w 771"/>
                    <a:gd name="T13" fmla="*/ 2010 h 2022"/>
                    <a:gd name="T14" fmla="*/ 500 w 771"/>
                    <a:gd name="T15" fmla="*/ 1974 h 2022"/>
                    <a:gd name="T16" fmla="*/ 526 w 771"/>
                    <a:gd name="T17" fmla="*/ 1935 h 2022"/>
                    <a:gd name="T18" fmla="*/ 471 w 771"/>
                    <a:gd name="T19" fmla="*/ 1945 h 2022"/>
                    <a:gd name="T20" fmla="*/ 397 w 771"/>
                    <a:gd name="T21" fmla="*/ 1867 h 2022"/>
                    <a:gd name="T22" fmla="*/ 345 w 771"/>
                    <a:gd name="T23" fmla="*/ 1873 h 2022"/>
                    <a:gd name="T24" fmla="*/ 355 w 771"/>
                    <a:gd name="T25" fmla="*/ 1822 h 2022"/>
                    <a:gd name="T26" fmla="*/ 326 w 771"/>
                    <a:gd name="T27" fmla="*/ 1841 h 2022"/>
                    <a:gd name="T28" fmla="*/ 342 w 771"/>
                    <a:gd name="T29" fmla="*/ 1820 h 2022"/>
                    <a:gd name="T30" fmla="*/ 287 w 771"/>
                    <a:gd name="T31" fmla="*/ 1789 h 2022"/>
                    <a:gd name="T32" fmla="*/ 267 w 771"/>
                    <a:gd name="T33" fmla="*/ 1739 h 2022"/>
                    <a:gd name="T34" fmla="*/ 257 w 771"/>
                    <a:gd name="T35" fmla="*/ 1697 h 2022"/>
                    <a:gd name="T36" fmla="*/ 208 w 771"/>
                    <a:gd name="T37" fmla="*/ 1688 h 2022"/>
                    <a:gd name="T38" fmla="*/ 144 w 771"/>
                    <a:gd name="T39" fmla="*/ 1339 h 2022"/>
                    <a:gd name="T40" fmla="*/ 163 w 771"/>
                    <a:gd name="T41" fmla="*/ 1391 h 2022"/>
                    <a:gd name="T42" fmla="*/ 186 w 771"/>
                    <a:gd name="T43" fmla="*/ 1483 h 2022"/>
                    <a:gd name="T44" fmla="*/ 212 w 771"/>
                    <a:gd name="T45" fmla="*/ 1463 h 2022"/>
                    <a:gd name="T46" fmla="*/ 143 w 771"/>
                    <a:gd name="T47" fmla="*/ 1440 h 2022"/>
                    <a:gd name="T48" fmla="*/ 498 w 771"/>
                    <a:gd name="T49" fmla="*/ 1874 h 2022"/>
                    <a:gd name="T50" fmla="*/ 449 w 771"/>
                    <a:gd name="T51" fmla="*/ 1842 h 2022"/>
                    <a:gd name="T52" fmla="*/ 338 w 771"/>
                    <a:gd name="T53" fmla="*/ 1747 h 2022"/>
                    <a:gd name="T54" fmla="*/ 317 w 771"/>
                    <a:gd name="T55" fmla="*/ 1650 h 2022"/>
                    <a:gd name="T56" fmla="*/ 304 w 771"/>
                    <a:gd name="T57" fmla="*/ 1533 h 2022"/>
                    <a:gd name="T58" fmla="*/ 272 w 771"/>
                    <a:gd name="T59" fmla="*/ 1443 h 2022"/>
                    <a:gd name="T60" fmla="*/ 215 w 771"/>
                    <a:gd name="T61" fmla="*/ 1320 h 2022"/>
                    <a:gd name="T62" fmla="*/ 187 w 771"/>
                    <a:gd name="T63" fmla="*/ 1196 h 2022"/>
                    <a:gd name="T64" fmla="*/ 165 w 771"/>
                    <a:gd name="T65" fmla="*/ 1085 h 2022"/>
                    <a:gd name="T66" fmla="*/ 166 w 771"/>
                    <a:gd name="T67" fmla="*/ 954 h 2022"/>
                    <a:gd name="T68" fmla="*/ 142 w 771"/>
                    <a:gd name="T69" fmla="*/ 815 h 2022"/>
                    <a:gd name="T70" fmla="*/ 109 w 771"/>
                    <a:gd name="T71" fmla="*/ 685 h 2022"/>
                    <a:gd name="T72" fmla="*/ 162 w 771"/>
                    <a:gd name="T73" fmla="*/ 498 h 2022"/>
                    <a:gd name="T74" fmla="*/ 184 w 771"/>
                    <a:gd name="T75" fmla="*/ 293 h 2022"/>
                    <a:gd name="T76" fmla="*/ 97 w 771"/>
                    <a:gd name="T77" fmla="*/ 161 h 2022"/>
                    <a:gd name="T78" fmla="*/ 45 w 771"/>
                    <a:gd name="T79" fmla="*/ 22 h 2022"/>
                    <a:gd name="T80" fmla="*/ 24 w 771"/>
                    <a:gd name="T81" fmla="*/ 182 h 2022"/>
                    <a:gd name="T82" fmla="*/ 47 w 771"/>
                    <a:gd name="T83" fmla="*/ 417 h 2022"/>
                    <a:gd name="T84" fmla="*/ 34 w 771"/>
                    <a:gd name="T85" fmla="*/ 559 h 2022"/>
                    <a:gd name="T86" fmla="*/ 47 w 771"/>
                    <a:gd name="T87" fmla="*/ 720 h 2022"/>
                    <a:gd name="T88" fmla="*/ 82 w 771"/>
                    <a:gd name="T89" fmla="*/ 947 h 2022"/>
                    <a:gd name="T90" fmla="*/ 72 w 771"/>
                    <a:gd name="T91" fmla="*/ 1102 h 2022"/>
                    <a:gd name="T92" fmla="*/ 129 w 771"/>
                    <a:gd name="T93" fmla="*/ 1299 h 2022"/>
                    <a:gd name="T94" fmla="*/ 193 w 771"/>
                    <a:gd name="T95" fmla="*/ 1313 h 2022"/>
                    <a:gd name="T96" fmla="*/ 212 w 771"/>
                    <a:gd name="T97" fmla="*/ 1403 h 2022"/>
                    <a:gd name="T98" fmla="*/ 252 w 771"/>
                    <a:gd name="T99" fmla="*/ 1497 h 2022"/>
                    <a:gd name="T100" fmla="*/ 214 w 771"/>
                    <a:gd name="T101" fmla="*/ 1535 h 2022"/>
                    <a:gd name="T102" fmla="*/ 176 w 771"/>
                    <a:gd name="T103" fmla="*/ 1528 h 2022"/>
                    <a:gd name="T104" fmla="*/ 214 w 771"/>
                    <a:gd name="T105" fmla="*/ 1567 h 2022"/>
                    <a:gd name="T106" fmla="*/ 257 w 771"/>
                    <a:gd name="T107" fmla="*/ 1604 h 2022"/>
                    <a:gd name="T108" fmla="*/ 265 w 771"/>
                    <a:gd name="T109" fmla="*/ 1686 h 2022"/>
                    <a:gd name="T110" fmla="*/ 298 w 771"/>
                    <a:gd name="T111" fmla="*/ 1731 h 2022"/>
                    <a:gd name="T112" fmla="*/ 331 w 771"/>
                    <a:gd name="T113" fmla="*/ 1762 h 2022"/>
                    <a:gd name="T114" fmla="*/ 407 w 771"/>
                    <a:gd name="T115" fmla="*/ 1821 h 2022"/>
                    <a:gd name="T116" fmla="*/ 434 w 771"/>
                    <a:gd name="T117" fmla="*/ 1876 h 2022"/>
                    <a:gd name="T118" fmla="*/ 459 w 771"/>
                    <a:gd name="T119" fmla="*/ 1893 h 2022"/>
                    <a:gd name="T120" fmla="*/ 428 w 771"/>
                    <a:gd name="T121" fmla="*/ 1927 h 20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71" h="2022">
                      <a:moveTo>
                        <a:pt x="677" y="1942"/>
                      </a:moveTo>
                      <a:cubicBezTo>
                        <a:pt x="625" y="1916"/>
                        <a:pt x="625" y="1903"/>
                        <a:pt x="625" y="1903"/>
                      </a:cubicBezTo>
                      <a:cubicBezTo>
                        <a:pt x="602" y="1903"/>
                        <a:pt x="602" y="1903"/>
                        <a:pt x="602" y="1903"/>
                      </a:cubicBezTo>
                      <a:cubicBezTo>
                        <a:pt x="606" y="1892"/>
                        <a:pt x="606" y="1892"/>
                        <a:pt x="606" y="1892"/>
                      </a:cubicBezTo>
                      <a:cubicBezTo>
                        <a:pt x="580" y="1866"/>
                        <a:pt x="580" y="1866"/>
                        <a:pt x="580" y="1866"/>
                      </a:cubicBezTo>
                      <a:cubicBezTo>
                        <a:pt x="559" y="1872"/>
                        <a:pt x="559" y="1872"/>
                        <a:pt x="559" y="1872"/>
                      </a:cubicBezTo>
                      <a:cubicBezTo>
                        <a:pt x="550" y="1864"/>
                        <a:pt x="550" y="1864"/>
                        <a:pt x="550" y="1864"/>
                      </a:cubicBezTo>
                      <a:cubicBezTo>
                        <a:pt x="543" y="1876"/>
                        <a:pt x="543" y="1876"/>
                        <a:pt x="543" y="1876"/>
                      </a:cubicBezTo>
                      <a:cubicBezTo>
                        <a:pt x="530" y="1879"/>
                        <a:pt x="530" y="1879"/>
                        <a:pt x="530" y="1879"/>
                      </a:cubicBezTo>
                      <a:cubicBezTo>
                        <a:pt x="531" y="1890"/>
                        <a:pt x="531" y="1890"/>
                        <a:pt x="531" y="1890"/>
                      </a:cubicBezTo>
                      <a:cubicBezTo>
                        <a:pt x="520" y="1892"/>
                        <a:pt x="520" y="1892"/>
                        <a:pt x="520" y="1892"/>
                      </a:cubicBezTo>
                      <a:cubicBezTo>
                        <a:pt x="521" y="1910"/>
                        <a:pt x="521" y="1910"/>
                        <a:pt x="521" y="1910"/>
                      </a:cubicBezTo>
                      <a:cubicBezTo>
                        <a:pt x="534" y="1923"/>
                        <a:pt x="557" y="1900"/>
                        <a:pt x="557" y="1900"/>
                      </a:cubicBezTo>
                      <a:cubicBezTo>
                        <a:pt x="572" y="1906"/>
                        <a:pt x="572" y="1906"/>
                        <a:pt x="572" y="1906"/>
                      </a:cubicBezTo>
                      <a:cubicBezTo>
                        <a:pt x="572" y="1919"/>
                        <a:pt x="572" y="1919"/>
                        <a:pt x="572" y="1919"/>
                      </a:cubicBezTo>
                      <a:cubicBezTo>
                        <a:pt x="572" y="1919"/>
                        <a:pt x="541" y="1934"/>
                        <a:pt x="552" y="1938"/>
                      </a:cubicBezTo>
                      <a:cubicBezTo>
                        <a:pt x="562" y="1942"/>
                        <a:pt x="615" y="1960"/>
                        <a:pt x="615" y="1960"/>
                      </a:cubicBezTo>
                      <a:cubicBezTo>
                        <a:pt x="605" y="1974"/>
                        <a:pt x="605" y="1974"/>
                        <a:pt x="605" y="1974"/>
                      </a:cubicBezTo>
                      <a:cubicBezTo>
                        <a:pt x="605" y="1974"/>
                        <a:pt x="602" y="1961"/>
                        <a:pt x="592" y="1961"/>
                      </a:cubicBezTo>
                      <a:cubicBezTo>
                        <a:pt x="582" y="1961"/>
                        <a:pt x="579" y="1968"/>
                        <a:pt x="579" y="1968"/>
                      </a:cubicBezTo>
                      <a:cubicBezTo>
                        <a:pt x="567" y="1954"/>
                        <a:pt x="567" y="1954"/>
                        <a:pt x="567" y="1954"/>
                      </a:cubicBezTo>
                      <a:cubicBezTo>
                        <a:pt x="556" y="1958"/>
                        <a:pt x="556" y="1958"/>
                        <a:pt x="556" y="1958"/>
                      </a:cubicBezTo>
                      <a:cubicBezTo>
                        <a:pt x="565" y="1965"/>
                        <a:pt x="565" y="1965"/>
                        <a:pt x="565" y="1965"/>
                      </a:cubicBezTo>
                      <a:cubicBezTo>
                        <a:pt x="544" y="1962"/>
                        <a:pt x="544" y="1962"/>
                        <a:pt x="544" y="1962"/>
                      </a:cubicBezTo>
                      <a:cubicBezTo>
                        <a:pt x="544" y="1962"/>
                        <a:pt x="550" y="1978"/>
                        <a:pt x="566" y="1978"/>
                      </a:cubicBezTo>
                      <a:cubicBezTo>
                        <a:pt x="582" y="1978"/>
                        <a:pt x="595" y="1978"/>
                        <a:pt x="595" y="1978"/>
                      </a:cubicBezTo>
                      <a:cubicBezTo>
                        <a:pt x="595" y="1978"/>
                        <a:pt x="611" y="1984"/>
                        <a:pt x="621" y="1983"/>
                      </a:cubicBezTo>
                      <a:cubicBezTo>
                        <a:pt x="631" y="1981"/>
                        <a:pt x="676" y="1981"/>
                        <a:pt x="690" y="1981"/>
                      </a:cubicBezTo>
                      <a:cubicBezTo>
                        <a:pt x="705" y="1981"/>
                        <a:pt x="725" y="1994"/>
                        <a:pt x="725" y="1994"/>
                      </a:cubicBezTo>
                      <a:cubicBezTo>
                        <a:pt x="746" y="1983"/>
                        <a:pt x="746" y="1983"/>
                        <a:pt x="746" y="1983"/>
                      </a:cubicBezTo>
                      <a:cubicBezTo>
                        <a:pt x="758" y="1987"/>
                        <a:pt x="758" y="1987"/>
                        <a:pt x="758" y="1987"/>
                      </a:cubicBezTo>
                      <a:cubicBezTo>
                        <a:pt x="770" y="1986"/>
                        <a:pt x="770" y="1986"/>
                        <a:pt x="770" y="1986"/>
                      </a:cubicBezTo>
                      <a:cubicBezTo>
                        <a:pt x="771" y="1970"/>
                        <a:pt x="771" y="1970"/>
                        <a:pt x="771" y="1970"/>
                      </a:cubicBezTo>
                      <a:cubicBezTo>
                        <a:pt x="771" y="1970"/>
                        <a:pt x="729" y="1968"/>
                        <a:pt x="677" y="1942"/>
                      </a:cubicBezTo>
                      <a:close/>
                      <a:moveTo>
                        <a:pt x="658" y="1993"/>
                      </a:moveTo>
                      <a:cubicBezTo>
                        <a:pt x="676" y="2003"/>
                        <a:pt x="676" y="2003"/>
                        <a:pt x="676" y="2003"/>
                      </a:cubicBezTo>
                      <a:cubicBezTo>
                        <a:pt x="712" y="2006"/>
                        <a:pt x="712" y="2006"/>
                        <a:pt x="712" y="2006"/>
                      </a:cubicBezTo>
                      <a:cubicBezTo>
                        <a:pt x="693" y="1988"/>
                        <a:pt x="693" y="1988"/>
                        <a:pt x="693" y="1988"/>
                      </a:cubicBezTo>
                      <a:lnTo>
                        <a:pt x="658" y="1993"/>
                      </a:lnTo>
                      <a:close/>
                      <a:moveTo>
                        <a:pt x="638" y="1997"/>
                      </a:moveTo>
                      <a:cubicBezTo>
                        <a:pt x="644" y="1991"/>
                        <a:pt x="644" y="1991"/>
                        <a:pt x="644" y="1991"/>
                      </a:cubicBezTo>
                      <a:cubicBezTo>
                        <a:pt x="617" y="1988"/>
                        <a:pt x="617" y="1988"/>
                        <a:pt x="617" y="1988"/>
                      </a:cubicBezTo>
                      <a:cubicBezTo>
                        <a:pt x="593" y="1988"/>
                        <a:pt x="593" y="1988"/>
                        <a:pt x="593" y="1988"/>
                      </a:cubicBezTo>
                      <a:cubicBezTo>
                        <a:pt x="602" y="2012"/>
                        <a:pt x="602" y="2012"/>
                        <a:pt x="602" y="2012"/>
                      </a:cubicBezTo>
                      <a:cubicBezTo>
                        <a:pt x="625" y="2014"/>
                        <a:pt x="625" y="2014"/>
                        <a:pt x="625" y="2014"/>
                      </a:cubicBezTo>
                      <a:cubicBezTo>
                        <a:pt x="619" y="2004"/>
                        <a:pt x="619" y="2004"/>
                        <a:pt x="619" y="2004"/>
                      </a:cubicBezTo>
                      <a:cubicBezTo>
                        <a:pt x="625" y="2000"/>
                        <a:pt x="625" y="2000"/>
                        <a:pt x="625" y="2000"/>
                      </a:cubicBezTo>
                      <a:cubicBezTo>
                        <a:pt x="632" y="2010"/>
                        <a:pt x="632" y="2010"/>
                        <a:pt x="632" y="2010"/>
                      </a:cubicBezTo>
                      <a:cubicBezTo>
                        <a:pt x="663" y="2010"/>
                        <a:pt x="663" y="2010"/>
                        <a:pt x="663" y="2010"/>
                      </a:cubicBezTo>
                      <a:cubicBezTo>
                        <a:pt x="673" y="2022"/>
                        <a:pt x="673" y="2022"/>
                        <a:pt x="673" y="2022"/>
                      </a:cubicBezTo>
                      <a:cubicBezTo>
                        <a:pt x="686" y="2022"/>
                        <a:pt x="686" y="2022"/>
                        <a:pt x="686" y="2022"/>
                      </a:cubicBezTo>
                      <a:cubicBezTo>
                        <a:pt x="666" y="2001"/>
                        <a:pt x="666" y="2001"/>
                        <a:pt x="666" y="2001"/>
                      </a:cubicBezTo>
                      <a:lnTo>
                        <a:pt x="638" y="1997"/>
                      </a:lnTo>
                      <a:close/>
                      <a:moveTo>
                        <a:pt x="537" y="1967"/>
                      </a:moveTo>
                      <a:cubicBezTo>
                        <a:pt x="495" y="1962"/>
                        <a:pt x="495" y="1962"/>
                        <a:pt x="495" y="1962"/>
                      </a:cubicBezTo>
                      <a:cubicBezTo>
                        <a:pt x="500" y="1974"/>
                        <a:pt x="500" y="1974"/>
                        <a:pt x="500" y="1974"/>
                      </a:cubicBezTo>
                      <a:cubicBezTo>
                        <a:pt x="527" y="1973"/>
                        <a:pt x="527" y="1973"/>
                        <a:pt x="527" y="1973"/>
                      </a:cubicBezTo>
                      <a:cubicBezTo>
                        <a:pt x="537" y="1987"/>
                        <a:pt x="537" y="1987"/>
                        <a:pt x="537" y="1987"/>
                      </a:cubicBezTo>
                      <a:cubicBezTo>
                        <a:pt x="575" y="2003"/>
                        <a:pt x="575" y="2003"/>
                        <a:pt x="575" y="2003"/>
                      </a:cubicBezTo>
                      <a:cubicBezTo>
                        <a:pt x="552" y="1983"/>
                        <a:pt x="552" y="1983"/>
                        <a:pt x="552" y="1983"/>
                      </a:cubicBezTo>
                      <a:lnTo>
                        <a:pt x="537" y="1967"/>
                      </a:lnTo>
                      <a:close/>
                      <a:moveTo>
                        <a:pt x="534" y="1924"/>
                      </a:moveTo>
                      <a:cubicBezTo>
                        <a:pt x="526" y="1935"/>
                        <a:pt x="526" y="1935"/>
                        <a:pt x="526" y="1935"/>
                      </a:cubicBezTo>
                      <a:cubicBezTo>
                        <a:pt x="530" y="1955"/>
                        <a:pt x="530" y="1955"/>
                        <a:pt x="530" y="1955"/>
                      </a:cubicBezTo>
                      <a:cubicBezTo>
                        <a:pt x="546" y="1949"/>
                        <a:pt x="546" y="1949"/>
                        <a:pt x="546" y="1949"/>
                      </a:cubicBezTo>
                      <a:lnTo>
                        <a:pt x="534" y="1924"/>
                      </a:lnTo>
                      <a:close/>
                      <a:moveTo>
                        <a:pt x="515" y="1954"/>
                      </a:moveTo>
                      <a:cubicBezTo>
                        <a:pt x="513" y="1942"/>
                        <a:pt x="513" y="1942"/>
                        <a:pt x="513" y="1942"/>
                      </a:cubicBezTo>
                      <a:cubicBezTo>
                        <a:pt x="479" y="1934"/>
                        <a:pt x="479" y="1934"/>
                        <a:pt x="479" y="1934"/>
                      </a:cubicBezTo>
                      <a:cubicBezTo>
                        <a:pt x="471" y="1945"/>
                        <a:pt x="471" y="1945"/>
                        <a:pt x="471" y="1945"/>
                      </a:cubicBezTo>
                      <a:cubicBezTo>
                        <a:pt x="472" y="1958"/>
                        <a:pt x="472" y="1958"/>
                        <a:pt x="472" y="1958"/>
                      </a:cubicBezTo>
                      <a:cubicBezTo>
                        <a:pt x="495" y="1949"/>
                        <a:pt x="495" y="1949"/>
                        <a:pt x="495" y="1949"/>
                      </a:cubicBezTo>
                      <a:lnTo>
                        <a:pt x="515" y="1954"/>
                      </a:lnTo>
                      <a:close/>
                      <a:moveTo>
                        <a:pt x="407" y="1848"/>
                      </a:moveTo>
                      <a:cubicBezTo>
                        <a:pt x="407" y="1848"/>
                        <a:pt x="381" y="1835"/>
                        <a:pt x="378" y="1847"/>
                      </a:cubicBezTo>
                      <a:cubicBezTo>
                        <a:pt x="375" y="1859"/>
                        <a:pt x="371" y="1874"/>
                        <a:pt x="375" y="1874"/>
                      </a:cubicBezTo>
                      <a:cubicBezTo>
                        <a:pt x="380" y="1874"/>
                        <a:pt x="397" y="1867"/>
                        <a:pt x="397" y="1867"/>
                      </a:cubicBezTo>
                      <a:cubicBezTo>
                        <a:pt x="399" y="1883"/>
                        <a:pt x="399" y="1883"/>
                        <a:pt x="399" y="1883"/>
                      </a:cubicBezTo>
                      <a:cubicBezTo>
                        <a:pt x="420" y="1873"/>
                        <a:pt x="420" y="1873"/>
                        <a:pt x="420" y="1873"/>
                      </a:cubicBezTo>
                      <a:cubicBezTo>
                        <a:pt x="409" y="1863"/>
                        <a:pt x="409" y="1863"/>
                        <a:pt x="409" y="1863"/>
                      </a:cubicBezTo>
                      <a:cubicBezTo>
                        <a:pt x="413" y="1851"/>
                        <a:pt x="413" y="1851"/>
                        <a:pt x="413" y="1851"/>
                      </a:cubicBezTo>
                      <a:lnTo>
                        <a:pt x="407" y="1848"/>
                      </a:lnTo>
                      <a:close/>
                      <a:moveTo>
                        <a:pt x="368" y="1886"/>
                      </a:moveTo>
                      <a:cubicBezTo>
                        <a:pt x="345" y="1873"/>
                        <a:pt x="345" y="1873"/>
                        <a:pt x="345" y="1873"/>
                      </a:cubicBezTo>
                      <a:cubicBezTo>
                        <a:pt x="362" y="1892"/>
                        <a:pt x="362" y="1892"/>
                        <a:pt x="362" y="1892"/>
                      </a:cubicBezTo>
                      <a:cubicBezTo>
                        <a:pt x="393" y="1896"/>
                        <a:pt x="393" y="1896"/>
                        <a:pt x="393" y="1896"/>
                      </a:cubicBezTo>
                      <a:cubicBezTo>
                        <a:pt x="404" y="1903"/>
                        <a:pt x="404" y="1903"/>
                        <a:pt x="404" y="1903"/>
                      </a:cubicBezTo>
                      <a:cubicBezTo>
                        <a:pt x="393" y="1889"/>
                        <a:pt x="393" y="1889"/>
                        <a:pt x="393" y="1889"/>
                      </a:cubicBezTo>
                      <a:lnTo>
                        <a:pt x="368" y="1886"/>
                      </a:lnTo>
                      <a:close/>
                      <a:moveTo>
                        <a:pt x="368" y="1835"/>
                      </a:moveTo>
                      <a:cubicBezTo>
                        <a:pt x="355" y="1822"/>
                        <a:pt x="355" y="1822"/>
                        <a:pt x="355" y="1822"/>
                      </a:cubicBezTo>
                      <a:cubicBezTo>
                        <a:pt x="351" y="1844"/>
                        <a:pt x="351" y="1844"/>
                        <a:pt x="351" y="1844"/>
                      </a:cubicBezTo>
                      <a:cubicBezTo>
                        <a:pt x="336" y="1848"/>
                        <a:pt x="336" y="1848"/>
                        <a:pt x="336" y="1848"/>
                      </a:cubicBezTo>
                      <a:cubicBezTo>
                        <a:pt x="365" y="1860"/>
                        <a:pt x="365" y="1860"/>
                        <a:pt x="365" y="1860"/>
                      </a:cubicBezTo>
                      <a:lnTo>
                        <a:pt x="368" y="1835"/>
                      </a:lnTo>
                      <a:close/>
                      <a:moveTo>
                        <a:pt x="296" y="1827"/>
                      </a:moveTo>
                      <a:cubicBezTo>
                        <a:pt x="319" y="1848"/>
                        <a:pt x="319" y="1848"/>
                        <a:pt x="319" y="1848"/>
                      </a:cubicBezTo>
                      <a:cubicBezTo>
                        <a:pt x="326" y="1841"/>
                        <a:pt x="326" y="1841"/>
                        <a:pt x="326" y="1841"/>
                      </a:cubicBezTo>
                      <a:cubicBezTo>
                        <a:pt x="306" y="1818"/>
                        <a:pt x="306" y="1818"/>
                        <a:pt x="306" y="1818"/>
                      </a:cubicBezTo>
                      <a:lnTo>
                        <a:pt x="296" y="1827"/>
                      </a:lnTo>
                      <a:close/>
                      <a:moveTo>
                        <a:pt x="342" y="1820"/>
                      </a:moveTo>
                      <a:cubicBezTo>
                        <a:pt x="335" y="1814"/>
                        <a:pt x="335" y="1814"/>
                        <a:pt x="335" y="1814"/>
                      </a:cubicBezTo>
                      <a:cubicBezTo>
                        <a:pt x="329" y="1824"/>
                        <a:pt x="329" y="1824"/>
                        <a:pt x="329" y="1824"/>
                      </a:cubicBezTo>
                      <a:cubicBezTo>
                        <a:pt x="336" y="1833"/>
                        <a:pt x="336" y="1833"/>
                        <a:pt x="336" y="1833"/>
                      </a:cubicBezTo>
                      <a:lnTo>
                        <a:pt x="342" y="1820"/>
                      </a:lnTo>
                      <a:close/>
                      <a:moveTo>
                        <a:pt x="303" y="1805"/>
                      </a:moveTo>
                      <a:cubicBezTo>
                        <a:pt x="306" y="1788"/>
                        <a:pt x="306" y="1788"/>
                        <a:pt x="306" y="1788"/>
                      </a:cubicBezTo>
                      <a:cubicBezTo>
                        <a:pt x="303" y="1763"/>
                        <a:pt x="303" y="1763"/>
                        <a:pt x="303" y="1763"/>
                      </a:cubicBezTo>
                      <a:cubicBezTo>
                        <a:pt x="292" y="1759"/>
                        <a:pt x="292" y="1759"/>
                        <a:pt x="292" y="1759"/>
                      </a:cubicBezTo>
                      <a:cubicBezTo>
                        <a:pt x="292" y="1770"/>
                        <a:pt x="292" y="1770"/>
                        <a:pt x="292" y="1770"/>
                      </a:cubicBezTo>
                      <a:cubicBezTo>
                        <a:pt x="270" y="1766"/>
                        <a:pt x="270" y="1766"/>
                        <a:pt x="270" y="1766"/>
                      </a:cubicBezTo>
                      <a:cubicBezTo>
                        <a:pt x="287" y="1789"/>
                        <a:pt x="287" y="1789"/>
                        <a:pt x="287" y="1789"/>
                      </a:cubicBezTo>
                      <a:cubicBezTo>
                        <a:pt x="283" y="1818"/>
                        <a:pt x="283" y="1818"/>
                        <a:pt x="283" y="1818"/>
                      </a:cubicBezTo>
                      <a:lnTo>
                        <a:pt x="303" y="1805"/>
                      </a:lnTo>
                      <a:close/>
                      <a:moveTo>
                        <a:pt x="243" y="1752"/>
                      </a:moveTo>
                      <a:cubicBezTo>
                        <a:pt x="254" y="1753"/>
                        <a:pt x="254" y="1753"/>
                        <a:pt x="254" y="1753"/>
                      </a:cubicBezTo>
                      <a:cubicBezTo>
                        <a:pt x="261" y="1775"/>
                        <a:pt x="261" y="1775"/>
                        <a:pt x="261" y="1775"/>
                      </a:cubicBezTo>
                      <a:cubicBezTo>
                        <a:pt x="266" y="1755"/>
                        <a:pt x="266" y="1755"/>
                        <a:pt x="266" y="1755"/>
                      </a:cubicBezTo>
                      <a:cubicBezTo>
                        <a:pt x="267" y="1739"/>
                        <a:pt x="267" y="1739"/>
                        <a:pt x="267" y="1739"/>
                      </a:cubicBezTo>
                      <a:cubicBezTo>
                        <a:pt x="250" y="1734"/>
                        <a:pt x="250" y="1734"/>
                        <a:pt x="250" y="1734"/>
                      </a:cubicBezTo>
                      <a:lnTo>
                        <a:pt x="243" y="1752"/>
                      </a:lnTo>
                      <a:close/>
                      <a:moveTo>
                        <a:pt x="248" y="1727"/>
                      </a:moveTo>
                      <a:cubicBezTo>
                        <a:pt x="253" y="1726"/>
                        <a:pt x="256" y="1717"/>
                        <a:pt x="256" y="1717"/>
                      </a:cubicBezTo>
                      <a:cubicBezTo>
                        <a:pt x="276" y="1734"/>
                        <a:pt x="276" y="1734"/>
                        <a:pt x="276" y="1734"/>
                      </a:cubicBezTo>
                      <a:cubicBezTo>
                        <a:pt x="277" y="1718"/>
                        <a:pt x="277" y="1718"/>
                        <a:pt x="277" y="1718"/>
                      </a:cubicBezTo>
                      <a:cubicBezTo>
                        <a:pt x="257" y="1697"/>
                        <a:pt x="257" y="1697"/>
                        <a:pt x="257" y="1697"/>
                      </a:cubicBezTo>
                      <a:cubicBezTo>
                        <a:pt x="257" y="1697"/>
                        <a:pt x="241" y="1674"/>
                        <a:pt x="241" y="1662"/>
                      </a:cubicBezTo>
                      <a:cubicBezTo>
                        <a:pt x="241" y="1651"/>
                        <a:pt x="230" y="1639"/>
                        <a:pt x="219" y="1633"/>
                      </a:cubicBezTo>
                      <a:cubicBezTo>
                        <a:pt x="209" y="1628"/>
                        <a:pt x="209" y="1639"/>
                        <a:pt x="209" y="1639"/>
                      </a:cubicBezTo>
                      <a:cubicBezTo>
                        <a:pt x="195" y="1635"/>
                        <a:pt x="195" y="1635"/>
                        <a:pt x="195" y="1635"/>
                      </a:cubicBezTo>
                      <a:cubicBezTo>
                        <a:pt x="195" y="1635"/>
                        <a:pt x="180" y="1662"/>
                        <a:pt x="191" y="1662"/>
                      </a:cubicBezTo>
                      <a:cubicBezTo>
                        <a:pt x="201" y="1662"/>
                        <a:pt x="221" y="1662"/>
                        <a:pt x="221" y="1662"/>
                      </a:cubicBezTo>
                      <a:cubicBezTo>
                        <a:pt x="208" y="1688"/>
                        <a:pt x="208" y="1688"/>
                        <a:pt x="208" y="1688"/>
                      </a:cubicBezTo>
                      <a:cubicBezTo>
                        <a:pt x="217" y="1688"/>
                        <a:pt x="217" y="1688"/>
                        <a:pt x="217" y="1688"/>
                      </a:cubicBezTo>
                      <a:cubicBezTo>
                        <a:pt x="231" y="1675"/>
                        <a:pt x="231" y="1675"/>
                        <a:pt x="231" y="1675"/>
                      </a:cubicBezTo>
                      <a:cubicBezTo>
                        <a:pt x="230" y="1691"/>
                        <a:pt x="230" y="1691"/>
                        <a:pt x="230" y="1691"/>
                      </a:cubicBezTo>
                      <a:cubicBezTo>
                        <a:pt x="230" y="1691"/>
                        <a:pt x="244" y="1729"/>
                        <a:pt x="248" y="1727"/>
                      </a:cubicBezTo>
                      <a:close/>
                      <a:moveTo>
                        <a:pt x="163" y="1391"/>
                      </a:moveTo>
                      <a:cubicBezTo>
                        <a:pt x="165" y="1359"/>
                        <a:pt x="165" y="1359"/>
                        <a:pt x="165" y="1359"/>
                      </a:cubicBezTo>
                      <a:cubicBezTo>
                        <a:pt x="144" y="1339"/>
                        <a:pt x="144" y="1339"/>
                        <a:pt x="144" y="1339"/>
                      </a:cubicBezTo>
                      <a:cubicBezTo>
                        <a:pt x="154" y="1329"/>
                        <a:pt x="154" y="1329"/>
                        <a:pt x="154" y="1329"/>
                      </a:cubicBezTo>
                      <a:cubicBezTo>
                        <a:pt x="140" y="1313"/>
                        <a:pt x="140" y="1313"/>
                        <a:pt x="140" y="1313"/>
                      </a:cubicBezTo>
                      <a:cubicBezTo>
                        <a:pt x="117" y="1304"/>
                        <a:pt x="117" y="1304"/>
                        <a:pt x="117" y="1304"/>
                      </a:cubicBezTo>
                      <a:cubicBezTo>
                        <a:pt x="117" y="1304"/>
                        <a:pt x="114" y="1340"/>
                        <a:pt x="123" y="1343"/>
                      </a:cubicBezTo>
                      <a:cubicBezTo>
                        <a:pt x="131" y="1346"/>
                        <a:pt x="137" y="1366"/>
                        <a:pt x="137" y="1366"/>
                      </a:cubicBezTo>
                      <a:cubicBezTo>
                        <a:pt x="133" y="1379"/>
                        <a:pt x="133" y="1379"/>
                        <a:pt x="133" y="1379"/>
                      </a:cubicBezTo>
                      <a:lnTo>
                        <a:pt x="163" y="1391"/>
                      </a:lnTo>
                      <a:close/>
                      <a:moveTo>
                        <a:pt x="163" y="1453"/>
                      </a:moveTo>
                      <a:cubicBezTo>
                        <a:pt x="170" y="1461"/>
                        <a:pt x="170" y="1461"/>
                        <a:pt x="170" y="1461"/>
                      </a:cubicBezTo>
                      <a:cubicBezTo>
                        <a:pt x="188" y="1461"/>
                        <a:pt x="188" y="1461"/>
                        <a:pt x="188" y="1461"/>
                      </a:cubicBezTo>
                      <a:cubicBezTo>
                        <a:pt x="195" y="1448"/>
                        <a:pt x="195" y="1448"/>
                        <a:pt x="195" y="1448"/>
                      </a:cubicBezTo>
                      <a:cubicBezTo>
                        <a:pt x="176" y="1453"/>
                        <a:pt x="176" y="1453"/>
                        <a:pt x="176" y="1453"/>
                      </a:cubicBezTo>
                      <a:lnTo>
                        <a:pt x="163" y="1453"/>
                      </a:lnTo>
                      <a:close/>
                      <a:moveTo>
                        <a:pt x="186" y="1483"/>
                      </a:moveTo>
                      <a:cubicBezTo>
                        <a:pt x="188" y="1495"/>
                        <a:pt x="188" y="1495"/>
                        <a:pt x="188" y="1495"/>
                      </a:cubicBezTo>
                      <a:cubicBezTo>
                        <a:pt x="204" y="1505"/>
                        <a:pt x="204" y="1505"/>
                        <a:pt x="204" y="1505"/>
                      </a:cubicBezTo>
                      <a:cubicBezTo>
                        <a:pt x="204" y="1489"/>
                        <a:pt x="204" y="1489"/>
                        <a:pt x="204" y="1489"/>
                      </a:cubicBezTo>
                      <a:cubicBezTo>
                        <a:pt x="195" y="1473"/>
                        <a:pt x="195" y="1473"/>
                        <a:pt x="195" y="1473"/>
                      </a:cubicBezTo>
                      <a:cubicBezTo>
                        <a:pt x="173" y="1474"/>
                        <a:pt x="173" y="1474"/>
                        <a:pt x="173" y="1474"/>
                      </a:cubicBezTo>
                      <a:lnTo>
                        <a:pt x="186" y="1483"/>
                      </a:lnTo>
                      <a:close/>
                      <a:moveTo>
                        <a:pt x="212" y="1463"/>
                      </a:moveTo>
                      <a:cubicBezTo>
                        <a:pt x="212" y="1463"/>
                        <a:pt x="244" y="1444"/>
                        <a:pt x="222" y="1440"/>
                      </a:cubicBezTo>
                      <a:cubicBezTo>
                        <a:pt x="201" y="1435"/>
                        <a:pt x="199" y="1463"/>
                        <a:pt x="212" y="1463"/>
                      </a:cubicBezTo>
                      <a:close/>
                      <a:moveTo>
                        <a:pt x="166" y="1409"/>
                      </a:moveTo>
                      <a:cubicBezTo>
                        <a:pt x="152" y="1420"/>
                        <a:pt x="159" y="1430"/>
                        <a:pt x="169" y="1427"/>
                      </a:cubicBezTo>
                      <a:cubicBezTo>
                        <a:pt x="181" y="1423"/>
                        <a:pt x="180" y="1399"/>
                        <a:pt x="166" y="1409"/>
                      </a:cubicBezTo>
                      <a:close/>
                      <a:moveTo>
                        <a:pt x="156" y="1437"/>
                      </a:moveTo>
                      <a:cubicBezTo>
                        <a:pt x="143" y="1440"/>
                        <a:pt x="143" y="1440"/>
                        <a:pt x="143" y="1440"/>
                      </a:cubicBezTo>
                      <a:cubicBezTo>
                        <a:pt x="150" y="1453"/>
                        <a:pt x="150" y="1453"/>
                        <a:pt x="150" y="1453"/>
                      </a:cubicBezTo>
                      <a:lnTo>
                        <a:pt x="156" y="1437"/>
                      </a:lnTo>
                      <a:close/>
                      <a:moveTo>
                        <a:pt x="476" y="1919"/>
                      </a:moveTo>
                      <a:cubicBezTo>
                        <a:pt x="485" y="1915"/>
                        <a:pt x="484" y="1925"/>
                        <a:pt x="484" y="1925"/>
                      </a:cubicBezTo>
                      <a:cubicBezTo>
                        <a:pt x="484" y="1925"/>
                        <a:pt x="499" y="1928"/>
                        <a:pt x="514" y="1925"/>
                      </a:cubicBezTo>
                      <a:cubicBezTo>
                        <a:pt x="528" y="1921"/>
                        <a:pt x="498" y="1899"/>
                        <a:pt x="498" y="1899"/>
                      </a:cubicBezTo>
                      <a:cubicBezTo>
                        <a:pt x="498" y="1874"/>
                        <a:pt x="498" y="1874"/>
                        <a:pt x="498" y="1874"/>
                      </a:cubicBezTo>
                      <a:cubicBezTo>
                        <a:pt x="523" y="1872"/>
                        <a:pt x="523" y="1872"/>
                        <a:pt x="523" y="1872"/>
                      </a:cubicBezTo>
                      <a:cubicBezTo>
                        <a:pt x="521" y="1860"/>
                        <a:pt x="521" y="1860"/>
                        <a:pt x="521" y="1860"/>
                      </a:cubicBezTo>
                      <a:cubicBezTo>
                        <a:pt x="537" y="1862"/>
                        <a:pt x="537" y="1862"/>
                        <a:pt x="537" y="1862"/>
                      </a:cubicBezTo>
                      <a:cubicBezTo>
                        <a:pt x="542" y="1850"/>
                        <a:pt x="542" y="1850"/>
                        <a:pt x="542" y="1850"/>
                      </a:cubicBezTo>
                      <a:cubicBezTo>
                        <a:pt x="527" y="1838"/>
                        <a:pt x="527" y="1838"/>
                        <a:pt x="527" y="1838"/>
                      </a:cubicBezTo>
                      <a:cubicBezTo>
                        <a:pt x="527" y="1838"/>
                        <a:pt x="507" y="1839"/>
                        <a:pt x="491" y="1837"/>
                      </a:cubicBezTo>
                      <a:cubicBezTo>
                        <a:pt x="475" y="1835"/>
                        <a:pt x="449" y="1842"/>
                        <a:pt x="449" y="1842"/>
                      </a:cubicBezTo>
                      <a:cubicBezTo>
                        <a:pt x="437" y="1830"/>
                        <a:pt x="437" y="1830"/>
                        <a:pt x="437" y="1830"/>
                      </a:cubicBezTo>
                      <a:cubicBezTo>
                        <a:pt x="413" y="1819"/>
                        <a:pt x="413" y="1819"/>
                        <a:pt x="413" y="1819"/>
                      </a:cubicBezTo>
                      <a:cubicBezTo>
                        <a:pt x="406" y="1808"/>
                        <a:pt x="406" y="1808"/>
                        <a:pt x="406" y="1808"/>
                      </a:cubicBezTo>
                      <a:cubicBezTo>
                        <a:pt x="392" y="1792"/>
                        <a:pt x="392" y="1792"/>
                        <a:pt x="392" y="1792"/>
                      </a:cubicBezTo>
                      <a:cubicBezTo>
                        <a:pt x="392" y="1792"/>
                        <a:pt x="398" y="1780"/>
                        <a:pt x="383" y="1767"/>
                      </a:cubicBezTo>
                      <a:cubicBezTo>
                        <a:pt x="368" y="1754"/>
                        <a:pt x="362" y="1772"/>
                        <a:pt x="352" y="1772"/>
                      </a:cubicBezTo>
                      <a:cubicBezTo>
                        <a:pt x="342" y="1772"/>
                        <a:pt x="338" y="1747"/>
                        <a:pt x="338" y="1747"/>
                      </a:cubicBezTo>
                      <a:cubicBezTo>
                        <a:pt x="318" y="1743"/>
                        <a:pt x="318" y="1743"/>
                        <a:pt x="318" y="1743"/>
                      </a:cubicBezTo>
                      <a:cubicBezTo>
                        <a:pt x="318" y="1743"/>
                        <a:pt x="320" y="1723"/>
                        <a:pt x="315" y="1718"/>
                      </a:cubicBezTo>
                      <a:cubicBezTo>
                        <a:pt x="310" y="1713"/>
                        <a:pt x="308" y="1697"/>
                        <a:pt x="308" y="1697"/>
                      </a:cubicBezTo>
                      <a:cubicBezTo>
                        <a:pt x="315" y="1693"/>
                        <a:pt x="315" y="1693"/>
                        <a:pt x="315" y="1693"/>
                      </a:cubicBezTo>
                      <a:cubicBezTo>
                        <a:pt x="316" y="1680"/>
                        <a:pt x="316" y="1680"/>
                        <a:pt x="316" y="1680"/>
                      </a:cubicBezTo>
                      <a:cubicBezTo>
                        <a:pt x="316" y="1680"/>
                        <a:pt x="331" y="1675"/>
                        <a:pt x="334" y="1670"/>
                      </a:cubicBezTo>
                      <a:cubicBezTo>
                        <a:pt x="337" y="1665"/>
                        <a:pt x="317" y="1650"/>
                        <a:pt x="317" y="1650"/>
                      </a:cubicBezTo>
                      <a:cubicBezTo>
                        <a:pt x="317" y="1650"/>
                        <a:pt x="333" y="1641"/>
                        <a:pt x="332" y="1638"/>
                      </a:cubicBezTo>
                      <a:cubicBezTo>
                        <a:pt x="331" y="1635"/>
                        <a:pt x="312" y="1624"/>
                        <a:pt x="312" y="1624"/>
                      </a:cubicBezTo>
                      <a:cubicBezTo>
                        <a:pt x="315" y="1594"/>
                        <a:pt x="315" y="1594"/>
                        <a:pt x="315" y="1594"/>
                      </a:cubicBezTo>
                      <a:cubicBezTo>
                        <a:pt x="326" y="1590"/>
                        <a:pt x="326" y="1590"/>
                        <a:pt x="326" y="1590"/>
                      </a:cubicBezTo>
                      <a:cubicBezTo>
                        <a:pt x="316" y="1573"/>
                        <a:pt x="316" y="1573"/>
                        <a:pt x="316" y="1573"/>
                      </a:cubicBezTo>
                      <a:cubicBezTo>
                        <a:pt x="319" y="1551"/>
                        <a:pt x="319" y="1551"/>
                        <a:pt x="319" y="1551"/>
                      </a:cubicBezTo>
                      <a:cubicBezTo>
                        <a:pt x="304" y="1533"/>
                        <a:pt x="304" y="1533"/>
                        <a:pt x="304" y="1533"/>
                      </a:cubicBezTo>
                      <a:cubicBezTo>
                        <a:pt x="307" y="1518"/>
                        <a:pt x="307" y="1518"/>
                        <a:pt x="307" y="1518"/>
                      </a:cubicBezTo>
                      <a:cubicBezTo>
                        <a:pt x="291" y="1506"/>
                        <a:pt x="291" y="1506"/>
                        <a:pt x="291" y="1506"/>
                      </a:cubicBezTo>
                      <a:cubicBezTo>
                        <a:pt x="291" y="1506"/>
                        <a:pt x="304" y="1495"/>
                        <a:pt x="307" y="1487"/>
                      </a:cubicBezTo>
                      <a:cubicBezTo>
                        <a:pt x="310" y="1479"/>
                        <a:pt x="287" y="1470"/>
                        <a:pt x="287" y="1470"/>
                      </a:cubicBezTo>
                      <a:cubicBezTo>
                        <a:pt x="287" y="1470"/>
                        <a:pt x="264" y="1463"/>
                        <a:pt x="263" y="1460"/>
                      </a:cubicBezTo>
                      <a:cubicBezTo>
                        <a:pt x="262" y="1457"/>
                        <a:pt x="294" y="1460"/>
                        <a:pt x="296" y="1449"/>
                      </a:cubicBezTo>
                      <a:cubicBezTo>
                        <a:pt x="298" y="1438"/>
                        <a:pt x="279" y="1443"/>
                        <a:pt x="272" y="1443"/>
                      </a:cubicBezTo>
                      <a:cubicBezTo>
                        <a:pt x="265" y="1443"/>
                        <a:pt x="260" y="1433"/>
                        <a:pt x="260" y="1433"/>
                      </a:cubicBezTo>
                      <a:cubicBezTo>
                        <a:pt x="260" y="1433"/>
                        <a:pt x="259" y="1416"/>
                        <a:pt x="258" y="1405"/>
                      </a:cubicBezTo>
                      <a:cubicBezTo>
                        <a:pt x="257" y="1394"/>
                        <a:pt x="241" y="1393"/>
                        <a:pt x="241" y="1393"/>
                      </a:cubicBezTo>
                      <a:cubicBezTo>
                        <a:pt x="245" y="1375"/>
                        <a:pt x="245" y="1375"/>
                        <a:pt x="245" y="1375"/>
                      </a:cubicBezTo>
                      <a:cubicBezTo>
                        <a:pt x="235" y="1370"/>
                        <a:pt x="235" y="1370"/>
                        <a:pt x="235" y="1370"/>
                      </a:cubicBezTo>
                      <a:cubicBezTo>
                        <a:pt x="235" y="1370"/>
                        <a:pt x="226" y="1366"/>
                        <a:pt x="223" y="1358"/>
                      </a:cubicBezTo>
                      <a:cubicBezTo>
                        <a:pt x="220" y="1350"/>
                        <a:pt x="215" y="1320"/>
                        <a:pt x="215" y="1320"/>
                      </a:cubicBezTo>
                      <a:cubicBezTo>
                        <a:pt x="215" y="1320"/>
                        <a:pt x="226" y="1311"/>
                        <a:pt x="231" y="1312"/>
                      </a:cubicBezTo>
                      <a:cubicBezTo>
                        <a:pt x="236" y="1313"/>
                        <a:pt x="207" y="1292"/>
                        <a:pt x="204" y="1286"/>
                      </a:cubicBezTo>
                      <a:cubicBezTo>
                        <a:pt x="201" y="1280"/>
                        <a:pt x="201" y="1261"/>
                        <a:pt x="201" y="1261"/>
                      </a:cubicBezTo>
                      <a:cubicBezTo>
                        <a:pt x="201" y="1261"/>
                        <a:pt x="194" y="1250"/>
                        <a:pt x="193" y="1244"/>
                      </a:cubicBezTo>
                      <a:cubicBezTo>
                        <a:pt x="192" y="1238"/>
                        <a:pt x="197" y="1220"/>
                        <a:pt x="197" y="1220"/>
                      </a:cubicBezTo>
                      <a:cubicBezTo>
                        <a:pt x="183" y="1212"/>
                        <a:pt x="183" y="1212"/>
                        <a:pt x="183" y="1212"/>
                      </a:cubicBezTo>
                      <a:cubicBezTo>
                        <a:pt x="183" y="1212"/>
                        <a:pt x="188" y="1204"/>
                        <a:pt x="187" y="1196"/>
                      </a:cubicBezTo>
                      <a:cubicBezTo>
                        <a:pt x="186" y="1188"/>
                        <a:pt x="176" y="1183"/>
                        <a:pt x="176" y="1183"/>
                      </a:cubicBezTo>
                      <a:cubicBezTo>
                        <a:pt x="189" y="1174"/>
                        <a:pt x="189" y="1174"/>
                        <a:pt x="189" y="1174"/>
                      </a:cubicBezTo>
                      <a:cubicBezTo>
                        <a:pt x="181" y="1146"/>
                        <a:pt x="181" y="1146"/>
                        <a:pt x="181" y="1146"/>
                      </a:cubicBezTo>
                      <a:cubicBezTo>
                        <a:pt x="181" y="1146"/>
                        <a:pt x="195" y="1141"/>
                        <a:pt x="200" y="1132"/>
                      </a:cubicBezTo>
                      <a:cubicBezTo>
                        <a:pt x="205" y="1123"/>
                        <a:pt x="186" y="1114"/>
                        <a:pt x="186" y="1114"/>
                      </a:cubicBezTo>
                      <a:cubicBezTo>
                        <a:pt x="185" y="1102"/>
                        <a:pt x="185" y="1102"/>
                        <a:pt x="185" y="1102"/>
                      </a:cubicBezTo>
                      <a:cubicBezTo>
                        <a:pt x="165" y="1085"/>
                        <a:pt x="165" y="1085"/>
                        <a:pt x="165" y="1085"/>
                      </a:cubicBezTo>
                      <a:cubicBezTo>
                        <a:pt x="165" y="1085"/>
                        <a:pt x="165" y="1064"/>
                        <a:pt x="165" y="1057"/>
                      </a:cubicBezTo>
                      <a:cubicBezTo>
                        <a:pt x="165" y="1050"/>
                        <a:pt x="153" y="1017"/>
                        <a:pt x="153" y="1017"/>
                      </a:cubicBezTo>
                      <a:cubicBezTo>
                        <a:pt x="170" y="1016"/>
                        <a:pt x="170" y="1016"/>
                        <a:pt x="170" y="1016"/>
                      </a:cubicBezTo>
                      <a:cubicBezTo>
                        <a:pt x="172" y="1004"/>
                        <a:pt x="172" y="1004"/>
                        <a:pt x="172" y="1004"/>
                      </a:cubicBezTo>
                      <a:cubicBezTo>
                        <a:pt x="172" y="1004"/>
                        <a:pt x="176" y="993"/>
                        <a:pt x="175" y="983"/>
                      </a:cubicBezTo>
                      <a:cubicBezTo>
                        <a:pt x="174" y="973"/>
                        <a:pt x="157" y="955"/>
                        <a:pt x="157" y="955"/>
                      </a:cubicBezTo>
                      <a:cubicBezTo>
                        <a:pt x="166" y="954"/>
                        <a:pt x="166" y="954"/>
                        <a:pt x="166" y="954"/>
                      </a:cubicBezTo>
                      <a:cubicBezTo>
                        <a:pt x="166" y="954"/>
                        <a:pt x="167" y="915"/>
                        <a:pt x="167" y="911"/>
                      </a:cubicBezTo>
                      <a:cubicBezTo>
                        <a:pt x="167" y="907"/>
                        <a:pt x="176" y="900"/>
                        <a:pt x="179" y="894"/>
                      </a:cubicBezTo>
                      <a:cubicBezTo>
                        <a:pt x="182" y="888"/>
                        <a:pt x="167" y="869"/>
                        <a:pt x="167" y="869"/>
                      </a:cubicBezTo>
                      <a:cubicBezTo>
                        <a:pt x="165" y="844"/>
                        <a:pt x="165" y="844"/>
                        <a:pt x="165" y="844"/>
                      </a:cubicBezTo>
                      <a:cubicBezTo>
                        <a:pt x="165" y="844"/>
                        <a:pt x="161" y="846"/>
                        <a:pt x="149" y="843"/>
                      </a:cubicBezTo>
                      <a:cubicBezTo>
                        <a:pt x="137" y="840"/>
                        <a:pt x="145" y="821"/>
                        <a:pt x="145" y="821"/>
                      </a:cubicBezTo>
                      <a:cubicBezTo>
                        <a:pt x="142" y="815"/>
                        <a:pt x="142" y="815"/>
                        <a:pt x="142" y="815"/>
                      </a:cubicBezTo>
                      <a:cubicBezTo>
                        <a:pt x="134" y="794"/>
                        <a:pt x="134" y="794"/>
                        <a:pt x="134" y="794"/>
                      </a:cubicBezTo>
                      <a:cubicBezTo>
                        <a:pt x="121" y="784"/>
                        <a:pt x="121" y="784"/>
                        <a:pt x="121" y="784"/>
                      </a:cubicBezTo>
                      <a:cubicBezTo>
                        <a:pt x="121" y="784"/>
                        <a:pt x="123" y="775"/>
                        <a:pt x="125" y="771"/>
                      </a:cubicBezTo>
                      <a:cubicBezTo>
                        <a:pt x="127" y="767"/>
                        <a:pt x="104" y="752"/>
                        <a:pt x="104" y="752"/>
                      </a:cubicBezTo>
                      <a:cubicBezTo>
                        <a:pt x="104" y="752"/>
                        <a:pt x="102" y="735"/>
                        <a:pt x="102" y="730"/>
                      </a:cubicBezTo>
                      <a:cubicBezTo>
                        <a:pt x="102" y="725"/>
                        <a:pt x="112" y="724"/>
                        <a:pt x="112" y="724"/>
                      </a:cubicBezTo>
                      <a:cubicBezTo>
                        <a:pt x="109" y="685"/>
                        <a:pt x="109" y="685"/>
                        <a:pt x="109" y="685"/>
                      </a:cubicBezTo>
                      <a:cubicBezTo>
                        <a:pt x="109" y="685"/>
                        <a:pt x="118" y="690"/>
                        <a:pt x="123" y="685"/>
                      </a:cubicBezTo>
                      <a:cubicBezTo>
                        <a:pt x="128" y="680"/>
                        <a:pt x="105" y="635"/>
                        <a:pt x="104" y="631"/>
                      </a:cubicBezTo>
                      <a:cubicBezTo>
                        <a:pt x="103" y="627"/>
                        <a:pt x="112" y="619"/>
                        <a:pt x="114" y="615"/>
                      </a:cubicBezTo>
                      <a:cubicBezTo>
                        <a:pt x="116" y="611"/>
                        <a:pt x="111" y="586"/>
                        <a:pt x="111" y="576"/>
                      </a:cubicBezTo>
                      <a:cubicBezTo>
                        <a:pt x="111" y="566"/>
                        <a:pt x="129" y="558"/>
                        <a:pt x="130" y="553"/>
                      </a:cubicBezTo>
                      <a:cubicBezTo>
                        <a:pt x="131" y="548"/>
                        <a:pt x="137" y="510"/>
                        <a:pt x="137" y="510"/>
                      </a:cubicBezTo>
                      <a:cubicBezTo>
                        <a:pt x="137" y="510"/>
                        <a:pt x="159" y="509"/>
                        <a:pt x="162" y="498"/>
                      </a:cubicBezTo>
                      <a:cubicBezTo>
                        <a:pt x="165" y="487"/>
                        <a:pt x="134" y="476"/>
                        <a:pt x="134" y="476"/>
                      </a:cubicBezTo>
                      <a:cubicBezTo>
                        <a:pt x="134" y="476"/>
                        <a:pt x="151" y="464"/>
                        <a:pt x="152" y="454"/>
                      </a:cubicBezTo>
                      <a:cubicBezTo>
                        <a:pt x="153" y="444"/>
                        <a:pt x="134" y="436"/>
                        <a:pt x="129" y="429"/>
                      </a:cubicBezTo>
                      <a:cubicBezTo>
                        <a:pt x="124" y="422"/>
                        <a:pt x="134" y="413"/>
                        <a:pt x="143" y="404"/>
                      </a:cubicBezTo>
                      <a:cubicBezTo>
                        <a:pt x="152" y="395"/>
                        <a:pt x="125" y="401"/>
                        <a:pt x="124" y="387"/>
                      </a:cubicBezTo>
                      <a:cubicBezTo>
                        <a:pt x="123" y="373"/>
                        <a:pt x="178" y="349"/>
                        <a:pt x="178" y="349"/>
                      </a:cubicBezTo>
                      <a:cubicBezTo>
                        <a:pt x="184" y="293"/>
                        <a:pt x="184" y="293"/>
                        <a:pt x="184" y="293"/>
                      </a:cubicBezTo>
                      <a:cubicBezTo>
                        <a:pt x="177" y="282"/>
                        <a:pt x="177" y="282"/>
                        <a:pt x="177" y="282"/>
                      </a:cubicBezTo>
                      <a:cubicBezTo>
                        <a:pt x="170" y="284"/>
                        <a:pt x="161" y="285"/>
                        <a:pt x="153" y="284"/>
                      </a:cubicBezTo>
                      <a:cubicBezTo>
                        <a:pt x="141" y="283"/>
                        <a:pt x="142" y="257"/>
                        <a:pt x="142" y="257"/>
                      </a:cubicBezTo>
                      <a:cubicBezTo>
                        <a:pt x="129" y="241"/>
                        <a:pt x="129" y="241"/>
                        <a:pt x="129" y="241"/>
                      </a:cubicBezTo>
                      <a:cubicBezTo>
                        <a:pt x="129" y="241"/>
                        <a:pt x="131" y="211"/>
                        <a:pt x="129" y="200"/>
                      </a:cubicBezTo>
                      <a:cubicBezTo>
                        <a:pt x="126" y="189"/>
                        <a:pt x="97" y="178"/>
                        <a:pt x="97" y="178"/>
                      </a:cubicBezTo>
                      <a:cubicBezTo>
                        <a:pt x="97" y="161"/>
                        <a:pt x="97" y="161"/>
                        <a:pt x="97" y="161"/>
                      </a:cubicBezTo>
                      <a:cubicBezTo>
                        <a:pt x="97" y="161"/>
                        <a:pt x="92" y="158"/>
                        <a:pt x="88" y="148"/>
                      </a:cubicBezTo>
                      <a:cubicBezTo>
                        <a:pt x="84" y="139"/>
                        <a:pt x="99" y="127"/>
                        <a:pt x="99" y="127"/>
                      </a:cubicBezTo>
                      <a:cubicBezTo>
                        <a:pt x="88" y="116"/>
                        <a:pt x="88" y="116"/>
                        <a:pt x="88" y="116"/>
                      </a:cubicBezTo>
                      <a:cubicBezTo>
                        <a:pt x="88" y="116"/>
                        <a:pt x="96" y="110"/>
                        <a:pt x="100" y="98"/>
                      </a:cubicBezTo>
                      <a:cubicBezTo>
                        <a:pt x="104" y="86"/>
                        <a:pt x="68" y="74"/>
                        <a:pt x="68" y="74"/>
                      </a:cubicBezTo>
                      <a:cubicBezTo>
                        <a:pt x="59" y="22"/>
                        <a:pt x="59" y="22"/>
                        <a:pt x="59" y="22"/>
                      </a:cubicBezTo>
                      <a:cubicBezTo>
                        <a:pt x="45" y="22"/>
                        <a:pt x="45" y="22"/>
                        <a:pt x="45" y="22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3" y="7"/>
                        <a:pt x="23" y="7"/>
                        <a:pt x="23" y="7"/>
                      </a:cubicBezTo>
                      <a:cubicBezTo>
                        <a:pt x="23" y="7"/>
                        <a:pt x="35" y="21"/>
                        <a:pt x="23" y="30"/>
                      </a:cubicBezTo>
                      <a:cubicBezTo>
                        <a:pt x="16" y="36"/>
                        <a:pt x="7" y="42"/>
                        <a:pt x="1" y="46"/>
                      </a:cubicBezTo>
                      <a:cubicBezTo>
                        <a:pt x="0" y="72"/>
                        <a:pt x="0" y="72"/>
                        <a:pt x="0" y="72"/>
                      </a:cubicBezTo>
                      <a:cubicBezTo>
                        <a:pt x="0" y="72"/>
                        <a:pt x="13" y="99"/>
                        <a:pt x="19" y="119"/>
                      </a:cubicBezTo>
                      <a:cubicBezTo>
                        <a:pt x="25" y="139"/>
                        <a:pt x="24" y="169"/>
                        <a:pt x="24" y="182"/>
                      </a:cubicBezTo>
                      <a:cubicBezTo>
                        <a:pt x="24" y="195"/>
                        <a:pt x="32" y="206"/>
                        <a:pt x="33" y="229"/>
                      </a:cubicBezTo>
                      <a:cubicBezTo>
                        <a:pt x="34" y="253"/>
                        <a:pt x="34" y="290"/>
                        <a:pt x="34" y="290"/>
                      </a:cubicBezTo>
                      <a:cubicBezTo>
                        <a:pt x="20" y="298"/>
                        <a:pt x="20" y="298"/>
                        <a:pt x="20" y="298"/>
                      </a:cubicBezTo>
                      <a:cubicBezTo>
                        <a:pt x="23" y="318"/>
                        <a:pt x="23" y="318"/>
                        <a:pt x="23" y="318"/>
                      </a:cubicBezTo>
                      <a:cubicBezTo>
                        <a:pt x="38" y="327"/>
                        <a:pt x="38" y="327"/>
                        <a:pt x="38" y="327"/>
                      </a:cubicBezTo>
                      <a:cubicBezTo>
                        <a:pt x="32" y="389"/>
                        <a:pt x="32" y="389"/>
                        <a:pt x="32" y="389"/>
                      </a:cubicBezTo>
                      <a:cubicBezTo>
                        <a:pt x="47" y="417"/>
                        <a:pt x="47" y="417"/>
                        <a:pt x="47" y="417"/>
                      </a:cubicBezTo>
                      <a:cubicBezTo>
                        <a:pt x="36" y="430"/>
                        <a:pt x="36" y="430"/>
                        <a:pt x="36" y="430"/>
                      </a:cubicBezTo>
                      <a:cubicBezTo>
                        <a:pt x="42" y="472"/>
                        <a:pt x="42" y="472"/>
                        <a:pt x="42" y="472"/>
                      </a:cubicBezTo>
                      <a:cubicBezTo>
                        <a:pt x="42" y="472"/>
                        <a:pt x="49" y="475"/>
                        <a:pt x="51" y="492"/>
                      </a:cubicBezTo>
                      <a:cubicBezTo>
                        <a:pt x="53" y="508"/>
                        <a:pt x="42" y="509"/>
                        <a:pt x="42" y="509"/>
                      </a:cubicBezTo>
                      <a:cubicBezTo>
                        <a:pt x="40" y="531"/>
                        <a:pt x="40" y="531"/>
                        <a:pt x="40" y="531"/>
                      </a:cubicBezTo>
                      <a:cubicBezTo>
                        <a:pt x="47" y="540"/>
                        <a:pt x="47" y="540"/>
                        <a:pt x="47" y="540"/>
                      </a:cubicBezTo>
                      <a:cubicBezTo>
                        <a:pt x="47" y="540"/>
                        <a:pt x="40" y="545"/>
                        <a:pt x="34" y="559"/>
                      </a:cubicBezTo>
                      <a:cubicBezTo>
                        <a:pt x="28" y="573"/>
                        <a:pt x="40" y="571"/>
                        <a:pt x="40" y="571"/>
                      </a:cubicBezTo>
                      <a:cubicBezTo>
                        <a:pt x="40" y="571"/>
                        <a:pt x="44" y="580"/>
                        <a:pt x="44" y="591"/>
                      </a:cubicBezTo>
                      <a:cubicBezTo>
                        <a:pt x="44" y="602"/>
                        <a:pt x="33" y="599"/>
                        <a:pt x="33" y="619"/>
                      </a:cubicBezTo>
                      <a:cubicBezTo>
                        <a:pt x="33" y="640"/>
                        <a:pt x="49" y="638"/>
                        <a:pt x="52" y="648"/>
                      </a:cubicBezTo>
                      <a:cubicBezTo>
                        <a:pt x="56" y="657"/>
                        <a:pt x="52" y="681"/>
                        <a:pt x="52" y="681"/>
                      </a:cubicBezTo>
                      <a:cubicBezTo>
                        <a:pt x="52" y="681"/>
                        <a:pt x="45" y="679"/>
                        <a:pt x="40" y="681"/>
                      </a:cubicBezTo>
                      <a:cubicBezTo>
                        <a:pt x="36" y="683"/>
                        <a:pt x="40" y="700"/>
                        <a:pt x="47" y="720"/>
                      </a:cubicBezTo>
                      <a:cubicBezTo>
                        <a:pt x="55" y="740"/>
                        <a:pt x="66" y="770"/>
                        <a:pt x="66" y="770"/>
                      </a:cubicBezTo>
                      <a:cubicBezTo>
                        <a:pt x="66" y="770"/>
                        <a:pt x="69" y="784"/>
                        <a:pt x="76" y="790"/>
                      </a:cubicBezTo>
                      <a:cubicBezTo>
                        <a:pt x="83" y="796"/>
                        <a:pt x="79" y="826"/>
                        <a:pt x="79" y="826"/>
                      </a:cubicBezTo>
                      <a:cubicBezTo>
                        <a:pt x="76" y="845"/>
                        <a:pt x="76" y="845"/>
                        <a:pt x="76" y="845"/>
                      </a:cubicBezTo>
                      <a:cubicBezTo>
                        <a:pt x="92" y="862"/>
                        <a:pt x="92" y="862"/>
                        <a:pt x="92" y="862"/>
                      </a:cubicBezTo>
                      <a:cubicBezTo>
                        <a:pt x="92" y="862"/>
                        <a:pt x="82" y="889"/>
                        <a:pt x="82" y="903"/>
                      </a:cubicBezTo>
                      <a:cubicBezTo>
                        <a:pt x="82" y="917"/>
                        <a:pt x="82" y="947"/>
                        <a:pt x="82" y="947"/>
                      </a:cubicBezTo>
                      <a:cubicBezTo>
                        <a:pt x="66" y="972"/>
                        <a:pt x="66" y="972"/>
                        <a:pt x="66" y="972"/>
                      </a:cubicBezTo>
                      <a:cubicBezTo>
                        <a:pt x="76" y="979"/>
                        <a:pt x="76" y="979"/>
                        <a:pt x="76" y="979"/>
                      </a:cubicBezTo>
                      <a:cubicBezTo>
                        <a:pt x="76" y="979"/>
                        <a:pt x="72" y="995"/>
                        <a:pt x="72" y="1004"/>
                      </a:cubicBezTo>
                      <a:cubicBezTo>
                        <a:pt x="72" y="1012"/>
                        <a:pt x="66" y="1056"/>
                        <a:pt x="66" y="1056"/>
                      </a:cubicBezTo>
                      <a:cubicBezTo>
                        <a:pt x="56" y="1058"/>
                        <a:pt x="56" y="1058"/>
                        <a:pt x="56" y="1058"/>
                      </a:cubicBezTo>
                      <a:cubicBezTo>
                        <a:pt x="56" y="1072"/>
                        <a:pt x="56" y="1072"/>
                        <a:pt x="56" y="1072"/>
                      </a:cubicBezTo>
                      <a:cubicBezTo>
                        <a:pt x="72" y="1102"/>
                        <a:pt x="72" y="1102"/>
                        <a:pt x="72" y="1102"/>
                      </a:cubicBezTo>
                      <a:cubicBezTo>
                        <a:pt x="72" y="1102"/>
                        <a:pt x="72" y="1121"/>
                        <a:pt x="72" y="1131"/>
                      </a:cubicBezTo>
                      <a:cubicBezTo>
                        <a:pt x="72" y="1142"/>
                        <a:pt x="95" y="1149"/>
                        <a:pt x="101" y="1165"/>
                      </a:cubicBezTo>
                      <a:cubicBezTo>
                        <a:pt x="107" y="1180"/>
                        <a:pt x="98" y="1218"/>
                        <a:pt x="98" y="1218"/>
                      </a:cubicBezTo>
                      <a:cubicBezTo>
                        <a:pt x="107" y="1225"/>
                        <a:pt x="107" y="1225"/>
                        <a:pt x="107" y="1225"/>
                      </a:cubicBezTo>
                      <a:cubicBezTo>
                        <a:pt x="107" y="1225"/>
                        <a:pt x="107" y="1254"/>
                        <a:pt x="107" y="1266"/>
                      </a:cubicBezTo>
                      <a:cubicBezTo>
                        <a:pt x="107" y="1278"/>
                        <a:pt x="134" y="1286"/>
                        <a:pt x="134" y="1286"/>
                      </a:cubicBezTo>
                      <a:cubicBezTo>
                        <a:pt x="129" y="1299"/>
                        <a:pt x="129" y="1299"/>
                        <a:pt x="129" y="1299"/>
                      </a:cubicBezTo>
                      <a:cubicBezTo>
                        <a:pt x="156" y="1299"/>
                        <a:pt x="156" y="1299"/>
                        <a:pt x="156" y="1299"/>
                      </a:cubicBezTo>
                      <a:cubicBezTo>
                        <a:pt x="156" y="1279"/>
                        <a:pt x="156" y="1279"/>
                        <a:pt x="156" y="1279"/>
                      </a:cubicBezTo>
                      <a:cubicBezTo>
                        <a:pt x="156" y="1279"/>
                        <a:pt x="169" y="1289"/>
                        <a:pt x="177" y="1290"/>
                      </a:cubicBezTo>
                      <a:cubicBezTo>
                        <a:pt x="186" y="1291"/>
                        <a:pt x="186" y="1277"/>
                        <a:pt x="186" y="1277"/>
                      </a:cubicBezTo>
                      <a:cubicBezTo>
                        <a:pt x="192" y="1290"/>
                        <a:pt x="192" y="1290"/>
                        <a:pt x="192" y="1290"/>
                      </a:cubicBezTo>
                      <a:cubicBezTo>
                        <a:pt x="192" y="1290"/>
                        <a:pt x="175" y="1300"/>
                        <a:pt x="173" y="1311"/>
                      </a:cubicBezTo>
                      <a:cubicBezTo>
                        <a:pt x="170" y="1322"/>
                        <a:pt x="186" y="1310"/>
                        <a:pt x="193" y="1313"/>
                      </a:cubicBezTo>
                      <a:cubicBezTo>
                        <a:pt x="200" y="1317"/>
                        <a:pt x="198" y="1330"/>
                        <a:pt x="198" y="1330"/>
                      </a:cubicBezTo>
                      <a:cubicBezTo>
                        <a:pt x="179" y="1328"/>
                        <a:pt x="179" y="1328"/>
                        <a:pt x="179" y="1328"/>
                      </a:cubicBezTo>
                      <a:cubicBezTo>
                        <a:pt x="190" y="1341"/>
                        <a:pt x="190" y="1341"/>
                        <a:pt x="190" y="1341"/>
                      </a:cubicBezTo>
                      <a:cubicBezTo>
                        <a:pt x="183" y="1349"/>
                        <a:pt x="183" y="1349"/>
                        <a:pt x="183" y="1349"/>
                      </a:cubicBezTo>
                      <a:cubicBezTo>
                        <a:pt x="195" y="1367"/>
                        <a:pt x="195" y="1367"/>
                        <a:pt x="195" y="1367"/>
                      </a:cubicBezTo>
                      <a:cubicBezTo>
                        <a:pt x="195" y="1367"/>
                        <a:pt x="188" y="1375"/>
                        <a:pt x="181" y="1384"/>
                      </a:cubicBezTo>
                      <a:cubicBezTo>
                        <a:pt x="174" y="1394"/>
                        <a:pt x="212" y="1403"/>
                        <a:pt x="212" y="1403"/>
                      </a:cubicBezTo>
                      <a:cubicBezTo>
                        <a:pt x="212" y="1403"/>
                        <a:pt x="205" y="1409"/>
                        <a:pt x="200" y="1413"/>
                      </a:cubicBezTo>
                      <a:cubicBezTo>
                        <a:pt x="195" y="1416"/>
                        <a:pt x="202" y="1427"/>
                        <a:pt x="212" y="1432"/>
                      </a:cubicBezTo>
                      <a:cubicBezTo>
                        <a:pt x="221" y="1436"/>
                        <a:pt x="234" y="1433"/>
                        <a:pt x="234" y="1433"/>
                      </a:cubicBezTo>
                      <a:cubicBezTo>
                        <a:pt x="239" y="1457"/>
                        <a:pt x="239" y="1457"/>
                        <a:pt x="239" y="1457"/>
                      </a:cubicBezTo>
                      <a:cubicBezTo>
                        <a:pt x="239" y="1457"/>
                        <a:pt x="219" y="1470"/>
                        <a:pt x="214" y="1477"/>
                      </a:cubicBezTo>
                      <a:cubicBezTo>
                        <a:pt x="209" y="1484"/>
                        <a:pt x="228" y="1485"/>
                        <a:pt x="228" y="1485"/>
                      </a:cubicBezTo>
                      <a:cubicBezTo>
                        <a:pt x="228" y="1485"/>
                        <a:pt x="252" y="1490"/>
                        <a:pt x="252" y="1497"/>
                      </a:cubicBezTo>
                      <a:cubicBezTo>
                        <a:pt x="252" y="1504"/>
                        <a:pt x="237" y="1498"/>
                        <a:pt x="227" y="1493"/>
                      </a:cubicBezTo>
                      <a:cubicBezTo>
                        <a:pt x="218" y="1488"/>
                        <a:pt x="216" y="1503"/>
                        <a:pt x="216" y="1503"/>
                      </a:cubicBezTo>
                      <a:cubicBezTo>
                        <a:pt x="235" y="1507"/>
                        <a:pt x="235" y="1507"/>
                        <a:pt x="235" y="1507"/>
                      </a:cubicBezTo>
                      <a:cubicBezTo>
                        <a:pt x="221" y="1514"/>
                        <a:pt x="221" y="1514"/>
                        <a:pt x="221" y="1514"/>
                      </a:cubicBezTo>
                      <a:cubicBezTo>
                        <a:pt x="222" y="1531"/>
                        <a:pt x="222" y="1531"/>
                        <a:pt x="222" y="1531"/>
                      </a:cubicBezTo>
                      <a:cubicBezTo>
                        <a:pt x="222" y="1531"/>
                        <a:pt x="238" y="1523"/>
                        <a:pt x="231" y="1544"/>
                      </a:cubicBezTo>
                      <a:cubicBezTo>
                        <a:pt x="224" y="1565"/>
                        <a:pt x="214" y="1535"/>
                        <a:pt x="214" y="1535"/>
                      </a:cubicBezTo>
                      <a:cubicBezTo>
                        <a:pt x="190" y="1536"/>
                        <a:pt x="190" y="1536"/>
                        <a:pt x="190" y="1536"/>
                      </a:cubicBezTo>
                      <a:cubicBezTo>
                        <a:pt x="206" y="1529"/>
                        <a:pt x="206" y="1529"/>
                        <a:pt x="206" y="1529"/>
                      </a:cubicBezTo>
                      <a:cubicBezTo>
                        <a:pt x="206" y="1529"/>
                        <a:pt x="189" y="1511"/>
                        <a:pt x="186" y="1512"/>
                      </a:cubicBezTo>
                      <a:cubicBezTo>
                        <a:pt x="182" y="1513"/>
                        <a:pt x="185" y="1522"/>
                        <a:pt x="185" y="1522"/>
                      </a:cubicBezTo>
                      <a:cubicBezTo>
                        <a:pt x="179" y="1516"/>
                        <a:pt x="179" y="1516"/>
                        <a:pt x="179" y="1516"/>
                      </a:cubicBezTo>
                      <a:cubicBezTo>
                        <a:pt x="154" y="1523"/>
                        <a:pt x="154" y="1523"/>
                        <a:pt x="154" y="1523"/>
                      </a:cubicBezTo>
                      <a:cubicBezTo>
                        <a:pt x="176" y="1528"/>
                        <a:pt x="176" y="1528"/>
                        <a:pt x="176" y="1528"/>
                      </a:cubicBezTo>
                      <a:cubicBezTo>
                        <a:pt x="176" y="1528"/>
                        <a:pt x="172" y="1531"/>
                        <a:pt x="168" y="1537"/>
                      </a:cubicBezTo>
                      <a:cubicBezTo>
                        <a:pt x="164" y="1543"/>
                        <a:pt x="148" y="1549"/>
                        <a:pt x="147" y="1558"/>
                      </a:cubicBezTo>
                      <a:cubicBezTo>
                        <a:pt x="146" y="1568"/>
                        <a:pt x="166" y="1572"/>
                        <a:pt x="169" y="1570"/>
                      </a:cubicBezTo>
                      <a:cubicBezTo>
                        <a:pt x="173" y="1568"/>
                        <a:pt x="161" y="1559"/>
                        <a:pt x="161" y="1559"/>
                      </a:cubicBezTo>
                      <a:cubicBezTo>
                        <a:pt x="176" y="1556"/>
                        <a:pt x="176" y="1556"/>
                        <a:pt x="176" y="1556"/>
                      </a:cubicBezTo>
                      <a:cubicBezTo>
                        <a:pt x="176" y="1556"/>
                        <a:pt x="183" y="1561"/>
                        <a:pt x="187" y="1565"/>
                      </a:cubicBezTo>
                      <a:cubicBezTo>
                        <a:pt x="190" y="1570"/>
                        <a:pt x="214" y="1567"/>
                        <a:pt x="214" y="1567"/>
                      </a:cubicBezTo>
                      <a:cubicBezTo>
                        <a:pt x="214" y="1567"/>
                        <a:pt x="229" y="1574"/>
                        <a:pt x="235" y="1582"/>
                      </a:cubicBezTo>
                      <a:cubicBezTo>
                        <a:pt x="241" y="1590"/>
                        <a:pt x="222" y="1598"/>
                        <a:pt x="222" y="1598"/>
                      </a:cubicBezTo>
                      <a:cubicBezTo>
                        <a:pt x="228" y="1608"/>
                        <a:pt x="228" y="1608"/>
                        <a:pt x="228" y="1608"/>
                      </a:cubicBezTo>
                      <a:cubicBezTo>
                        <a:pt x="240" y="1604"/>
                        <a:pt x="240" y="1604"/>
                        <a:pt x="240" y="1604"/>
                      </a:cubicBezTo>
                      <a:cubicBezTo>
                        <a:pt x="240" y="1615"/>
                        <a:pt x="240" y="1615"/>
                        <a:pt x="240" y="1615"/>
                      </a:cubicBezTo>
                      <a:cubicBezTo>
                        <a:pt x="252" y="1620"/>
                        <a:pt x="252" y="1620"/>
                        <a:pt x="252" y="1620"/>
                      </a:cubicBezTo>
                      <a:cubicBezTo>
                        <a:pt x="257" y="1604"/>
                        <a:pt x="257" y="1604"/>
                        <a:pt x="257" y="1604"/>
                      </a:cubicBezTo>
                      <a:cubicBezTo>
                        <a:pt x="266" y="1620"/>
                        <a:pt x="266" y="1620"/>
                        <a:pt x="266" y="1620"/>
                      </a:cubicBezTo>
                      <a:cubicBezTo>
                        <a:pt x="266" y="1620"/>
                        <a:pt x="285" y="1620"/>
                        <a:pt x="283" y="1634"/>
                      </a:cubicBezTo>
                      <a:cubicBezTo>
                        <a:pt x="280" y="1648"/>
                        <a:pt x="258" y="1632"/>
                        <a:pt x="250" y="1630"/>
                      </a:cubicBezTo>
                      <a:cubicBezTo>
                        <a:pt x="241" y="1629"/>
                        <a:pt x="248" y="1643"/>
                        <a:pt x="248" y="1643"/>
                      </a:cubicBezTo>
                      <a:cubicBezTo>
                        <a:pt x="248" y="1643"/>
                        <a:pt x="269" y="1650"/>
                        <a:pt x="270" y="1665"/>
                      </a:cubicBezTo>
                      <a:cubicBezTo>
                        <a:pt x="271" y="1679"/>
                        <a:pt x="256" y="1674"/>
                        <a:pt x="256" y="1674"/>
                      </a:cubicBezTo>
                      <a:cubicBezTo>
                        <a:pt x="265" y="1686"/>
                        <a:pt x="265" y="1686"/>
                        <a:pt x="265" y="1686"/>
                      </a:cubicBezTo>
                      <a:cubicBezTo>
                        <a:pt x="274" y="1710"/>
                        <a:pt x="274" y="1710"/>
                        <a:pt x="274" y="1710"/>
                      </a:cubicBezTo>
                      <a:cubicBezTo>
                        <a:pt x="283" y="1681"/>
                        <a:pt x="283" y="1681"/>
                        <a:pt x="283" y="1681"/>
                      </a:cubicBezTo>
                      <a:cubicBezTo>
                        <a:pt x="283" y="1701"/>
                        <a:pt x="283" y="1701"/>
                        <a:pt x="283" y="1701"/>
                      </a:cubicBezTo>
                      <a:cubicBezTo>
                        <a:pt x="296" y="1717"/>
                        <a:pt x="296" y="1717"/>
                        <a:pt x="296" y="1717"/>
                      </a:cubicBezTo>
                      <a:cubicBezTo>
                        <a:pt x="280" y="1717"/>
                        <a:pt x="280" y="1717"/>
                        <a:pt x="280" y="1717"/>
                      </a:cubicBezTo>
                      <a:cubicBezTo>
                        <a:pt x="283" y="1730"/>
                        <a:pt x="283" y="1730"/>
                        <a:pt x="283" y="1730"/>
                      </a:cubicBezTo>
                      <a:cubicBezTo>
                        <a:pt x="298" y="1731"/>
                        <a:pt x="298" y="1731"/>
                        <a:pt x="298" y="1731"/>
                      </a:cubicBezTo>
                      <a:cubicBezTo>
                        <a:pt x="289" y="1739"/>
                        <a:pt x="289" y="1739"/>
                        <a:pt x="289" y="1739"/>
                      </a:cubicBezTo>
                      <a:cubicBezTo>
                        <a:pt x="309" y="1745"/>
                        <a:pt x="309" y="1745"/>
                        <a:pt x="309" y="1745"/>
                      </a:cubicBezTo>
                      <a:cubicBezTo>
                        <a:pt x="296" y="1753"/>
                        <a:pt x="296" y="1753"/>
                        <a:pt x="296" y="1753"/>
                      </a:cubicBezTo>
                      <a:cubicBezTo>
                        <a:pt x="315" y="1760"/>
                        <a:pt x="315" y="1760"/>
                        <a:pt x="315" y="1760"/>
                      </a:cubicBezTo>
                      <a:cubicBezTo>
                        <a:pt x="310" y="1770"/>
                        <a:pt x="310" y="1770"/>
                        <a:pt x="310" y="1770"/>
                      </a:cubicBezTo>
                      <a:cubicBezTo>
                        <a:pt x="322" y="1773"/>
                        <a:pt x="322" y="1773"/>
                        <a:pt x="322" y="1773"/>
                      </a:cubicBezTo>
                      <a:cubicBezTo>
                        <a:pt x="322" y="1773"/>
                        <a:pt x="324" y="1750"/>
                        <a:pt x="331" y="1762"/>
                      </a:cubicBezTo>
                      <a:cubicBezTo>
                        <a:pt x="338" y="1773"/>
                        <a:pt x="329" y="1779"/>
                        <a:pt x="323" y="1783"/>
                      </a:cubicBezTo>
                      <a:cubicBezTo>
                        <a:pt x="317" y="1786"/>
                        <a:pt x="323" y="1794"/>
                        <a:pt x="323" y="1794"/>
                      </a:cubicBezTo>
                      <a:cubicBezTo>
                        <a:pt x="343" y="1795"/>
                        <a:pt x="343" y="1795"/>
                        <a:pt x="343" y="1795"/>
                      </a:cubicBezTo>
                      <a:cubicBezTo>
                        <a:pt x="343" y="1795"/>
                        <a:pt x="344" y="1805"/>
                        <a:pt x="350" y="1810"/>
                      </a:cubicBezTo>
                      <a:cubicBezTo>
                        <a:pt x="356" y="1815"/>
                        <a:pt x="373" y="1824"/>
                        <a:pt x="373" y="1824"/>
                      </a:cubicBezTo>
                      <a:cubicBezTo>
                        <a:pt x="370" y="1802"/>
                        <a:pt x="370" y="1802"/>
                        <a:pt x="370" y="1802"/>
                      </a:cubicBezTo>
                      <a:cubicBezTo>
                        <a:pt x="370" y="1802"/>
                        <a:pt x="391" y="1810"/>
                        <a:pt x="407" y="1821"/>
                      </a:cubicBezTo>
                      <a:cubicBezTo>
                        <a:pt x="422" y="1831"/>
                        <a:pt x="409" y="1841"/>
                        <a:pt x="409" y="1841"/>
                      </a:cubicBezTo>
                      <a:cubicBezTo>
                        <a:pt x="420" y="1848"/>
                        <a:pt x="420" y="1848"/>
                        <a:pt x="420" y="1848"/>
                      </a:cubicBezTo>
                      <a:cubicBezTo>
                        <a:pt x="419" y="1861"/>
                        <a:pt x="419" y="1861"/>
                        <a:pt x="419" y="1861"/>
                      </a:cubicBezTo>
                      <a:cubicBezTo>
                        <a:pt x="458" y="1861"/>
                        <a:pt x="458" y="1861"/>
                        <a:pt x="458" y="1861"/>
                      </a:cubicBezTo>
                      <a:cubicBezTo>
                        <a:pt x="462" y="1868"/>
                        <a:pt x="462" y="1868"/>
                        <a:pt x="462" y="1868"/>
                      </a:cubicBezTo>
                      <a:cubicBezTo>
                        <a:pt x="442" y="1868"/>
                        <a:pt x="442" y="1868"/>
                        <a:pt x="442" y="1868"/>
                      </a:cubicBezTo>
                      <a:cubicBezTo>
                        <a:pt x="434" y="1876"/>
                        <a:pt x="434" y="1876"/>
                        <a:pt x="434" y="1876"/>
                      </a:cubicBezTo>
                      <a:cubicBezTo>
                        <a:pt x="421" y="1877"/>
                        <a:pt x="421" y="1877"/>
                        <a:pt x="421" y="1877"/>
                      </a:cubicBezTo>
                      <a:cubicBezTo>
                        <a:pt x="410" y="1889"/>
                        <a:pt x="410" y="1889"/>
                        <a:pt x="410" y="1889"/>
                      </a:cubicBezTo>
                      <a:cubicBezTo>
                        <a:pt x="430" y="1892"/>
                        <a:pt x="430" y="1892"/>
                        <a:pt x="430" y="1892"/>
                      </a:cubicBezTo>
                      <a:cubicBezTo>
                        <a:pt x="426" y="1902"/>
                        <a:pt x="426" y="1902"/>
                        <a:pt x="426" y="1902"/>
                      </a:cubicBezTo>
                      <a:cubicBezTo>
                        <a:pt x="442" y="1900"/>
                        <a:pt x="442" y="1900"/>
                        <a:pt x="442" y="1900"/>
                      </a:cubicBezTo>
                      <a:cubicBezTo>
                        <a:pt x="444" y="1887"/>
                        <a:pt x="444" y="1887"/>
                        <a:pt x="444" y="1887"/>
                      </a:cubicBezTo>
                      <a:cubicBezTo>
                        <a:pt x="459" y="1893"/>
                        <a:pt x="459" y="1893"/>
                        <a:pt x="459" y="1893"/>
                      </a:cubicBezTo>
                      <a:cubicBezTo>
                        <a:pt x="459" y="1893"/>
                        <a:pt x="477" y="1868"/>
                        <a:pt x="486" y="1875"/>
                      </a:cubicBezTo>
                      <a:cubicBezTo>
                        <a:pt x="496" y="1882"/>
                        <a:pt x="467" y="1907"/>
                        <a:pt x="467" y="1907"/>
                      </a:cubicBezTo>
                      <a:cubicBezTo>
                        <a:pt x="467" y="1907"/>
                        <a:pt x="464" y="1900"/>
                        <a:pt x="455" y="1901"/>
                      </a:cubicBezTo>
                      <a:cubicBezTo>
                        <a:pt x="447" y="1902"/>
                        <a:pt x="452" y="1913"/>
                        <a:pt x="452" y="1913"/>
                      </a:cubicBezTo>
                      <a:cubicBezTo>
                        <a:pt x="440" y="1913"/>
                        <a:pt x="440" y="1913"/>
                        <a:pt x="440" y="1913"/>
                      </a:cubicBezTo>
                      <a:cubicBezTo>
                        <a:pt x="431" y="1910"/>
                        <a:pt x="419" y="1921"/>
                        <a:pt x="419" y="1921"/>
                      </a:cubicBezTo>
                      <a:cubicBezTo>
                        <a:pt x="428" y="1927"/>
                        <a:pt x="428" y="1927"/>
                        <a:pt x="428" y="1927"/>
                      </a:cubicBezTo>
                      <a:cubicBezTo>
                        <a:pt x="430" y="1945"/>
                        <a:pt x="430" y="1945"/>
                        <a:pt x="430" y="1945"/>
                      </a:cubicBezTo>
                      <a:cubicBezTo>
                        <a:pt x="450" y="1935"/>
                        <a:pt x="450" y="1935"/>
                        <a:pt x="450" y="1935"/>
                      </a:cubicBezTo>
                      <a:cubicBezTo>
                        <a:pt x="450" y="1935"/>
                        <a:pt x="455" y="1946"/>
                        <a:pt x="461" y="1945"/>
                      </a:cubicBezTo>
                      <a:cubicBezTo>
                        <a:pt x="466" y="1944"/>
                        <a:pt x="467" y="1924"/>
                        <a:pt x="476" y="1919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9" name="Brazil">
                  <a:extLst>
                    <a:ext uri="{FF2B5EF4-FFF2-40B4-BE49-F238E27FC236}">
                      <a16:creationId xmlns:a16="http://schemas.microsoft.com/office/drawing/2014/main" id="{7FCE891E-94AC-ADF8-1F0E-C356F2A7D3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653717" y="3923292"/>
                  <a:ext cx="1039996" cy="1174208"/>
                </a:xfrm>
                <a:custGeom>
                  <a:avLst/>
                  <a:gdLst>
                    <a:gd name="T0" fmla="*/ 1096 w 1858"/>
                    <a:gd name="T1" fmla="*/ 350 h 2099"/>
                    <a:gd name="T2" fmla="*/ 1201 w 1858"/>
                    <a:gd name="T3" fmla="*/ 299 h 2099"/>
                    <a:gd name="T4" fmla="*/ 1144 w 1858"/>
                    <a:gd name="T5" fmla="*/ 291 h 2099"/>
                    <a:gd name="T6" fmla="*/ 1124 w 1858"/>
                    <a:gd name="T7" fmla="*/ 270 h 2099"/>
                    <a:gd name="T8" fmla="*/ 1087 w 1858"/>
                    <a:gd name="T9" fmla="*/ 283 h 2099"/>
                    <a:gd name="T10" fmla="*/ 1837 w 1858"/>
                    <a:gd name="T11" fmla="*/ 583 h 2099"/>
                    <a:gd name="T12" fmla="*/ 1713 w 1858"/>
                    <a:gd name="T13" fmla="*/ 532 h 2099"/>
                    <a:gd name="T14" fmla="*/ 1445 w 1858"/>
                    <a:gd name="T15" fmla="*/ 412 h 2099"/>
                    <a:gd name="T16" fmla="*/ 1377 w 1858"/>
                    <a:gd name="T17" fmla="*/ 411 h 2099"/>
                    <a:gd name="T18" fmla="*/ 1258 w 1858"/>
                    <a:gd name="T19" fmla="*/ 316 h 2099"/>
                    <a:gd name="T20" fmla="*/ 1154 w 1858"/>
                    <a:gd name="T21" fmla="*/ 423 h 2099"/>
                    <a:gd name="T22" fmla="*/ 1062 w 1858"/>
                    <a:gd name="T23" fmla="*/ 356 h 2099"/>
                    <a:gd name="T24" fmla="*/ 1095 w 1858"/>
                    <a:gd name="T25" fmla="*/ 270 h 2099"/>
                    <a:gd name="T26" fmla="*/ 1063 w 1858"/>
                    <a:gd name="T27" fmla="*/ 52 h 2099"/>
                    <a:gd name="T28" fmla="*/ 971 w 1858"/>
                    <a:gd name="T29" fmla="*/ 160 h 2099"/>
                    <a:gd name="T30" fmla="*/ 888 w 1858"/>
                    <a:gd name="T31" fmla="*/ 145 h 2099"/>
                    <a:gd name="T32" fmla="*/ 807 w 1858"/>
                    <a:gd name="T33" fmla="*/ 183 h 2099"/>
                    <a:gd name="T34" fmla="*/ 702 w 1858"/>
                    <a:gd name="T35" fmla="*/ 221 h 2099"/>
                    <a:gd name="T36" fmla="*/ 664 w 1858"/>
                    <a:gd name="T37" fmla="*/ 91 h 2099"/>
                    <a:gd name="T38" fmla="*/ 641 w 1858"/>
                    <a:gd name="T39" fmla="*/ 7 h 2099"/>
                    <a:gd name="T40" fmla="*/ 559 w 1858"/>
                    <a:gd name="T41" fmla="*/ 64 h 2099"/>
                    <a:gd name="T42" fmla="*/ 460 w 1858"/>
                    <a:gd name="T43" fmla="*/ 60 h 2099"/>
                    <a:gd name="T44" fmla="*/ 493 w 1858"/>
                    <a:gd name="T45" fmla="*/ 154 h 2099"/>
                    <a:gd name="T46" fmla="*/ 393 w 1858"/>
                    <a:gd name="T47" fmla="*/ 251 h 2099"/>
                    <a:gd name="T48" fmla="*/ 306 w 1858"/>
                    <a:gd name="T49" fmla="*/ 180 h 2099"/>
                    <a:gd name="T50" fmla="*/ 191 w 1858"/>
                    <a:gd name="T51" fmla="*/ 223 h 2099"/>
                    <a:gd name="T52" fmla="*/ 197 w 1858"/>
                    <a:gd name="T53" fmla="*/ 313 h 2099"/>
                    <a:gd name="T54" fmla="*/ 183 w 1858"/>
                    <a:gd name="T55" fmla="*/ 518 h 2099"/>
                    <a:gd name="T56" fmla="*/ 66 w 1858"/>
                    <a:gd name="T57" fmla="*/ 547 h 2099"/>
                    <a:gd name="T58" fmla="*/ 9 w 1858"/>
                    <a:gd name="T59" fmla="*/ 674 h 2099"/>
                    <a:gd name="T60" fmla="*/ 43 w 1858"/>
                    <a:gd name="T61" fmla="*/ 791 h 2099"/>
                    <a:gd name="T62" fmla="*/ 170 w 1858"/>
                    <a:gd name="T63" fmla="*/ 874 h 2099"/>
                    <a:gd name="T64" fmla="*/ 288 w 1858"/>
                    <a:gd name="T65" fmla="*/ 859 h 2099"/>
                    <a:gd name="T66" fmla="*/ 405 w 1858"/>
                    <a:gd name="T67" fmla="*/ 814 h 2099"/>
                    <a:gd name="T68" fmla="*/ 442 w 1858"/>
                    <a:gd name="T69" fmla="*/ 932 h 2099"/>
                    <a:gd name="T70" fmla="*/ 552 w 1858"/>
                    <a:gd name="T71" fmla="*/ 986 h 2099"/>
                    <a:gd name="T72" fmla="*/ 675 w 1858"/>
                    <a:gd name="T73" fmla="*/ 1092 h 2099"/>
                    <a:gd name="T74" fmla="*/ 816 w 1858"/>
                    <a:gd name="T75" fmla="*/ 1262 h 2099"/>
                    <a:gd name="T76" fmla="*/ 810 w 1858"/>
                    <a:gd name="T77" fmla="*/ 1406 h 2099"/>
                    <a:gd name="T78" fmla="*/ 987 w 1858"/>
                    <a:gd name="T79" fmla="*/ 1564 h 2099"/>
                    <a:gd name="T80" fmla="*/ 1043 w 1858"/>
                    <a:gd name="T81" fmla="*/ 1690 h 2099"/>
                    <a:gd name="T82" fmla="*/ 969 w 1858"/>
                    <a:gd name="T83" fmla="*/ 1810 h 2099"/>
                    <a:gd name="T84" fmla="*/ 915 w 1858"/>
                    <a:gd name="T85" fmla="*/ 1912 h 2099"/>
                    <a:gd name="T86" fmla="*/ 1049 w 1858"/>
                    <a:gd name="T87" fmla="*/ 1978 h 2099"/>
                    <a:gd name="T88" fmla="*/ 1118 w 1858"/>
                    <a:gd name="T89" fmla="*/ 2099 h 2099"/>
                    <a:gd name="T90" fmla="*/ 1165 w 1858"/>
                    <a:gd name="T91" fmla="*/ 1984 h 2099"/>
                    <a:gd name="T92" fmla="*/ 1208 w 1858"/>
                    <a:gd name="T93" fmla="*/ 1956 h 2099"/>
                    <a:gd name="T94" fmla="*/ 1200 w 1858"/>
                    <a:gd name="T95" fmla="*/ 1987 h 2099"/>
                    <a:gd name="T96" fmla="*/ 1294 w 1858"/>
                    <a:gd name="T97" fmla="*/ 1764 h 2099"/>
                    <a:gd name="T98" fmla="*/ 1279 w 1858"/>
                    <a:gd name="T99" fmla="*/ 1678 h 2099"/>
                    <a:gd name="T100" fmla="*/ 1311 w 1858"/>
                    <a:gd name="T101" fmla="*/ 1617 h 2099"/>
                    <a:gd name="T102" fmla="*/ 1412 w 1858"/>
                    <a:gd name="T103" fmla="*/ 1561 h 2099"/>
                    <a:gd name="T104" fmla="*/ 1459 w 1858"/>
                    <a:gd name="T105" fmla="*/ 1519 h 2099"/>
                    <a:gd name="T106" fmla="*/ 1571 w 1858"/>
                    <a:gd name="T107" fmla="*/ 1506 h 2099"/>
                    <a:gd name="T108" fmla="*/ 1629 w 1858"/>
                    <a:gd name="T109" fmla="*/ 1372 h 2099"/>
                    <a:gd name="T110" fmla="*/ 1671 w 1858"/>
                    <a:gd name="T111" fmla="*/ 1213 h 2099"/>
                    <a:gd name="T112" fmla="*/ 1674 w 1858"/>
                    <a:gd name="T113" fmla="*/ 972 h 2099"/>
                    <a:gd name="T114" fmla="*/ 1782 w 1858"/>
                    <a:gd name="T115" fmla="*/ 855 h 20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858" h="2099">
                      <a:moveTo>
                        <a:pt x="1146" y="299"/>
                      </a:moveTo>
                      <a:cubicBezTo>
                        <a:pt x="1140" y="298"/>
                        <a:pt x="1112" y="291"/>
                        <a:pt x="1102" y="293"/>
                      </a:cubicBezTo>
                      <a:cubicBezTo>
                        <a:pt x="1092" y="295"/>
                        <a:pt x="1103" y="318"/>
                        <a:pt x="1103" y="318"/>
                      </a:cubicBezTo>
                      <a:cubicBezTo>
                        <a:pt x="1092" y="320"/>
                        <a:pt x="1092" y="320"/>
                        <a:pt x="1092" y="320"/>
                      </a:cubicBezTo>
                      <a:cubicBezTo>
                        <a:pt x="1092" y="336"/>
                        <a:pt x="1092" y="336"/>
                        <a:pt x="1092" y="336"/>
                      </a:cubicBezTo>
                      <a:cubicBezTo>
                        <a:pt x="1106" y="342"/>
                        <a:pt x="1106" y="342"/>
                        <a:pt x="1106" y="342"/>
                      </a:cubicBezTo>
                      <a:cubicBezTo>
                        <a:pt x="1096" y="350"/>
                        <a:pt x="1096" y="350"/>
                        <a:pt x="1096" y="350"/>
                      </a:cubicBezTo>
                      <a:cubicBezTo>
                        <a:pt x="1096" y="350"/>
                        <a:pt x="1099" y="366"/>
                        <a:pt x="1105" y="376"/>
                      </a:cubicBezTo>
                      <a:cubicBezTo>
                        <a:pt x="1112" y="386"/>
                        <a:pt x="1132" y="380"/>
                        <a:pt x="1139" y="380"/>
                      </a:cubicBezTo>
                      <a:cubicBezTo>
                        <a:pt x="1145" y="380"/>
                        <a:pt x="1144" y="372"/>
                        <a:pt x="1144" y="372"/>
                      </a:cubicBezTo>
                      <a:cubicBezTo>
                        <a:pt x="1144" y="372"/>
                        <a:pt x="1157" y="368"/>
                        <a:pt x="1168" y="368"/>
                      </a:cubicBezTo>
                      <a:cubicBezTo>
                        <a:pt x="1179" y="368"/>
                        <a:pt x="1186" y="355"/>
                        <a:pt x="1186" y="355"/>
                      </a:cubicBezTo>
                      <a:cubicBezTo>
                        <a:pt x="1195" y="326"/>
                        <a:pt x="1195" y="326"/>
                        <a:pt x="1195" y="326"/>
                      </a:cubicBezTo>
                      <a:cubicBezTo>
                        <a:pt x="1195" y="326"/>
                        <a:pt x="1202" y="312"/>
                        <a:pt x="1201" y="299"/>
                      </a:cubicBezTo>
                      <a:cubicBezTo>
                        <a:pt x="1200" y="286"/>
                        <a:pt x="1180" y="291"/>
                        <a:pt x="1169" y="291"/>
                      </a:cubicBezTo>
                      <a:cubicBezTo>
                        <a:pt x="1169" y="291"/>
                        <a:pt x="1153" y="300"/>
                        <a:pt x="1146" y="299"/>
                      </a:cubicBezTo>
                      <a:close/>
                      <a:moveTo>
                        <a:pt x="1144" y="291"/>
                      </a:moveTo>
                      <a:cubicBezTo>
                        <a:pt x="1159" y="286"/>
                        <a:pt x="1159" y="286"/>
                        <a:pt x="1159" y="286"/>
                      </a:cubicBezTo>
                      <a:cubicBezTo>
                        <a:pt x="1147" y="275"/>
                        <a:pt x="1147" y="275"/>
                        <a:pt x="1147" y="275"/>
                      </a:cubicBezTo>
                      <a:cubicBezTo>
                        <a:pt x="1132" y="292"/>
                        <a:pt x="1132" y="292"/>
                        <a:pt x="1132" y="292"/>
                      </a:cubicBezTo>
                      <a:lnTo>
                        <a:pt x="1144" y="291"/>
                      </a:lnTo>
                      <a:close/>
                      <a:moveTo>
                        <a:pt x="1124" y="270"/>
                      </a:moveTo>
                      <a:cubicBezTo>
                        <a:pt x="1110" y="271"/>
                        <a:pt x="1110" y="271"/>
                        <a:pt x="1110" y="271"/>
                      </a:cubicBezTo>
                      <a:cubicBezTo>
                        <a:pt x="1109" y="282"/>
                        <a:pt x="1109" y="282"/>
                        <a:pt x="1109" y="282"/>
                      </a:cubicBezTo>
                      <a:cubicBezTo>
                        <a:pt x="1131" y="283"/>
                        <a:pt x="1131" y="283"/>
                        <a:pt x="1131" y="283"/>
                      </a:cubicBezTo>
                      <a:cubicBezTo>
                        <a:pt x="1143" y="266"/>
                        <a:pt x="1143" y="266"/>
                        <a:pt x="1143" y="266"/>
                      </a:cubicBezTo>
                      <a:cubicBezTo>
                        <a:pt x="1134" y="255"/>
                        <a:pt x="1134" y="255"/>
                        <a:pt x="1134" y="255"/>
                      </a:cubicBezTo>
                      <a:lnTo>
                        <a:pt x="1124" y="270"/>
                      </a:lnTo>
                      <a:close/>
                      <a:moveTo>
                        <a:pt x="1050" y="326"/>
                      </a:moveTo>
                      <a:cubicBezTo>
                        <a:pt x="1047" y="340"/>
                        <a:pt x="1047" y="340"/>
                        <a:pt x="1047" y="340"/>
                      </a:cubicBezTo>
                      <a:cubicBezTo>
                        <a:pt x="1037" y="363"/>
                        <a:pt x="1037" y="363"/>
                        <a:pt x="1037" y="363"/>
                      </a:cubicBezTo>
                      <a:cubicBezTo>
                        <a:pt x="1057" y="351"/>
                        <a:pt x="1057" y="351"/>
                        <a:pt x="1057" y="351"/>
                      </a:cubicBezTo>
                      <a:cubicBezTo>
                        <a:pt x="1057" y="351"/>
                        <a:pt x="1079" y="321"/>
                        <a:pt x="1071" y="316"/>
                      </a:cubicBezTo>
                      <a:cubicBezTo>
                        <a:pt x="1062" y="310"/>
                        <a:pt x="1050" y="326"/>
                        <a:pt x="1050" y="326"/>
                      </a:cubicBezTo>
                      <a:close/>
                      <a:moveTo>
                        <a:pt x="1087" y="283"/>
                      </a:moveTo>
                      <a:cubicBezTo>
                        <a:pt x="1074" y="299"/>
                        <a:pt x="1074" y="299"/>
                        <a:pt x="1074" y="299"/>
                      </a:cubicBezTo>
                      <a:cubicBezTo>
                        <a:pt x="1085" y="304"/>
                        <a:pt x="1085" y="304"/>
                        <a:pt x="1085" y="304"/>
                      </a:cubicBezTo>
                      <a:cubicBezTo>
                        <a:pt x="1096" y="287"/>
                        <a:pt x="1096" y="287"/>
                        <a:pt x="1096" y="287"/>
                      </a:cubicBezTo>
                      <a:lnTo>
                        <a:pt x="1087" y="283"/>
                      </a:lnTo>
                      <a:close/>
                      <a:moveTo>
                        <a:pt x="1855" y="667"/>
                      </a:moveTo>
                      <a:cubicBezTo>
                        <a:pt x="1855" y="650"/>
                        <a:pt x="1839" y="626"/>
                        <a:pt x="1838" y="615"/>
                      </a:cubicBezTo>
                      <a:cubicBezTo>
                        <a:pt x="1837" y="604"/>
                        <a:pt x="1837" y="592"/>
                        <a:pt x="1837" y="583"/>
                      </a:cubicBezTo>
                      <a:cubicBezTo>
                        <a:pt x="1837" y="574"/>
                        <a:pt x="1819" y="558"/>
                        <a:pt x="1819" y="558"/>
                      </a:cubicBezTo>
                      <a:cubicBezTo>
                        <a:pt x="1798" y="554"/>
                        <a:pt x="1798" y="554"/>
                        <a:pt x="1798" y="554"/>
                      </a:cubicBezTo>
                      <a:cubicBezTo>
                        <a:pt x="1764" y="559"/>
                        <a:pt x="1764" y="559"/>
                        <a:pt x="1764" y="559"/>
                      </a:cubicBezTo>
                      <a:cubicBezTo>
                        <a:pt x="1753" y="549"/>
                        <a:pt x="1753" y="549"/>
                        <a:pt x="1753" y="549"/>
                      </a:cubicBezTo>
                      <a:cubicBezTo>
                        <a:pt x="1740" y="548"/>
                        <a:pt x="1740" y="548"/>
                        <a:pt x="1740" y="548"/>
                      </a:cubicBezTo>
                      <a:cubicBezTo>
                        <a:pt x="1728" y="533"/>
                        <a:pt x="1728" y="533"/>
                        <a:pt x="1728" y="533"/>
                      </a:cubicBezTo>
                      <a:cubicBezTo>
                        <a:pt x="1713" y="532"/>
                        <a:pt x="1713" y="532"/>
                        <a:pt x="1713" y="532"/>
                      </a:cubicBezTo>
                      <a:cubicBezTo>
                        <a:pt x="1713" y="532"/>
                        <a:pt x="1695" y="512"/>
                        <a:pt x="1678" y="491"/>
                      </a:cubicBezTo>
                      <a:cubicBezTo>
                        <a:pt x="1661" y="470"/>
                        <a:pt x="1612" y="439"/>
                        <a:pt x="1596" y="438"/>
                      </a:cubicBezTo>
                      <a:cubicBezTo>
                        <a:pt x="1580" y="437"/>
                        <a:pt x="1547" y="439"/>
                        <a:pt x="1547" y="439"/>
                      </a:cubicBezTo>
                      <a:cubicBezTo>
                        <a:pt x="1547" y="449"/>
                        <a:pt x="1547" y="449"/>
                        <a:pt x="1547" y="449"/>
                      </a:cubicBezTo>
                      <a:cubicBezTo>
                        <a:pt x="1547" y="449"/>
                        <a:pt x="1532" y="439"/>
                        <a:pt x="1525" y="436"/>
                      </a:cubicBezTo>
                      <a:cubicBezTo>
                        <a:pt x="1518" y="433"/>
                        <a:pt x="1492" y="432"/>
                        <a:pt x="1492" y="432"/>
                      </a:cubicBezTo>
                      <a:cubicBezTo>
                        <a:pt x="1492" y="432"/>
                        <a:pt x="1464" y="415"/>
                        <a:pt x="1445" y="412"/>
                      </a:cubicBezTo>
                      <a:cubicBezTo>
                        <a:pt x="1426" y="409"/>
                        <a:pt x="1406" y="442"/>
                        <a:pt x="1406" y="442"/>
                      </a:cubicBezTo>
                      <a:cubicBezTo>
                        <a:pt x="1395" y="429"/>
                        <a:pt x="1395" y="429"/>
                        <a:pt x="1395" y="429"/>
                      </a:cubicBezTo>
                      <a:cubicBezTo>
                        <a:pt x="1395" y="451"/>
                        <a:pt x="1395" y="451"/>
                        <a:pt x="1395" y="451"/>
                      </a:cubicBezTo>
                      <a:cubicBezTo>
                        <a:pt x="1375" y="466"/>
                        <a:pt x="1375" y="466"/>
                        <a:pt x="1375" y="466"/>
                      </a:cubicBezTo>
                      <a:cubicBezTo>
                        <a:pt x="1386" y="422"/>
                        <a:pt x="1386" y="422"/>
                        <a:pt x="1386" y="422"/>
                      </a:cubicBezTo>
                      <a:cubicBezTo>
                        <a:pt x="1386" y="422"/>
                        <a:pt x="1404" y="412"/>
                        <a:pt x="1397" y="402"/>
                      </a:cubicBezTo>
                      <a:cubicBezTo>
                        <a:pt x="1390" y="392"/>
                        <a:pt x="1377" y="411"/>
                        <a:pt x="1377" y="411"/>
                      </a:cubicBezTo>
                      <a:cubicBezTo>
                        <a:pt x="1386" y="389"/>
                        <a:pt x="1386" y="389"/>
                        <a:pt x="1386" y="389"/>
                      </a:cubicBezTo>
                      <a:cubicBezTo>
                        <a:pt x="1386" y="389"/>
                        <a:pt x="1377" y="388"/>
                        <a:pt x="1378" y="381"/>
                      </a:cubicBezTo>
                      <a:cubicBezTo>
                        <a:pt x="1379" y="374"/>
                        <a:pt x="1358" y="365"/>
                        <a:pt x="1358" y="365"/>
                      </a:cubicBezTo>
                      <a:cubicBezTo>
                        <a:pt x="1350" y="377"/>
                        <a:pt x="1350" y="377"/>
                        <a:pt x="1350" y="377"/>
                      </a:cubicBezTo>
                      <a:cubicBezTo>
                        <a:pt x="1350" y="377"/>
                        <a:pt x="1337" y="360"/>
                        <a:pt x="1327" y="350"/>
                      </a:cubicBezTo>
                      <a:cubicBezTo>
                        <a:pt x="1317" y="340"/>
                        <a:pt x="1290" y="342"/>
                        <a:pt x="1286" y="338"/>
                      </a:cubicBezTo>
                      <a:cubicBezTo>
                        <a:pt x="1282" y="334"/>
                        <a:pt x="1258" y="316"/>
                        <a:pt x="1258" y="316"/>
                      </a:cubicBezTo>
                      <a:cubicBezTo>
                        <a:pt x="1252" y="324"/>
                        <a:pt x="1252" y="324"/>
                        <a:pt x="1252" y="324"/>
                      </a:cubicBezTo>
                      <a:cubicBezTo>
                        <a:pt x="1252" y="324"/>
                        <a:pt x="1231" y="323"/>
                        <a:pt x="1221" y="322"/>
                      </a:cubicBezTo>
                      <a:cubicBezTo>
                        <a:pt x="1211" y="321"/>
                        <a:pt x="1203" y="356"/>
                        <a:pt x="1203" y="356"/>
                      </a:cubicBezTo>
                      <a:cubicBezTo>
                        <a:pt x="1210" y="368"/>
                        <a:pt x="1210" y="368"/>
                        <a:pt x="1210" y="368"/>
                      </a:cubicBezTo>
                      <a:cubicBezTo>
                        <a:pt x="1210" y="368"/>
                        <a:pt x="1196" y="369"/>
                        <a:pt x="1188" y="369"/>
                      </a:cubicBezTo>
                      <a:cubicBezTo>
                        <a:pt x="1180" y="369"/>
                        <a:pt x="1168" y="391"/>
                        <a:pt x="1168" y="391"/>
                      </a:cubicBezTo>
                      <a:cubicBezTo>
                        <a:pt x="1168" y="391"/>
                        <a:pt x="1161" y="424"/>
                        <a:pt x="1154" y="423"/>
                      </a:cubicBezTo>
                      <a:cubicBezTo>
                        <a:pt x="1147" y="422"/>
                        <a:pt x="1163" y="397"/>
                        <a:pt x="1160" y="386"/>
                      </a:cubicBezTo>
                      <a:cubicBezTo>
                        <a:pt x="1157" y="375"/>
                        <a:pt x="1137" y="396"/>
                        <a:pt x="1137" y="396"/>
                      </a:cubicBezTo>
                      <a:cubicBezTo>
                        <a:pt x="1130" y="390"/>
                        <a:pt x="1130" y="390"/>
                        <a:pt x="1130" y="390"/>
                      </a:cubicBezTo>
                      <a:cubicBezTo>
                        <a:pt x="1130" y="390"/>
                        <a:pt x="1109" y="395"/>
                        <a:pt x="1098" y="388"/>
                      </a:cubicBezTo>
                      <a:cubicBezTo>
                        <a:pt x="1087" y="381"/>
                        <a:pt x="1089" y="371"/>
                        <a:pt x="1089" y="358"/>
                      </a:cubicBezTo>
                      <a:cubicBezTo>
                        <a:pt x="1089" y="345"/>
                        <a:pt x="1084" y="337"/>
                        <a:pt x="1084" y="337"/>
                      </a:cubicBezTo>
                      <a:cubicBezTo>
                        <a:pt x="1077" y="330"/>
                        <a:pt x="1062" y="356"/>
                        <a:pt x="1062" y="356"/>
                      </a:cubicBezTo>
                      <a:cubicBezTo>
                        <a:pt x="1062" y="356"/>
                        <a:pt x="1041" y="371"/>
                        <a:pt x="1029" y="373"/>
                      </a:cubicBezTo>
                      <a:cubicBezTo>
                        <a:pt x="1017" y="375"/>
                        <a:pt x="1003" y="368"/>
                        <a:pt x="1003" y="368"/>
                      </a:cubicBezTo>
                      <a:cubicBezTo>
                        <a:pt x="1029" y="360"/>
                        <a:pt x="1029" y="360"/>
                        <a:pt x="1029" y="360"/>
                      </a:cubicBezTo>
                      <a:cubicBezTo>
                        <a:pt x="1029" y="360"/>
                        <a:pt x="1039" y="348"/>
                        <a:pt x="1042" y="343"/>
                      </a:cubicBezTo>
                      <a:cubicBezTo>
                        <a:pt x="1045" y="338"/>
                        <a:pt x="1044" y="326"/>
                        <a:pt x="1044" y="326"/>
                      </a:cubicBezTo>
                      <a:cubicBezTo>
                        <a:pt x="1044" y="326"/>
                        <a:pt x="1053" y="320"/>
                        <a:pt x="1057" y="308"/>
                      </a:cubicBezTo>
                      <a:cubicBezTo>
                        <a:pt x="1061" y="296"/>
                        <a:pt x="1085" y="277"/>
                        <a:pt x="1095" y="270"/>
                      </a:cubicBezTo>
                      <a:cubicBezTo>
                        <a:pt x="1105" y="263"/>
                        <a:pt x="1107" y="254"/>
                        <a:pt x="1111" y="245"/>
                      </a:cubicBezTo>
                      <a:cubicBezTo>
                        <a:pt x="1115" y="236"/>
                        <a:pt x="1136" y="223"/>
                        <a:pt x="1136" y="223"/>
                      </a:cubicBezTo>
                      <a:cubicBezTo>
                        <a:pt x="1123" y="221"/>
                        <a:pt x="1123" y="221"/>
                        <a:pt x="1123" y="221"/>
                      </a:cubicBezTo>
                      <a:cubicBezTo>
                        <a:pt x="1123" y="221"/>
                        <a:pt x="1135" y="215"/>
                        <a:pt x="1135" y="199"/>
                      </a:cubicBezTo>
                      <a:cubicBezTo>
                        <a:pt x="1135" y="183"/>
                        <a:pt x="1108" y="192"/>
                        <a:pt x="1098" y="181"/>
                      </a:cubicBezTo>
                      <a:cubicBezTo>
                        <a:pt x="1088" y="170"/>
                        <a:pt x="1088" y="147"/>
                        <a:pt x="1084" y="110"/>
                      </a:cubicBezTo>
                      <a:cubicBezTo>
                        <a:pt x="1080" y="73"/>
                        <a:pt x="1072" y="55"/>
                        <a:pt x="1063" y="52"/>
                      </a:cubicBezTo>
                      <a:cubicBezTo>
                        <a:pt x="1054" y="49"/>
                        <a:pt x="1060" y="68"/>
                        <a:pt x="1060" y="72"/>
                      </a:cubicBezTo>
                      <a:cubicBezTo>
                        <a:pt x="1060" y="76"/>
                        <a:pt x="1050" y="71"/>
                        <a:pt x="1048" y="66"/>
                      </a:cubicBezTo>
                      <a:cubicBezTo>
                        <a:pt x="1048" y="66"/>
                        <a:pt x="1043" y="83"/>
                        <a:pt x="1036" y="89"/>
                      </a:cubicBezTo>
                      <a:cubicBezTo>
                        <a:pt x="1029" y="95"/>
                        <a:pt x="1020" y="110"/>
                        <a:pt x="1017" y="120"/>
                      </a:cubicBezTo>
                      <a:cubicBezTo>
                        <a:pt x="1014" y="130"/>
                        <a:pt x="1013" y="149"/>
                        <a:pt x="996" y="163"/>
                      </a:cubicBezTo>
                      <a:cubicBezTo>
                        <a:pt x="996" y="163"/>
                        <a:pt x="981" y="169"/>
                        <a:pt x="975" y="169"/>
                      </a:cubicBezTo>
                      <a:cubicBezTo>
                        <a:pt x="975" y="168"/>
                        <a:pt x="971" y="160"/>
                        <a:pt x="971" y="160"/>
                      </a:cubicBezTo>
                      <a:cubicBezTo>
                        <a:pt x="967" y="165"/>
                        <a:pt x="967" y="165"/>
                        <a:pt x="967" y="165"/>
                      </a:cubicBezTo>
                      <a:cubicBezTo>
                        <a:pt x="957" y="163"/>
                        <a:pt x="957" y="163"/>
                        <a:pt x="957" y="163"/>
                      </a:cubicBezTo>
                      <a:cubicBezTo>
                        <a:pt x="957" y="163"/>
                        <a:pt x="953" y="155"/>
                        <a:pt x="947" y="161"/>
                      </a:cubicBezTo>
                      <a:cubicBezTo>
                        <a:pt x="941" y="167"/>
                        <a:pt x="943" y="173"/>
                        <a:pt x="929" y="172"/>
                      </a:cubicBezTo>
                      <a:cubicBezTo>
                        <a:pt x="915" y="171"/>
                        <a:pt x="913" y="161"/>
                        <a:pt x="913" y="161"/>
                      </a:cubicBezTo>
                      <a:cubicBezTo>
                        <a:pt x="900" y="155"/>
                        <a:pt x="900" y="155"/>
                        <a:pt x="900" y="155"/>
                      </a:cubicBezTo>
                      <a:cubicBezTo>
                        <a:pt x="900" y="155"/>
                        <a:pt x="896" y="144"/>
                        <a:pt x="888" y="145"/>
                      </a:cubicBezTo>
                      <a:cubicBezTo>
                        <a:pt x="880" y="146"/>
                        <a:pt x="871" y="157"/>
                        <a:pt x="871" y="157"/>
                      </a:cubicBezTo>
                      <a:cubicBezTo>
                        <a:pt x="853" y="157"/>
                        <a:pt x="853" y="157"/>
                        <a:pt x="853" y="157"/>
                      </a:cubicBezTo>
                      <a:cubicBezTo>
                        <a:pt x="853" y="157"/>
                        <a:pt x="854" y="148"/>
                        <a:pt x="848" y="149"/>
                      </a:cubicBezTo>
                      <a:cubicBezTo>
                        <a:pt x="842" y="150"/>
                        <a:pt x="838" y="160"/>
                        <a:pt x="841" y="166"/>
                      </a:cubicBezTo>
                      <a:cubicBezTo>
                        <a:pt x="844" y="172"/>
                        <a:pt x="858" y="182"/>
                        <a:pt x="849" y="186"/>
                      </a:cubicBezTo>
                      <a:cubicBezTo>
                        <a:pt x="840" y="190"/>
                        <a:pt x="811" y="174"/>
                        <a:pt x="811" y="174"/>
                      </a:cubicBezTo>
                      <a:cubicBezTo>
                        <a:pt x="811" y="174"/>
                        <a:pt x="815" y="181"/>
                        <a:pt x="807" y="183"/>
                      </a:cubicBezTo>
                      <a:cubicBezTo>
                        <a:pt x="799" y="185"/>
                        <a:pt x="797" y="174"/>
                        <a:pt x="787" y="175"/>
                      </a:cubicBezTo>
                      <a:cubicBezTo>
                        <a:pt x="777" y="176"/>
                        <a:pt x="773" y="192"/>
                        <a:pt x="773" y="192"/>
                      </a:cubicBezTo>
                      <a:cubicBezTo>
                        <a:pt x="752" y="193"/>
                        <a:pt x="752" y="193"/>
                        <a:pt x="752" y="193"/>
                      </a:cubicBezTo>
                      <a:cubicBezTo>
                        <a:pt x="751" y="201"/>
                        <a:pt x="751" y="201"/>
                        <a:pt x="751" y="201"/>
                      </a:cubicBezTo>
                      <a:cubicBezTo>
                        <a:pt x="751" y="201"/>
                        <a:pt x="739" y="198"/>
                        <a:pt x="733" y="202"/>
                      </a:cubicBezTo>
                      <a:cubicBezTo>
                        <a:pt x="727" y="206"/>
                        <a:pt x="732" y="219"/>
                        <a:pt x="722" y="220"/>
                      </a:cubicBezTo>
                      <a:cubicBezTo>
                        <a:pt x="712" y="221"/>
                        <a:pt x="702" y="221"/>
                        <a:pt x="702" y="221"/>
                      </a:cubicBezTo>
                      <a:cubicBezTo>
                        <a:pt x="698" y="210"/>
                        <a:pt x="698" y="210"/>
                        <a:pt x="698" y="210"/>
                      </a:cubicBezTo>
                      <a:cubicBezTo>
                        <a:pt x="689" y="210"/>
                        <a:pt x="689" y="210"/>
                        <a:pt x="689" y="210"/>
                      </a:cubicBezTo>
                      <a:cubicBezTo>
                        <a:pt x="668" y="186"/>
                        <a:pt x="668" y="186"/>
                        <a:pt x="668" y="186"/>
                      </a:cubicBezTo>
                      <a:cubicBezTo>
                        <a:pt x="668" y="186"/>
                        <a:pt x="668" y="174"/>
                        <a:pt x="668" y="166"/>
                      </a:cubicBezTo>
                      <a:cubicBezTo>
                        <a:pt x="668" y="158"/>
                        <a:pt x="651" y="155"/>
                        <a:pt x="651" y="145"/>
                      </a:cubicBezTo>
                      <a:cubicBezTo>
                        <a:pt x="651" y="135"/>
                        <a:pt x="659" y="119"/>
                        <a:pt x="659" y="119"/>
                      </a:cubicBezTo>
                      <a:cubicBezTo>
                        <a:pt x="664" y="91"/>
                        <a:pt x="664" y="91"/>
                        <a:pt x="664" y="91"/>
                      </a:cubicBezTo>
                      <a:cubicBezTo>
                        <a:pt x="664" y="91"/>
                        <a:pt x="677" y="79"/>
                        <a:pt x="678" y="73"/>
                      </a:cubicBezTo>
                      <a:cubicBezTo>
                        <a:pt x="679" y="67"/>
                        <a:pt x="670" y="63"/>
                        <a:pt x="670" y="63"/>
                      </a:cubicBezTo>
                      <a:cubicBezTo>
                        <a:pt x="671" y="44"/>
                        <a:pt x="671" y="44"/>
                        <a:pt x="671" y="44"/>
                      </a:cubicBezTo>
                      <a:cubicBezTo>
                        <a:pt x="671" y="44"/>
                        <a:pt x="649" y="50"/>
                        <a:pt x="649" y="41"/>
                      </a:cubicBezTo>
                      <a:cubicBezTo>
                        <a:pt x="649" y="41"/>
                        <a:pt x="661" y="29"/>
                        <a:pt x="658" y="15"/>
                      </a:cubicBezTo>
                      <a:cubicBezTo>
                        <a:pt x="655" y="1"/>
                        <a:pt x="646" y="0"/>
                        <a:pt x="646" y="0"/>
                      </a:cubicBezTo>
                      <a:cubicBezTo>
                        <a:pt x="641" y="7"/>
                        <a:pt x="641" y="7"/>
                        <a:pt x="641" y="7"/>
                      </a:cubicBezTo>
                      <a:cubicBezTo>
                        <a:pt x="625" y="5"/>
                        <a:pt x="625" y="5"/>
                        <a:pt x="625" y="5"/>
                      </a:cubicBezTo>
                      <a:cubicBezTo>
                        <a:pt x="625" y="5"/>
                        <a:pt x="631" y="19"/>
                        <a:pt x="627" y="26"/>
                      </a:cubicBezTo>
                      <a:cubicBezTo>
                        <a:pt x="623" y="33"/>
                        <a:pt x="612" y="31"/>
                        <a:pt x="612" y="31"/>
                      </a:cubicBezTo>
                      <a:cubicBezTo>
                        <a:pt x="614" y="41"/>
                        <a:pt x="614" y="41"/>
                        <a:pt x="614" y="41"/>
                      </a:cubicBezTo>
                      <a:cubicBezTo>
                        <a:pt x="596" y="40"/>
                        <a:pt x="596" y="40"/>
                        <a:pt x="596" y="40"/>
                      </a:cubicBezTo>
                      <a:cubicBezTo>
                        <a:pt x="596" y="40"/>
                        <a:pt x="584" y="45"/>
                        <a:pt x="582" y="51"/>
                      </a:cubicBezTo>
                      <a:cubicBezTo>
                        <a:pt x="580" y="57"/>
                        <a:pt x="566" y="64"/>
                        <a:pt x="559" y="64"/>
                      </a:cubicBezTo>
                      <a:cubicBezTo>
                        <a:pt x="552" y="64"/>
                        <a:pt x="546" y="56"/>
                        <a:pt x="538" y="59"/>
                      </a:cubicBezTo>
                      <a:cubicBezTo>
                        <a:pt x="530" y="62"/>
                        <a:pt x="533" y="96"/>
                        <a:pt x="524" y="96"/>
                      </a:cubicBezTo>
                      <a:cubicBezTo>
                        <a:pt x="515" y="96"/>
                        <a:pt x="504" y="77"/>
                        <a:pt x="500" y="73"/>
                      </a:cubicBezTo>
                      <a:cubicBezTo>
                        <a:pt x="496" y="69"/>
                        <a:pt x="491" y="77"/>
                        <a:pt x="491" y="77"/>
                      </a:cubicBezTo>
                      <a:cubicBezTo>
                        <a:pt x="481" y="71"/>
                        <a:pt x="481" y="71"/>
                        <a:pt x="481" y="71"/>
                      </a:cubicBezTo>
                      <a:cubicBezTo>
                        <a:pt x="481" y="71"/>
                        <a:pt x="469" y="79"/>
                        <a:pt x="467" y="76"/>
                      </a:cubicBezTo>
                      <a:cubicBezTo>
                        <a:pt x="465" y="73"/>
                        <a:pt x="471" y="64"/>
                        <a:pt x="460" y="60"/>
                      </a:cubicBezTo>
                      <a:cubicBezTo>
                        <a:pt x="449" y="56"/>
                        <a:pt x="440" y="64"/>
                        <a:pt x="437" y="61"/>
                      </a:cubicBezTo>
                      <a:cubicBezTo>
                        <a:pt x="434" y="58"/>
                        <a:pt x="431" y="52"/>
                        <a:pt x="431" y="52"/>
                      </a:cubicBezTo>
                      <a:cubicBezTo>
                        <a:pt x="431" y="52"/>
                        <a:pt x="421" y="71"/>
                        <a:pt x="443" y="82"/>
                      </a:cubicBezTo>
                      <a:cubicBezTo>
                        <a:pt x="465" y="93"/>
                        <a:pt x="450" y="117"/>
                        <a:pt x="450" y="117"/>
                      </a:cubicBezTo>
                      <a:cubicBezTo>
                        <a:pt x="450" y="117"/>
                        <a:pt x="463" y="128"/>
                        <a:pt x="463" y="135"/>
                      </a:cubicBezTo>
                      <a:cubicBezTo>
                        <a:pt x="463" y="142"/>
                        <a:pt x="463" y="151"/>
                        <a:pt x="463" y="151"/>
                      </a:cubicBezTo>
                      <a:cubicBezTo>
                        <a:pt x="493" y="154"/>
                        <a:pt x="493" y="154"/>
                        <a:pt x="493" y="154"/>
                      </a:cubicBezTo>
                      <a:cubicBezTo>
                        <a:pt x="493" y="154"/>
                        <a:pt x="500" y="168"/>
                        <a:pt x="488" y="174"/>
                      </a:cubicBezTo>
                      <a:cubicBezTo>
                        <a:pt x="476" y="180"/>
                        <a:pt x="463" y="177"/>
                        <a:pt x="463" y="177"/>
                      </a:cubicBezTo>
                      <a:cubicBezTo>
                        <a:pt x="463" y="177"/>
                        <a:pt x="464" y="202"/>
                        <a:pt x="451" y="206"/>
                      </a:cubicBezTo>
                      <a:cubicBezTo>
                        <a:pt x="438" y="210"/>
                        <a:pt x="433" y="214"/>
                        <a:pt x="433" y="214"/>
                      </a:cubicBezTo>
                      <a:cubicBezTo>
                        <a:pt x="431" y="220"/>
                        <a:pt x="431" y="220"/>
                        <a:pt x="431" y="220"/>
                      </a:cubicBezTo>
                      <a:cubicBezTo>
                        <a:pt x="431" y="220"/>
                        <a:pt x="419" y="218"/>
                        <a:pt x="413" y="222"/>
                      </a:cubicBezTo>
                      <a:cubicBezTo>
                        <a:pt x="407" y="226"/>
                        <a:pt x="401" y="251"/>
                        <a:pt x="393" y="251"/>
                      </a:cubicBezTo>
                      <a:cubicBezTo>
                        <a:pt x="385" y="251"/>
                        <a:pt x="396" y="234"/>
                        <a:pt x="387" y="232"/>
                      </a:cubicBezTo>
                      <a:cubicBezTo>
                        <a:pt x="378" y="230"/>
                        <a:pt x="367" y="252"/>
                        <a:pt x="357" y="246"/>
                      </a:cubicBezTo>
                      <a:cubicBezTo>
                        <a:pt x="357" y="246"/>
                        <a:pt x="345" y="244"/>
                        <a:pt x="341" y="239"/>
                      </a:cubicBezTo>
                      <a:cubicBezTo>
                        <a:pt x="337" y="234"/>
                        <a:pt x="330" y="221"/>
                        <a:pt x="330" y="221"/>
                      </a:cubicBezTo>
                      <a:cubicBezTo>
                        <a:pt x="313" y="221"/>
                        <a:pt x="313" y="221"/>
                        <a:pt x="313" y="221"/>
                      </a:cubicBezTo>
                      <a:cubicBezTo>
                        <a:pt x="313" y="221"/>
                        <a:pt x="313" y="193"/>
                        <a:pt x="311" y="187"/>
                      </a:cubicBezTo>
                      <a:cubicBezTo>
                        <a:pt x="309" y="181"/>
                        <a:pt x="306" y="180"/>
                        <a:pt x="306" y="180"/>
                      </a:cubicBezTo>
                      <a:cubicBezTo>
                        <a:pt x="306" y="180"/>
                        <a:pt x="311" y="173"/>
                        <a:pt x="304" y="170"/>
                      </a:cubicBezTo>
                      <a:cubicBezTo>
                        <a:pt x="297" y="167"/>
                        <a:pt x="288" y="190"/>
                        <a:pt x="282" y="191"/>
                      </a:cubicBezTo>
                      <a:cubicBezTo>
                        <a:pt x="276" y="192"/>
                        <a:pt x="271" y="176"/>
                        <a:pt x="265" y="176"/>
                      </a:cubicBezTo>
                      <a:cubicBezTo>
                        <a:pt x="259" y="176"/>
                        <a:pt x="259" y="193"/>
                        <a:pt x="259" y="193"/>
                      </a:cubicBezTo>
                      <a:cubicBezTo>
                        <a:pt x="215" y="197"/>
                        <a:pt x="215" y="197"/>
                        <a:pt x="215" y="197"/>
                      </a:cubicBezTo>
                      <a:cubicBezTo>
                        <a:pt x="215" y="197"/>
                        <a:pt x="201" y="184"/>
                        <a:pt x="192" y="189"/>
                      </a:cubicBezTo>
                      <a:cubicBezTo>
                        <a:pt x="183" y="194"/>
                        <a:pt x="191" y="223"/>
                        <a:pt x="191" y="223"/>
                      </a:cubicBezTo>
                      <a:cubicBezTo>
                        <a:pt x="207" y="230"/>
                        <a:pt x="207" y="230"/>
                        <a:pt x="207" y="230"/>
                      </a:cubicBezTo>
                      <a:cubicBezTo>
                        <a:pt x="214" y="228"/>
                        <a:pt x="214" y="228"/>
                        <a:pt x="214" y="228"/>
                      </a:cubicBezTo>
                      <a:cubicBezTo>
                        <a:pt x="214" y="228"/>
                        <a:pt x="233" y="248"/>
                        <a:pt x="220" y="250"/>
                      </a:cubicBezTo>
                      <a:cubicBezTo>
                        <a:pt x="207" y="252"/>
                        <a:pt x="198" y="248"/>
                        <a:pt x="198" y="248"/>
                      </a:cubicBezTo>
                      <a:cubicBezTo>
                        <a:pt x="176" y="253"/>
                        <a:pt x="176" y="253"/>
                        <a:pt x="176" y="253"/>
                      </a:cubicBezTo>
                      <a:cubicBezTo>
                        <a:pt x="174" y="295"/>
                        <a:pt x="174" y="295"/>
                        <a:pt x="174" y="295"/>
                      </a:cubicBezTo>
                      <a:cubicBezTo>
                        <a:pt x="174" y="295"/>
                        <a:pt x="195" y="304"/>
                        <a:pt x="197" y="313"/>
                      </a:cubicBezTo>
                      <a:cubicBezTo>
                        <a:pt x="199" y="322"/>
                        <a:pt x="200" y="334"/>
                        <a:pt x="200" y="334"/>
                      </a:cubicBezTo>
                      <a:cubicBezTo>
                        <a:pt x="200" y="334"/>
                        <a:pt x="214" y="349"/>
                        <a:pt x="213" y="356"/>
                      </a:cubicBezTo>
                      <a:cubicBezTo>
                        <a:pt x="212" y="363"/>
                        <a:pt x="202" y="374"/>
                        <a:pt x="202" y="374"/>
                      </a:cubicBezTo>
                      <a:cubicBezTo>
                        <a:pt x="204" y="408"/>
                        <a:pt x="204" y="408"/>
                        <a:pt x="204" y="408"/>
                      </a:cubicBezTo>
                      <a:cubicBezTo>
                        <a:pt x="193" y="438"/>
                        <a:pt x="193" y="438"/>
                        <a:pt x="193" y="438"/>
                      </a:cubicBezTo>
                      <a:cubicBezTo>
                        <a:pt x="191" y="488"/>
                        <a:pt x="191" y="488"/>
                        <a:pt x="191" y="488"/>
                      </a:cubicBezTo>
                      <a:cubicBezTo>
                        <a:pt x="191" y="488"/>
                        <a:pt x="188" y="515"/>
                        <a:pt x="183" y="518"/>
                      </a:cubicBezTo>
                      <a:cubicBezTo>
                        <a:pt x="178" y="521"/>
                        <a:pt x="171" y="518"/>
                        <a:pt x="171" y="518"/>
                      </a:cubicBezTo>
                      <a:cubicBezTo>
                        <a:pt x="171" y="518"/>
                        <a:pt x="167" y="505"/>
                        <a:pt x="157" y="506"/>
                      </a:cubicBezTo>
                      <a:cubicBezTo>
                        <a:pt x="147" y="507"/>
                        <a:pt x="136" y="522"/>
                        <a:pt x="136" y="522"/>
                      </a:cubicBezTo>
                      <a:cubicBezTo>
                        <a:pt x="117" y="519"/>
                        <a:pt x="117" y="519"/>
                        <a:pt x="117" y="519"/>
                      </a:cubicBezTo>
                      <a:cubicBezTo>
                        <a:pt x="115" y="526"/>
                        <a:pt x="115" y="526"/>
                        <a:pt x="115" y="526"/>
                      </a:cubicBezTo>
                      <a:cubicBezTo>
                        <a:pt x="94" y="526"/>
                        <a:pt x="94" y="526"/>
                        <a:pt x="94" y="526"/>
                      </a:cubicBezTo>
                      <a:cubicBezTo>
                        <a:pt x="94" y="526"/>
                        <a:pt x="68" y="543"/>
                        <a:pt x="66" y="547"/>
                      </a:cubicBezTo>
                      <a:cubicBezTo>
                        <a:pt x="64" y="551"/>
                        <a:pt x="63" y="559"/>
                        <a:pt x="63" y="559"/>
                      </a:cubicBezTo>
                      <a:cubicBezTo>
                        <a:pt x="47" y="559"/>
                        <a:pt x="47" y="559"/>
                        <a:pt x="47" y="559"/>
                      </a:cubicBezTo>
                      <a:cubicBezTo>
                        <a:pt x="46" y="597"/>
                        <a:pt x="46" y="597"/>
                        <a:pt x="46" y="597"/>
                      </a:cubicBezTo>
                      <a:cubicBezTo>
                        <a:pt x="46" y="597"/>
                        <a:pt x="31" y="606"/>
                        <a:pt x="33" y="613"/>
                      </a:cubicBezTo>
                      <a:cubicBezTo>
                        <a:pt x="35" y="620"/>
                        <a:pt x="45" y="645"/>
                        <a:pt x="39" y="636"/>
                      </a:cubicBezTo>
                      <a:cubicBezTo>
                        <a:pt x="33" y="627"/>
                        <a:pt x="20" y="644"/>
                        <a:pt x="12" y="652"/>
                      </a:cubicBezTo>
                      <a:cubicBezTo>
                        <a:pt x="4" y="660"/>
                        <a:pt x="9" y="674"/>
                        <a:pt x="9" y="674"/>
                      </a:cubicBezTo>
                      <a:cubicBezTo>
                        <a:pt x="15" y="678"/>
                        <a:pt x="15" y="678"/>
                        <a:pt x="15" y="678"/>
                      </a:cubicBezTo>
                      <a:cubicBezTo>
                        <a:pt x="15" y="678"/>
                        <a:pt x="0" y="686"/>
                        <a:pt x="0" y="691"/>
                      </a:cubicBezTo>
                      <a:cubicBezTo>
                        <a:pt x="0" y="696"/>
                        <a:pt x="15" y="702"/>
                        <a:pt x="15" y="702"/>
                      </a:cubicBezTo>
                      <a:cubicBezTo>
                        <a:pt x="17" y="720"/>
                        <a:pt x="17" y="720"/>
                        <a:pt x="17" y="720"/>
                      </a:cubicBezTo>
                      <a:cubicBezTo>
                        <a:pt x="17" y="720"/>
                        <a:pt x="30" y="741"/>
                        <a:pt x="35" y="747"/>
                      </a:cubicBezTo>
                      <a:cubicBezTo>
                        <a:pt x="40" y="753"/>
                        <a:pt x="62" y="768"/>
                        <a:pt x="60" y="773"/>
                      </a:cubicBezTo>
                      <a:cubicBezTo>
                        <a:pt x="58" y="778"/>
                        <a:pt x="43" y="791"/>
                        <a:pt x="43" y="791"/>
                      </a:cubicBezTo>
                      <a:cubicBezTo>
                        <a:pt x="43" y="791"/>
                        <a:pt x="79" y="790"/>
                        <a:pt x="82" y="797"/>
                      </a:cubicBezTo>
                      <a:cubicBezTo>
                        <a:pt x="85" y="804"/>
                        <a:pt x="93" y="823"/>
                        <a:pt x="93" y="823"/>
                      </a:cubicBezTo>
                      <a:cubicBezTo>
                        <a:pt x="135" y="819"/>
                        <a:pt x="135" y="819"/>
                        <a:pt x="135" y="819"/>
                      </a:cubicBezTo>
                      <a:cubicBezTo>
                        <a:pt x="169" y="789"/>
                        <a:pt x="169" y="789"/>
                        <a:pt x="169" y="789"/>
                      </a:cubicBezTo>
                      <a:cubicBezTo>
                        <a:pt x="169" y="789"/>
                        <a:pt x="174" y="812"/>
                        <a:pt x="172" y="816"/>
                      </a:cubicBezTo>
                      <a:cubicBezTo>
                        <a:pt x="170" y="820"/>
                        <a:pt x="165" y="834"/>
                        <a:pt x="167" y="844"/>
                      </a:cubicBezTo>
                      <a:cubicBezTo>
                        <a:pt x="169" y="854"/>
                        <a:pt x="170" y="874"/>
                        <a:pt x="170" y="874"/>
                      </a:cubicBezTo>
                      <a:cubicBezTo>
                        <a:pt x="177" y="873"/>
                        <a:pt x="177" y="873"/>
                        <a:pt x="177" y="873"/>
                      </a:cubicBezTo>
                      <a:cubicBezTo>
                        <a:pt x="177" y="873"/>
                        <a:pt x="177" y="881"/>
                        <a:pt x="185" y="881"/>
                      </a:cubicBezTo>
                      <a:cubicBezTo>
                        <a:pt x="193" y="881"/>
                        <a:pt x="189" y="872"/>
                        <a:pt x="200" y="872"/>
                      </a:cubicBezTo>
                      <a:cubicBezTo>
                        <a:pt x="211" y="872"/>
                        <a:pt x="246" y="875"/>
                        <a:pt x="246" y="875"/>
                      </a:cubicBezTo>
                      <a:cubicBezTo>
                        <a:pt x="246" y="875"/>
                        <a:pt x="249" y="886"/>
                        <a:pt x="262" y="883"/>
                      </a:cubicBezTo>
                      <a:cubicBezTo>
                        <a:pt x="275" y="880"/>
                        <a:pt x="283" y="871"/>
                        <a:pt x="283" y="871"/>
                      </a:cubicBezTo>
                      <a:cubicBezTo>
                        <a:pt x="288" y="859"/>
                        <a:pt x="288" y="859"/>
                        <a:pt x="288" y="859"/>
                      </a:cubicBezTo>
                      <a:cubicBezTo>
                        <a:pt x="312" y="858"/>
                        <a:pt x="312" y="858"/>
                        <a:pt x="312" y="858"/>
                      </a:cubicBezTo>
                      <a:cubicBezTo>
                        <a:pt x="316" y="840"/>
                        <a:pt x="316" y="840"/>
                        <a:pt x="316" y="840"/>
                      </a:cubicBezTo>
                      <a:cubicBezTo>
                        <a:pt x="340" y="841"/>
                        <a:pt x="340" y="841"/>
                        <a:pt x="340" y="841"/>
                      </a:cubicBezTo>
                      <a:cubicBezTo>
                        <a:pt x="340" y="841"/>
                        <a:pt x="350" y="815"/>
                        <a:pt x="363" y="815"/>
                      </a:cubicBezTo>
                      <a:cubicBezTo>
                        <a:pt x="376" y="815"/>
                        <a:pt x="386" y="816"/>
                        <a:pt x="386" y="816"/>
                      </a:cubicBezTo>
                      <a:cubicBezTo>
                        <a:pt x="395" y="808"/>
                        <a:pt x="395" y="808"/>
                        <a:pt x="395" y="808"/>
                      </a:cubicBezTo>
                      <a:cubicBezTo>
                        <a:pt x="395" y="808"/>
                        <a:pt x="404" y="818"/>
                        <a:pt x="405" y="814"/>
                      </a:cubicBezTo>
                      <a:cubicBezTo>
                        <a:pt x="406" y="810"/>
                        <a:pt x="419" y="802"/>
                        <a:pt x="423" y="806"/>
                      </a:cubicBezTo>
                      <a:cubicBezTo>
                        <a:pt x="427" y="810"/>
                        <a:pt x="419" y="837"/>
                        <a:pt x="419" y="837"/>
                      </a:cubicBezTo>
                      <a:cubicBezTo>
                        <a:pt x="419" y="837"/>
                        <a:pt x="411" y="850"/>
                        <a:pt x="412" y="854"/>
                      </a:cubicBezTo>
                      <a:cubicBezTo>
                        <a:pt x="413" y="858"/>
                        <a:pt x="422" y="866"/>
                        <a:pt x="422" y="875"/>
                      </a:cubicBezTo>
                      <a:cubicBezTo>
                        <a:pt x="422" y="884"/>
                        <a:pt x="415" y="890"/>
                        <a:pt x="422" y="899"/>
                      </a:cubicBezTo>
                      <a:cubicBezTo>
                        <a:pt x="429" y="908"/>
                        <a:pt x="436" y="912"/>
                        <a:pt x="436" y="912"/>
                      </a:cubicBezTo>
                      <a:cubicBezTo>
                        <a:pt x="442" y="932"/>
                        <a:pt x="442" y="932"/>
                        <a:pt x="442" y="932"/>
                      </a:cubicBezTo>
                      <a:cubicBezTo>
                        <a:pt x="442" y="932"/>
                        <a:pt x="458" y="930"/>
                        <a:pt x="461" y="935"/>
                      </a:cubicBezTo>
                      <a:cubicBezTo>
                        <a:pt x="464" y="940"/>
                        <a:pt x="460" y="951"/>
                        <a:pt x="470" y="955"/>
                      </a:cubicBezTo>
                      <a:cubicBezTo>
                        <a:pt x="480" y="959"/>
                        <a:pt x="484" y="959"/>
                        <a:pt x="488" y="960"/>
                      </a:cubicBezTo>
                      <a:cubicBezTo>
                        <a:pt x="492" y="961"/>
                        <a:pt x="502" y="954"/>
                        <a:pt x="502" y="954"/>
                      </a:cubicBezTo>
                      <a:cubicBezTo>
                        <a:pt x="502" y="954"/>
                        <a:pt x="508" y="968"/>
                        <a:pt x="516" y="968"/>
                      </a:cubicBezTo>
                      <a:cubicBezTo>
                        <a:pt x="524" y="968"/>
                        <a:pt x="531" y="961"/>
                        <a:pt x="532" y="965"/>
                      </a:cubicBezTo>
                      <a:cubicBezTo>
                        <a:pt x="533" y="969"/>
                        <a:pt x="541" y="981"/>
                        <a:pt x="552" y="986"/>
                      </a:cubicBezTo>
                      <a:cubicBezTo>
                        <a:pt x="563" y="991"/>
                        <a:pt x="579" y="992"/>
                        <a:pt x="579" y="992"/>
                      </a:cubicBezTo>
                      <a:cubicBezTo>
                        <a:pt x="579" y="992"/>
                        <a:pt x="588" y="1012"/>
                        <a:pt x="598" y="1013"/>
                      </a:cubicBezTo>
                      <a:cubicBezTo>
                        <a:pt x="608" y="1014"/>
                        <a:pt x="619" y="1009"/>
                        <a:pt x="630" y="1011"/>
                      </a:cubicBezTo>
                      <a:cubicBezTo>
                        <a:pt x="641" y="1013"/>
                        <a:pt x="661" y="1022"/>
                        <a:pt x="662" y="1032"/>
                      </a:cubicBezTo>
                      <a:cubicBezTo>
                        <a:pt x="663" y="1042"/>
                        <a:pt x="658" y="1045"/>
                        <a:pt x="662" y="1052"/>
                      </a:cubicBezTo>
                      <a:cubicBezTo>
                        <a:pt x="666" y="1059"/>
                        <a:pt x="673" y="1071"/>
                        <a:pt x="673" y="1071"/>
                      </a:cubicBezTo>
                      <a:cubicBezTo>
                        <a:pt x="675" y="1092"/>
                        <a:pt x="675" y="1092"/>
                        <a:pt x="675" y="1092"/>
                      </a:cubicBezTo>
                      <a:cubicBezTo>
                        <a:pt x="675" y="1092"/>
                        <a:pt x="660" y="1090"/>
                        <a:pt x="662" y="1096"/>
                      </a:cubicBezTo>
                      <a:cubicBezTo>
                        <a:pt x="664" y="1102"/>
                        <a:pt x="680" y="1116"/>
                        <a:pt x="680" y="1116"/>
                      </a:cubicBezTo>
                      <a:cubicBezTo>
                        <a:pt x="680" y="1116"/>
                        <a:pt x="670" y="1147"/>
                        <a:pt x="683" y="1156"/>
                      </a:cubicBezTo>
                      <a:cubicBezTo>
                        <a:pt x="696" y="1165"/>
                        <a:pt x="773" y="1163"/>
                        <a:pt x="773" y="1163"/>
                      </a:cubicBezTo>
                      <a:cubicBezTo>
                        <a:pt x="773" y="1163"/>
                        <a:pt x="762" y="1197"/>
                        <a:pt x="769" y="1206"/>
                      </a:cubicBezTo>
                      <a:cubicBezTo>
                        <a:pt x="776" y="1215"/>
                        <a:pt x="785" y="1216"/>
                        <a:pt x="796" y="1223"/>
                      </a:cubicBezTo>
                      <a:cubicBezTo>
                        <a:pt x="807" y="1230"/>
                        <a:pt x="816" y="1248"/>
                        <a:pt x="816" y="1262"/>
                      </a:cubicBezTo>
                      <a:cubicBezTo>
                        <a:pt x="816" y="1276"/>
                        <a:pt x="811" y="1302"/>
                        <a:pt x="811" y="1302"/>
                      </a:cubicBezTo>
                      <a:cubicBezTo>
                        <a:pt x="815" y="1310"/>
                        <a:pt x="815" y="1310"/>
                        <a:pt x="815" y="1310"/>
                      </a:cubicBezTo>
                      <a:cubicBezTo>
                        <a:pt x="815" y="1310"/>
                        <a:pt x="798" y="1337"/>
                        <a:pt x="800" y="1342"/>
                      </a:cubicBezTo>
                      <a:cubicBezTo>
                        <a:pt x="802" y="1347"/>
                        <a:pt x="814" y="1357"/>
                        <a:pt x="814" y="1357"/>
                      </a:cubicBezTo>
                      <a:cubicBezTo>
                        <a:pt x="814" y="1357"/>
                        <a:pt x="799" y="1365"/>
                        <a:pt x="799" y="1371"/>
                      </a:cubicBezTo>
                      <a:cubicBezTo>
                        <a:pt x="799" y="1377"/>
                        <a:pt x="808" y="1379"/>
                        <a:pt x="810" y="1386"/>
                      </a:cubicBezTo>
                      <a:cubicBezTo>
                        <a:pt x="812" y="1393"/>
                        <a:pt x="806" y="1402"/>
                        <a:pt x="810" y="1406"/>
                      </a:cubicBezTo>
                      <a:cubicBezTo>
                        <a:pt x="814" y="1410"/>
                        <a:pt x="819" y="1405"/>
                        <a:pt x="819" y="1414"/>
                      </a:cubicBezTo>
                      <a:cubicBezTo>
                        <a:pt x="819" y="1423"/>
                        <a:pt x="804" y="1459"/>
                        <a:pt x="820" y="1468"/>
                      </a:cubicBezTo>
                      <a:cubicBezTo>
                        <a:pt x="836" y="1477"/>
                        <a:pt x="880" y="1484"/>
                        <a:pt x="895" y="1481"/>
                      </a:cubicBezTo>
                      <a:cubicBezTo>
                        <a:pt x="910" y="1478"/>
                        <a:pt x="928" y="1478"/>
                        <a:pt x="932" y="1486"/>
                      </a:cubicBezTo>
                      <a:cubicBezTo>
                        <a:pt x="936" y="1494"/>
                        <a:pt x="932" y="1511"/>
                        <a:pt x="937" y="1531"/>
                      </a:cubicBezTo>
                      <a:cubicBezTo>
                        <a:pt x="942" y="1551"/>
                        <a:pt x="946" y="1572"/>
                        <a:pt x="957" y="1574"/>
                      </a:cubicBezTo>
                      <a:cubicBezTo>
                        <a:pt x="968" y="1576"/>
                        <a:pt x="972" y="1560"/>
                        <a:pt x="987" y="1564"/>
                      </a:cubicBezTo>
                      <a:cubicBezTo>
                        <a:pt x="1002" y="1568"/>
                        <a:pt x="1006" y="1576"/>
                        <a:pt x="1004" y="1596"/>
                      </a:cubicBezTo>
                      <a:cubicBezTo>
                        <a:pt x="1002" y="1616"/>
                        <a:pt x="1000" y="1626"/>
                        <a:pt x="998" y="1631"/>
                      </a:cubicBezTo>
                      <a:cubicBezTo>
                        <a:pt x="996" y="1636"/>
                        <a:pt x="995" y="1651"/>
                        <a:pt x="995" y="1651"/>
                      </a:cubicBezTo>
                      <a:cubicBezTo>
                        <a:pt x="998" y="1664"/>
                        <a:pt x="998" y="1664"/>
                        <a:pt x="998" y="1664"/>
                      </a:cubicBezTo>
                      <a:cubicBezTo>
                        <a:pt x="998" y="1664"/>
                        <a:pt x="1014" y="1653"/>
                        <a:pt x="1021" y="1657"/>
                      </a:cubicBezTo>
                      <a:cubicBezTo>
                        <a:pt x="1028" y="1661"/>
                        <a:pt x="1032" y="1682"/>
                        <a:pt x="1032" y="1682"/>
                      </a:cubicBezTo>
                      <a:cubicBezTo>
                        <a:pt x="1032" y="1682"/>
                        <a:pt x="1043" y="1681"/>
                        <a:pt x="1043" y="1690"/>
                      </a:cubicBezTo>
                      <a:cubicBezTo>
                        <a:pt x="1043" y="1699"/>
                        <a:pt x="1051" y="1737"/>
                        <a:pt x="1045" y="1743"/>
                      </a:cubicBezTo>
                      <a:cubicBezTo>
                        <a:pt x="1039" y="1749"/>
                        <a:pt x="1022" y="1751"/>
                        <a:pt x="1011" y="1756"/>
                      </a:cubicBezTo>
                      <a:cubicBezTo>
                        <a:pt x="1000" y="1761"/>
                        <a:pt x="1000" y="1779"/>
                        <a:pt x="1000" y="1779"/>
                      </a:cubicBezTo>
                      <a:cubicBezTo>
                        <a:pt x="979" y="1781"/>
                        <a:pt x="979" y="1781"/>
                        <a:pt x="979" y="1781"/>
                      </a:cubicBezTo>
                      <a:cubicBezTo>
                        <a:pt x="978" y="1792"/>
                        <a:pt x="978" y="1792"/>
                        <a:pt x="978" y="1792"/>
                      </a:cubicBezTo>
                      <a:cubicBezTo>
                        <a:pt x="972" y="1794"/>
                        <a:pt x="972" y="1794"/>
                        <a:pt x="972" y="1794"/>
                      </a:cubicBezTo>
                      <a:cubicBezTo>
                        <a:pt x="969" y="1810"/>
                        <a:pt x="969" y="1810"/>
                        <a:pt x="969" y="1810"/>
                      </a:cubicBezTo>
                      <a:cubicBezTo>
                        <a:pt x="953" y="1814"/>
                        <a:pt x="953" y="1814"/>
                        <a:pt x="953" y="1814"/>
                      </a:cubicBezTo>
                      <a:cubicBezTo>
                        <a:pt x="953" y="1814"/>
                        <a:pt x="950" y="1837"/>
                        <a:pt x="945" y="1842"/>
                      </a:cubicBezTo>
                      <a:cubicBezTo>
                        <a:pt x="940" y="1847"/>
                        <a:pt x="931" y="1852"/>
                        <a:pt x="931" y="1855"/>
                      </a:cubicBezTo>
                      <a:cubicBezTo>
                        <a:pt x="931" y="1858"/>
                        <a:pt x="928" y="1873"/>
                        <a:pt x="923" y="1878"/>
                      </a:cubicBezTo>
                      <a:cubicBezTo>
                        <a:pt x="918" y="1883"/>
                        <a:pt x="903" y="1882"/>
                        <a:pt x="903" y="1888"/>
                      </a:cubicBezTo>
                      <a:cubicBezTo>
                        <a:pt x="903" y="1894"/>
                        <a:pt x="899" y="1911"/>
                        <a:pt x="899" y="1911"/>
                      </a:cubicBezTo>
                      <a:cubicBezTo>
                        <a:pt x="915" y="1912"/>
                        <a:pt x="915" y="1912"/>
                        <a:pt x="915" y="1912"/>
                      </a:cubicBezTo>
                      <a:cubicBezTo>
                        <a:pt x="915" y="1912"/>
                        <a:pt x="921" y="1902"/>
                        <a:pt x="933" y="1904"/>
                      </a:cubicBezTo>
                      <a:cubicBezTo>
                        <a:pt x="945" y="1906"/>
                        <a:pt x="970" y="1933"/>
                        <a:pt x="970" y="1933"/>
                      </a:cubicBezTo>
                      <a:cubicBezTo>
                        <a:pt x="970" y="1933"/>
                        <a:pt x="980" y="1956"/>
                        <a:pt x="986" y="1956"/>
                      </a:cubicBezTo>
                      <a:cubicBezTo>
                        <a:pt x="992" y="1956"/>
                        <a:pt x="991" y="1942"/>
                        <a:pt x="1001" y="1945"/>
                      </a:cubicBezTo>
                      <a:cubicBezTo>
                        <a:pt x="1011" y="1948"/>
                        <a:pt x="1020" y="1964"/>
                        <a:pt x="1025" y="1967"/>
                      </a:cubicBezTo>
                      <a:cubicBezTo>
                        <a:pt x="1030" y="1970"/>
                        <a:pt x="1037" y="1969"/>
                        <a:pt x="1037" y="1969"/>
                      </a:cubicBezTo>
                      <a:cubicBezTo>
                        <a:pt x="1037" y="1969"/>
                        <a:pt x="1045" y="1976"/>
                        <a:pt x="1049" y="1978"/>
                      </a:cubicBezTo>
                      <a:cubicBezTo>
                        <a:pt x="1053" y="1980"/>
                        <a:pt x="1055" y="1993"/>
                        <a:pt x="1067" y="1997"/>
                      </a:cubicBezTo>
                      <a:cubicBezTo>
                        <a:pt x="1079" y="2001"/>
                        <a:pt x="1086" y="2000"/>
                        <a:pt x="1086" y="2000"/>
                      </a:cubicBezTo>
                      <a:cubicBezTo>
                        <a:pt x="1086" y="2000"/>
                        <a:pt x="1096" y="2024"/>
                        <a:pt x="1104" y="2029"/>
                      </a:cubicBezTo>
                      <a:cubicBezTo>
                        <a:pt x="1112" y="2034"/>
                        <a:pt x="1131" y="2033"/>
                        <a:pt x="1126" y="2042"/>
                      </a:cubicBezTo>
                      <a:cubicBezTo>
                        <a:pt x="1121" y="2051"/>
                        <a:pt x="1111" y="2064"/>
                        <a:pt x="1112" y="2071"/>
                      </a:cubicBezTo>
                      <a:cubicBezTo>
                        <a:pt x="1113" y="2078"/>
                        <a:pt x="1119" y="2078"/>
                        <a:pt x="1119" y="2078"/>
                      </a:cubicBezTo>
                      <a:cubicBezTo>
                        <a:pt x="1118" y="2099"/>
                        <a:pt x="1118" y="2099"/>
                        <a:pt x="1118" y="2099"/>
                      </a:cubicBezTo>
                      <a:cubicBezTo>
                        <a:pt x="1128" y="2098"/>
                        <a:pt x="1128" y="2098"/>
                        <a:pt x="1128" y="2098"/>
                      </a:cubicBezTo>
                      <a:cubicBezTo>
                        <a:pt x="1128" y="2096"/>
                        <a:pt x="1128" y="2096"/>
                        <a:pt x="1128" y="2096"/>
                      </a:cubicBezTo>
                      <a:cubicBezTo>
                        <a:pt x="1128" y="2096"/>
                        <a:pt x="1151" y="2070"/>
                        <a:pt x="1156" y="2061"/>
                      </a:cubicBezTo>
                      <a:cubicBezTo>
                        <a:pt x="1161" y="2052"/>
                        <a:pt x="1153" y="2031"/>
                        <a:pt x="1153" y="2031"/>
                      </a:cubicBezTo>
                      <a:cubicBezTo>
                        <a:pt x="1165" y="2013"/>
                        <a:pt x="1165" y="2013"/>
                        <a:pt x="1165" y="2013"/>
                      </a:cubicBezTo>
                      <a:cubicBezTo>
                        <a:pt x="1165" y="2013"/>
                        <a:pt x="1155" y="2005"/>
                        <a:pt x="1155" y="1995"/>
                      </a:cubicBezTo>
                      <a:cubicBezTo>
                        <a:pt x="1155" y="1985"/>
                        <a:pt x="1165" y="1984"/>
                        <a:pt x="1165" y="1984"/>
                      </a:cubicBezTo>
                      <a:cubicBezTo>
                        <a:pt x="1167" y="1968"/>
                        <a:pt x="1167" y="1968"/>
                        <a:pt x="1167" y="1968"/>
                      </a:cubicBezTo>
                      <a:cubicBezTo>
                        <a:pt x="1167" y="1968"/>
                        <a:pt x="1179" y="1966"/>
                        <a:pt x="1183" y="1962"/>
                      </a:cubicBezTo>
                      <a:cubicBezTo>
                        <a:pt x="1187" y="1958"/>
                        <a:pt x="1186" y="1944"/>
                        <a:pt x="1186" y="1936"/>
                      </a:cubicBezTo>
                      <a:cubicBezTo>
                        <a:pt x="1186" y="1928"/>
                        <a:pt x="1204" y="1911"/>
                        <a:pt x="1213" y="1909"/>
                      </a:cubicBezTo>
                      <a:cubicBezTo>
                        <a:pt x="1222" y="1907"/>
                        <a:pt x="1219" y="1931"/>
                        <a:pt x="1219" y="1931"/>
                      </a:cubicBezTo>
                      <a:cubicBezTo>
                        <a:pt x="1219" y="1931"/>
                        <a:pt x="1213" y="1941"/>
                        <a:pt x="1210" y="1943"/>
                      </a:cubicBezTo>
                      <a:cubicBezTo>
                        <a:pt x="1207" y="1945"/>
                        <a:pt x="1208" y="1956"/>
                        <a:pt x="1208" y="1956"/>
                      </a:cubicBezTo>
                      <a:cubicBezTo>
                        <a:pt x="1201" y="1960"/>
                        <a:pt x="1201" y="1960"/>
                        <a:pt x="1201" y="1960"/>
                      </a:cubicBezTo>
                      <a:cubicBezTo>
                        <a:pt x="1201" y="1969"/>
                        <a:pt x="1201" y="1969"/>
                        <a:pt x="1201" y="1969"/>
                      </a:cubicBezTo>
                      <a:cubicBezTo>
                        <a:pt x="1184" y="1987"/>
                        <a:pt x="1184" y="1987"/>
                        <a:pt x="1184" y="1987"/>
                      </a:cubicBezTo>
                      <a:cubicBezTo>
                        <a:pt x="1163" y="2002"/>
                        <a:pt x="1163" y="2002"/>
                        <a:pt x="1163" y="2002"/>
                      </a:cubicBezTo>
                      <a:cubicBezTo>
                        <a:pt x="1163" y="2002"/>
                        <a:pt x="1170" y="2008"/>
                        <a:pt x="1177" y="2006"/>
                      </a:cubicBezTo>
                      <a:cubicBezTo>
                        <a:pt x="1182" y="2005"/>
                        <a:pt x="1182" y="1993"/>
                        <a:pt x="1187" y="1990"/>
                      </a:cubicBezTo>
                      <a:cubicBezTo>
                        <a:pt x="1191" y="1986"/>
                        <a:pt x="1198" y="1989"/>
                        <a:pt x="1200" y="1987"/>
                      </a:cubicBezTo>
                      <a:cubicBezTo>
                        <a:pt x="1206" y="1978"/>
                        <a:pt x="1228" y="1944"/>
                        <a:pt x="1233" y="1920"/>
                      </a:cubicBezTo>
                      <a:cubicBezTo>
                        <a:pt x="1238" y="1896"/>
                        <a:pt x="1248" y="1874"/>
                        <a:pt x="1252" y="1860"/>
                      </a:cubicBezTo>
                      <a:cubicBezTo>
                        <a:pt x="1256" y="1846"/>
                        <a:pt x="1284" y="1829"/>
                        <a:pt x="1286" y="1825"/>
                      </a:cubicBezTo>
                      <a:cubicBezTo>
                        <a:pt x="1288" y="1821"/>
                        <a:pt x="1281" y="1811"/>
                        <a:pt x="1281" y="1811"/>
                      </a:cubicBezTo>
                      <a:cubicBezTo>
                        <a:pt x="1294" y="1802"/>
                        <a:pt x="1294" y="1802"/>
                        <a:pt x="1294" y="1802"/>
                      </a:cubicBezTo>
                      <a:cubicBezTo>
                        <a:pt x="1290" y="1778"/>
                        <a:pt x="1290" y="1778"/>
                        <a:pt x="1290" y="1778"/>
                      </a:cubicBezTo>
                      <a:cubicBezTo>
                        <a:pt x="1294" y="1764"/>
                        <a:pt x="1294" y="1764"/>
                        <a:pt x="1294" y="1764"/>
                      </a:cubicBezTo>
                      <a:cubicBezTo>
                        <a:pt x="1285" y="1759"/>
                        <a:pt x="1285" y="1759"/>
                        <a:pt x="1285" y="1759"/>
                      </a:cubicBezTo>
                      <a:cubicBezTo>
                        <a:pt x="1285" y="1759"/>
                        <a:pt x="1292" y="1750"/>
                        <a:pt x="1292" y="1742"/>
                      </a:cubicBezTo>
                      <a:cubicBezTo>
                        <a:pt x="1292" y="1734"/>
                        <a:pt x="1277" y="1728"/>
                        <a:pt x="1277" y="1728"/>
                      </a:cubicBezTo>
                      <a:cubicBezTo>
                        <a:pt x="1276" y="1705"/>
                        <a:pt x="1276" y="1705"/>
                        <a:pt x="1276" y="1705"/>
                      </a:cubicBezTo>
                      <a:cubicBezTo>
                        <a:pt x="1266" y="1694"/>
                        <a:pt x="1266" y="1694"/>
                        <a:pt x="1266" y="1694"/>
                      </a:cubicBezTo>
                      <a:cubicBezTo>
                        <a:pt x="1280" y="1695"/>
                        <a:pt x="1280" y="1695"/>
                        <a:pt x="1280" y="1695"/>
                      </a:cubicBezTo>
                      <a:cubicBezTo>
                        <a:pt x="1279" y="1678"/>
                        <a:pt x="1279" y="1678"/>
                        <a:pt x="1279" y="1678"/>
                      </a:cubicBezTo>
                      <a:cubicBezTo>
                        <a:pt x="1270" y="1673"/>
                        <a:pt x="1270" y="1673"/>
                        <a:pt x="1270" y="1673"/>
                      </a:cubicBezTo>
                      <a:cubicBezTo>
                        <a:pt x="1270" y="1673"/>
                        <a:pt x="1282" y="1670"/>
                        <a:pt x="1282" y="1665"/>
                      </a:cubicBezTo>
                      <a:cubicBezTo>
                        <a:pt x="1282" y="1660"/>
                        <a:pt x="1266" y="1650"/>
                        <a:pt x="1266" y="1650"/>
                      </a:cubicBezTo>
                      <a:cubicBezTo>
                        <a:pt x="1282" y="1639"/>
                        <a:pt x="1282" y="1639"/>
                        <a:pt x="1282" y="1639"/>
                      </a:cubicBezTo>
                      <a:cubicBezTo>
                        <a:pt x="1282" y="1639"/>
                        <a:pt x="1295" y="1653"/>
                        <a:pt x="1301" y="1652"/>
                      </a:cubicBezTo>
                      <a:cubicBezTo>
                        <a:pt x="1307" y="1651"/>
                        <a:pt x="1303" y="1639"/>
                        <a:pt x="1303" y="1639"/>
                      </a:cubicBezTo>
                      <a:cubicBezTo>
                        <a:pt x="1303" y="1639"/>
                        <a:pt x="1303" y="1627"/>
                        <a:pt x="1311" y="1617"/>
                      </a:cubicBezTo>
                      <a:cubicBezTo>
                        <a:pt x="1319" y="1607"/>
                        <a:pt x="1331" y="1610"/>
                        <a:pt x="1337" y="1605"/>
                      </a:cubicBezTo>
                      <a:cubicBezTo>
                        <a:pt x="1343" y="1600"/>
                        <a:pt x="1340" y="1596"/>
                        <a:pt x="1343" y="1589"/>
                      </a:cubicBezTo>
                      <a:cubicBezTo>
                        <a:pt x="1346" y="1582"/>
                        <a:pt x="1364" y="1579"/>
                        <a:pt x="1364" y="1579"/>
                      </a:cubicBezTo>
                      <a:cubicBezTo>
                        <a:pt x="1366" y="1571"/>
                        <a:pt x="1366" y="1571"/>
                        <a:pt x="1366" y="1571"/>
                      </a:cubicBezTo>
                      <a:cubicBezTo>
                        <a:pt x="1366" y="1571"/>
                        <a:pt x="1372" y="1574"/>
                        <a:pt x="1377" y="1573"/>
                      </a:cubicBezTo>
                      <a:cubicBezTo>
                        <a:pt x="1382" y="1572"/>
                        <a:pt x="1381" y="1560"/>
                        <a:pt x="1387" y="1559"/>
                      </a:cubicBezTo>
                      <a:cubicBezTo>
                        <a:pt x="1393" y="1558"/>
                        <a:pt x="1412" y="1561"/>
                        <a:pt x="1412" y="1561"/>
                      </a:cubicBezTo>
                      <a:cubicBezTo>
                        <a:pt x="1416" y="1571"/>
                        <a:pt x="1416" y="1571"/>
                        <a:pt x="1416" y="1571"/>
                      </a:cubicBezTo>
                      <a:cubicBezTo>
                        <a:pt x="1427" y="1569"/>
                        <a:pt x="1427" y="1569"/>
                        <a:pt x="1427" y="1569"/>
                      </a:cubicBezTo>
                      <a:cubicBezTo>
                        <a:pt x="1414" y="1554"/>
                        <a:pt x="1414" y="1554"/>
                        <a:pt x="1414" y="1554"/>
                      </a:cubicBezTo>
                      <a:cubicBezTo>
                        <a:pt x="1414" y="1554"/>
                        <a:pt x="1423" y="1550"/>
                        <a:pt x="1427" y="1545"/>
                      </a:cubicBezTo>
                      <a:cubicBezTo>
                        <a:pt x="1431" y="1540"/>
                        <a:pt x="1453" y="1539"/>
                        <a:pt x="1453" y="1539"/>
                      </a:cubicBezTo>
                      <a:cubicBezTo>
                        <a:pt x="1442" y="1529"/>
                        <a:pt x="1442" y="1529"/>
                        <a:pt x="1442" y="1529"/>
                      </a:cubicBezTo>
                      <a:cubicBezTo>
                        <a:pt x="1442" y="1529"/>
                        <a:pt x="1454" y="1519"/>
                        <a:pt x="1459" y="1519"/>
                      </a:cubicBezTo>
                      <a:cubicBezTo>
                        <a:pt x="1464" y="1519"/>
                        <a:pt x="1460" y="1535"/>
                        <a:pt x="1463" y="1535"/>
                      </a:cubicBezTo>
                      <a:cubicBezTo>
                        <a:pt x="1466" y="1535"/>
                        <a:pt x="1472" y="1518"/>
                        <a:pt x="1472" y="1518"/>
                      </a:cubicBezTo>
                      <a:cubicBezTo>
                        <a:pt x="1497" y="1523"/>
                        <a:pt x="1497" y="1523"/>
                        <a:pt x="1497" y="1523"/>
                      </a:cubicBezTo>
                      <a:cubicBezTo>
                        <a:pt x="1497" y="1523"/>
                        <a:pt x="1502" y="1503"/>
                        <a:pt x="1513" y="1502"/>
                      </a:cubicBezTo>
                      <a:cubicBezTo>
                        <a:pt x="1524" y="1501"/>
                        <a:pt x="1521" y="1523"/>
                        <a:pt x="1521" y="1523"/>
                      </a:cubicBezTo>
                      <a:cubicBezTo>
                        <a:pt x="1566" y="1518"/>
                        <a:pt x="1566" y="1518"/>
                        <a:pt x="1566" y="1518"/>
                      </a:cubicBezTo>
                      <a:cubicBezTo>
                        <a:pt x="1571" y="1506"/>
                        <a:pt x="1571" y="1506"/>
                        <a:pt x="1571" y="1506"/>
                      </a:cubicBezTo>
                      <a:cubicBezTo>
                        <a:pt x="1565" y="1499"/>
                        <a:pt x="1565" y="1499"/>
                        <a:pt x="1565" y="1499"/>
                      </a:cubicBezTo>
                      <a:cubicBezTo>
                        <a:pt x="1565" y="1499"/>
                        <a:pt x="1571" y="1491"/>
                        <a:pt x="1577" y="1482"/>
                      </a:cubicBezTo>
                      <a:cubicBezTo>
                        <a:pt x="1583" y="1473"/>
                        <a:pt x="1613" y="1468"/>
                        <a:pt x="1613" y="1468"/>
                      </a:cubicBezTo>
                      <a:cubicBezTo>
                        <a:pt x="1613" y="1468"/>
                        <a:pt x="1610" y="1455"/>
                        <a:pt x="1610" y="1452"/>
                      </a:cubicBezTo>
                      <a:cubicBezTo>
                        <a:pt x="1610" y="1449"/>
                        <a:pt x="1611" y="1408"/>
                        <a:pt x="1611" y="1408"/>
                      </a:cubicBezTo>
                      <a:cubicBezTo>
                        <a:pt x="1629" y="1388"/>
                        <a:pt x="1629" y="1388"/>
                        <a:pt x="1629" y="1388"/>
                      </a:cubicBezTo>
                      <a:cubicBezTo>
                        <a:pt x="1629" y="1372"/>
                        <a:pt x="1629" y="1372"/>
                        <a:pt x="1629" y="1372"/>
                      </a:cubicBezTo>
                      <a:cubicBezTo>
                        <a:pt x="1642" y="1369"/>
                        <a:pt x="1642" y="1369"/>
                        <a:pt x="1642" y="1369"/>
                      </a:cubicBezTo>
                      <a:cubicBezTo>
                        <a:pt x="1642" y="1347"/>
                        <a:pt x="1642" y="1347"/>
                        <a:pt x="1642" y="1347"/>
                      </a:cubicBezTo>
                      <a:cubicBezTo>
                        <a:pt x="1642" y="1347"/>
                        <a:pt x="1651" y="1342"/>
                        <a:pt x="1655" y="1342"/>
                      </a:cubicBezTo>
                      <a:cubicBezTo>
                        <a:pt x="1659" y="1342"/>
                        <a:pt x="1659" y="1317"/>
                        <a:pt x="1659" y="1317"/>
                      </a:cubicBezTo>
                      <a:cubicBezTo>
                        <a:pt x="1659" y="1317"/>
                        <a:pt x="1653" y="1288"/>
                        <a:pt x="1651" y="1273"/>
                      </a:cubicBezTo>
                      <a:cubicBezTo>
                        <a:pt x="1649" y="1258"/>
                        <a:pt x="1667" y="1246"/>
                        <a:pt x="1674" y="1240"/>
                      </a:cubicBezTo>
                      <a:cubicBezTo>
                        <a:pt x="1681" y="1234"/>
                        <a:pt x="1671" y="1213"/>
                        <a:pt x="1671" y="1213"/>
                      </a:cubicBezTo>
                      <a:cubicBezTo>
                        <a:pt x="1675" y="1175"/>
                        <a:pt x="1675" y="1175"/>
                        <a:pt x="1675" y="1175"/>
                      </a:cubicBezTo>
                      <a:cubicBezTo>
                        <a:pt x="1675" y="1175"/>
                        <a:pt x="1683" y="1145"/>
                        <a:pt x="1682" y="1134"/>
                      </a:cubicBezTo>
                      <a:cubicBezTo>
                        <a:pt x="1681" y="1123"/>
                        <a:pt x="1669" y="1065"/>
                        <a:pt x="1669" y="1065"/>
                      </a:cubicBezTo>
                      <a:cubicBezTo>
                        <a:pt x="1674" y="1041"/>
                        <a:pt x="1674" y="1041"/>
                        <a:pt x="1674" y="1041"/>
                      </a:cubicBezTo>
                      <a:cubicBezTo>
                        <a:pt x="1674" y="1041"/>
                        <a:pt x="1665" y="1010"/>
                        <a:pt x="1668" y="1002"/>
                      </a:cubicBezTo>
                      <a:cubicBezTo>
                        <a:pt x="1671" y="994"/>
                        <a:pt x="1682" y="984"/>
                        <a:pt x="1682" y="984"/>
                      </a:cubicBezTo>
                      <a:cubicBezTo>
                        <a:pt x="1674" y="972"/>
                        <a:pt x="1674" y="972"/>
                        <a:pt x="1674" y="972"/>
                      </a:cubicBezTo>
                      <a:cubicBezTo>
                        <a:pt x="1674" y="972"/>
                        <a:pt x="1681" y="962"/>
                        <a:pt x="1685" y="962"/>
                      </a:cubicBezTo>
                      <a:cubicBezTo>
                        <a:pt x="1689" y="962"/>
                        <a:pt x="1698" y="981"/>
                        <a:pt x="1698" y="981"/>
                      </a:cubicBezTo>
                      <a:cubicBezTo>
                        <a:pt x="1698" y="981"/>
                        <a:pt x="1720" y="961"/>
                        <a:pt x="1727" y="951"/>
                      </a:cubicBezTo>
                      <a:cubicBezTo>
                        <a:pt x="1734" y="941"/>
                        <a:pt x="1739" y="897"/>
                        <a:pt x="1739" y="897"/>
                      </a:cubicBezTo>
                      <a:cubicBezTo>
                        <a:pt x="1739" y="897"/>
                        <a:pt x="1745" y="893"/>
                        <a:pt x="1751" y="889"/>
                      </a:cubicBezTo>
                      <a:cubicBezTo>
                        <a:pt x="1757" y="885"/>
                        <a:pt x="1762" y="863"/>
                        <a:pt x="1762" y="863"/>
                      </a:cubicBezTo>
                      <a:cubicBezTo>
                        <a:pt x="1762" y="863"/>
                        <a:pt x="1775" y="856"/>
                        <a:pt x="1782" y="855"/>
                      </a:cubicBezTo>
                      <a:cubicBezTo>
                        <a:pt x="1789" y="854"/>
                        <a:pt x="1789" y="834"/>
                        <a:pt x="1789" y="834"/>
                      </a:cubicBezTo>
                      <a:cubicBezTo>
                        <a:pt x="1789" y="834"/>
                        <a:pt x="1803" y="829"/>
                        <a:pt x="1816" y="811"/>
                      </a:cubicBezTo>
                      <a:cubicBezTo>
                        <a:pt x="1829" y="793"/>
                        <a:pt x="1844" y="746"/>
                        <a:pt x="1844" y="746"/>
                      </a:cubicBezTo>
                      <a:cubicBezTo>
                        <a:pt x="1844" y="746"/>
                        <a:pt x="1856" y="733"/>
                        <a:pt x="1857" y="727"/>
                      </a:cubicBezTo>
                      <a:cubicBezTo>
                        <a:pt x="1858" y="721"/>
                        <a:pt x="1852" y="705"/>
                        <a:pt x="1852" y="705"/>
                      </a:cubicBezTo>
                      <a:cubicBezTo>
                        <a:pt x="1852" y="705"/>
                        <a:pt x="1855" y="684"/>
                        <a:pt x="1855" y="667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90" name="Bolivia">
                  <a:extLst>
                    <a:ext uri="{FF2B5EF4-FFF2-40B4-BE49-F238E27FC236}">
                      <a16:creationId xmlns:a16="http://schemas.microsoft.com/office/drawing/2014/main" id="{CD4D5ED1-F699-A515-3513-89CCBA20CF1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771211" y="4372343"/>
                  <a:ext cx="338197" cy="398278"/>
                </a:xfrm>
                <a:custGeom>
                  <a:avLst/>
                  <a:gdLst>
                    <a:gd name="T0" fmla="*/ 1 w 604"/>
                    <a:gd name="T1" fmla="*/ 70 h 712"/>
                    <a:gd name="T2" fmla="*/ 599 w 604"/>
                    <a:gd name="T3" fmla="*/ 500 h 712"/>
                    <a:gd name="T4" fmla="*/ 584 w 604"/>
                    <a:gd name="T5" fmla="*/ 421 h 712"/>
                    <a:gd name="T6" fmla="*/ 561 w 604"/>
                    <a:gd name="T7" fmla="*/ 361 h 712"/>
                    <a:gd name="T8" fmla="*/ 468 w 604"/>
                    <a:gd name="T9" fmla="*/ 314 h 712"/>
                    <a:gd name="T10" fmla="*/ 463 w 604"/>
                    <a:gd name="T11" fmla="*/ 290 h 712"/>
                    <a:gd name="T12" fmla="*/ 450 w 604"/>
                    <a:gd name="T13" fmla="*/ 250 h 712"/>
                    <a:gd name="T14" fmla="*/ 418 w 604"/>
                    <a:gd name="T15" fmla="*/ 209 h 712"/>
                    <a:gd name="T16" fmla="*/ 367 w 604"/>
                    <a:gd name="T17" fmla="*/ 190 h 712"/>
                    <a:gd name="T18" fmla="*/ 320 w 604"/>
                    <a:gd name="T19" fmla="*/ 163 h 712"/>
                    <a:gd name="T20" fmla="*/ 290 w 604"/>
                    <a:gd name="T21" fmla="*/ 152 h 712"/>
                    <a:gd name="T22" fmla="*/ 258 w 604"/>
                    <a:gd name="T23" fmla="*/ 153 h 712"/>
                    <a:gd name="T24" fmla="*/ 230 w 604"/>
                    <a:gd name="T25" fmla="*/ 130 h 712"/>
                    <a:gd name="T26" fmla="*/ 210 w 604"/>
                    <a:gd name="T27" fmla="*/ 97 h 712"/>
                    <a:gd name="T28" fmla="*/ 200 w 604"/>
                    <a:gd name="T29" fmla="*/ 52 h 712"/>
                    <a:gd name="T30" fmla="*/ 211 w 604"/>
                    <a:gd name="T31" fmla="*/ 4 h 712"/>
                    <a:gd name="T32" fmla="*/ 183 w 604"/>
                    <a:gd name="T33" fmla="*/ 6 h 712"/>
                    <a:gd name="T34" fmla="*/ 151 w 604"/>
                    <a:gd name="T35" fmla="*/ 13 h 712"/>
                    <a:gd name="T36" fmla="*/ 104 w 604"/>
                    <a:gd name="T37" fmla="*/ 38 h 712"/>
                    <a:gd name="T38" fmla="*/ 76 w 604"/>
                    <a:gd name="T39" fmla="*/ 57 h 712"/>
                    <a:gd name="T40" fmla="*/ 50 w 604"/>
                    <a:gd name="T41" fmla="*/ 81 h 712"/>
                    <a:gd name="T42" fmla="*/ 9 w 604"/>
                    <a:gd name="T43" fmla="*/ 71 h 712"/>
                    <a:gd name="T44" fmla="*/ 52 w 604"/>
                    <a:gd name="T45" fmla="*/ 157 h 712"/>
                    <a:gd name="T46" fmla="*/ 50 w 604"/>
                    <a:gd name="T47" fmla="*/ 204 h 712"/>
                    <a:gd name="T48" fmla="*/ 52 w 604"/>
                    <a:gd name="T49" fmla="*/ 246 h 712"/>
                    <a:gd name="T50" fmla="*/ 44 w 604"/>
                    <a:gd name="T51" fmla="*/ 304 h 712"/>
                    <a:gd name="T52" fmla="*/ 39 w 604"/>
                    <a:gd name="T53" fmla="*/ 318 h 712"/>
                    <a:gd name="T54" fmla="*/ 62 w 604"/>
                    <a:gd name="T55" fmla="*/ 339 h 712"/>
                    <a:gd name="T56" fmla="*/ 76 w 604"/>
                    <a:gd name="T57" fmla="*/ 359 h 712"/>
                    <a:gd name="T58" fmla="*/ 62 w 604"/>
                    <a:gd name="T59" fmla="*/ 369 h 712"/>
                    <a:gd name="T60" fmla="*/ 33 w 604"/>
                    <a:gd name="T61" fmla="*/ 409 h 712"/>
                    <a:gd name="T62" fmla="*/ 39 w 604"/>
                    <a:gd name="T63" fmla="*/ 427 h 712"/>
                    <a:gd name="T64" fmla="*/ 64 w 604"/>
                    <a:gd name="T65" fmla="*/ 449 h 712"/>
                    <a:gd name="T66" fmla="*/ 105 w 604"/>
                    <a:gd name="T67" fmla="*/ 525 h 712"/>
                    <a:gd name="T68" fmla="*/ 104 w 604"/>
                    <a:gd name="T69" fmla="*/ 554 h 712"/>
                    <a:gd name="T70" fmla="*/ 102 w 604"/>
                    <a:gd name="T71" fmla="*/ 588 h 712"/>
                    <a:gd name="T72" fmla="*/ 134 w 604"/>
                    <a:gd name="T73" fmla="*/ 627 h 712"/>
                    <a:gd name="T74" fmla="*/ 147 w 604"/>
                    <a:gd name="T75" fmla="*/ 684 h 712"/>
                    <a:gd name="T76" fmla="*/ 188 w 604"/>
                    <a:gd name="T77" fmla="*/ 708 h 712"/>
                    <a:gd name="T78" fmla="*/ 199 w 604"/>
                    <a:gd name="T79" fmla="*/ 691 h 712"/>
                    <a:gd name="T80" fmla="*/ 214 w 604"/>
                    <a:gd name="T81" fmla="*/ 674 h 712"/>
                    <a:gd name="T82" fmla="*/ 241 w 604"/>
                    <a:gd name="T83" fmla="*/ 670 h 712"/>
                    <a:gd name="T84" fmla="*/ 318 w 604"/>
                    <a:gd name="T85" fmla="*/ 707 h 712"/>
                    <a:gd name="T86" fmla="*/ 374 w 604"/>
                    <a:gd name="T87" fmla="*/ 664 h 712"/>
                    <a:gd name="T88" fmla="*/ 403 w 604"/>
                    <a:gd name="T89" fmla="*/ 607 h 712"/>
                    <a:gd name="T90" fmla="*/ 413 w 604"/>
                    <a:gd name="T91" fmla="*/ 558 h 712"/>
                    <a:gd name="T92" fmla="*/ 486 w 604"/>
                    <a:gd name="T93" fmla="*/ 527 h 712"/>
                    <a:gd name="T94" fmla="*/ 574 w 604"/>
                    <a:gd name="T95" fmla="*/ 546 h 712"/>
                    <a:gd name="T96" fmla="*/ 602 w 604"/>
                    <a:gd name="T97" fmla="*/ 555 h 712"/>
                    <a:gd name="T98" fmla="*/ 603 w 604"/>
                    <a:gd name="T99" fmla="*/ 508 h 7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604" h="712">
                      <a:moveTo>
                        <a:pt x="0" y="70"/>
                      </a:move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1" y="70"/>
                        <a:pt x="1" y="70"/>
                        <a:pt x="0" y="70"/>
                      </a:cubicBezTo>
                      <a:close/>
                      <a:moveTo>
                        <a:pt x="599" y="500"/>
                      </a:moveTo>
                      <a:cubicBezTo>
                        <a:pt x="599" y="500"/>
                        <a:pt x="604" y="474"/>
                        <a:pt x="604" y="460"/>
                      </a:cubicBezTo>
                      <a:cubicBezTo>
                        <a:pt x="604" y="446"/>
                        <a:pt x="595" y="428"/>
                        <a:pt x="584" y="421"/>
                      </a:cubicBezTo>
                      <a:cubicBezTo>
                        <a:pt x="573" y="414"/>
                        <a:pt x="564" y="413"/>
                        <a:pt x="557" y="404"/>
                      </a:cubicBezTo>
                      <a:cubicBezTo>
                        <a:pt x="550" y="395"/>
                        <a:pt x="561" y="361"/>
                        <a:pt x="561" y="361"/>
                      </a:cubicBezTo>
                      <a:cubicBezTo>
                        <a:pt x="561" y="361"/>
                        <a:pt x="484" y="363"/>
                        <a:pt x="471" y="354"/>
                      </a:cubicBezTo>
                      <a:cubicBezTo>
                        <a:pt x="458" y="345"/>
                        <a:pt x="468" y="314"/>
                        <a:pt x="468" y="314"/>
                      </a:cubicBezTo>
                      <a:cubicBezTo>
                        <a:pt x="468" y="314"/>
                        <a:pt x="452" y="300"/>
                        <a:pt x="450" y="294"/>
                      </a:cubicBezTo>
                      <a:cubicBezTo>
                        <a:pt x="448" y="288"/>
                        <a:pt x="463" y="290"/>
                        <a:pt x="463" y="290"/>
                      </a:cubicBezTo>
                      <a:cubicBezTo>
                        <a:pt x="461" y="269"/>
                        <a:pt x="461" y="269"/>
                        <a:pt x="461" y="269"/>
                      </a:cubicBezTo>
                      <a:cubicBezTo>
                        <a:pt x="461" y="269"/>
                        <a:pt x="454" y="257"/>
                        <a:pt x="450" y="250"/>
                      </a:cubicBezTo>
                      <a:cubicBezTo>
                        <a:pt x="446" y="243"/>
                        <a:pt x="451" y="240"/>
                        <a:pt x="450" y="230"/>
                      </a:cubicBezTo>
                      <a:cubicBezTo>
                        <a:pt x="449" y="220"/>
                        <a:pt x="429" y="211"/>
                        <a:pt x="418" y="209"/>
                      </a:cubicBezTo>
                      <a:cubicBezTo>
                        <a:pt x="407" y="207"/>
                        <a:pt x="396" y="212"/>
                        <a:pt x="386" y="211"/>
                      </a:cubicBezTo>
                      <a:cubicBezTo>
                        <a:pt x="376" y="210"/>
                        <a:pt x="367" y="190"/>
                        <a:pt x="367" y="190"/>
                      </a:cubicBezTo>
                      <a:cubicBezTo>
                        <a:pt x="367" y="190"/>
                        <a:pt x="351" y="189"/>
                        <a:pt x="340" y="184"/>
                      </a:cubicBezTo>
                      <a:cubicBezTo>
                        <a:pt x="329" y="179"/>
                        <a:pt x="321" y="167"/>
                        <a:pt x="320" y="163"/>
                      </a:cubicBezTo>
                      <a:cubicBezTo>
                        <a:pt x="319" y="159"/>
                        <a:pt x="312" y="166"/>
                        <a:pt x="304" y="166"/>
                      </a:cubicBezTo>
                      <a:cubicBezTo>
                        <a:pt x="296" y="166"/>
                        <a:pt x="290" y="152"/>
                        <a:pt x="290" y="152"/>
                      </a:cubicBezTo>
                      <a:cubicBezTo>
                        <a:pt x="290" y="152"/>
                        <a:pt x="280" y="159"/>
                        <a:pt x="276" y="158"/>
                      </a:cubicBezTo>
                      <a:cubicBezTo>
                        <a:pt x="272" y="157"/>
                        <a:pt x="268" y="157"/>
                        <a:pt x="258" y="153"/>
                      </a:cubicBezTo>
                      <a:cubicBezTo>
                        <a:pt x="248" y="149"/>
                        <a:pt x="252" y="138"/>
                        <a:pt x="249" y="133"/>
                      </a:cubicBezTo>
                      <a:cubicBezTo>
                        <a:pt x="246" y="128"/>
                        <a:pt x="230" y="130"/>
                        <a:pt x="230" y="130"/>
                      </a:cubicBezTo>
                      <a:cubicBezTo>
                        <a:pt x="224" y="110"/>
                        <a:pt x="224" y="110"/>
                        <a:pt x="224" y="110"/>
                      </a:cubicBezTo>
                      <a:cubicBezTo>
                        <a:pt x="224" y="110"/>
                        <a:pt x="217" y="106"/>
                        <a:pt x="210" y="97"/>
                      </a:cubicBezTo>
                      <a:cubicBezTo>
                        <a:pt x="203" y="88"/>
                        <a:pt x="210" y="82"/>
                        <a:pt x="210" y="73"/>
                      </a:cubicBezTo>
                      <a:cubicBezTo>
                        <a:pt x="210" y="64"/>
                        <a:pt x="201" y="56"/>
                        <a:pt x="200" y="52"/>
                      </a:cubicBezTo>
                      <a:cubicBezTo>
                        <a:pt x="199" y="48"/>
                        <a:pt x="207" y="35"/>
                        <a:pt x="207" y="35"/>
                      </a:cubicBezTo>
                      <a:cubicBezTo>
                        <a:pt x="207" y="35"/>
                        <a:pt x="215" y="8"/>
                        <a:pt x="211" y="4"/>
                      </a:cubicBezTo>
                      <a:cubicBezTo>
                        <a:pt x="207" y="0"/>
                        <a:pt x="194" y="8"/>
                        <a:pt x="193" y="12"/>
                      </a:cubicBezTo>
                      <a:cubicBezTo>
                        <a:pt x="192" y="16"/>
                        <a:pt x="183" y="6"/>
                        <a:pt x="183" y="6"/>
                      </a:cubicBezTo>
                      <a:cubicBezTo>
                        <a:pt x="174" y="14"/>
                        <a:pt x="174" y="14"/>
                        <a:pt x="174" y="14"/>
                      </a:cubicBezTo>
                      <a:cubicBezTo>
                        <a:pt x="174" y="14"/>
                        <a:pt x="164" y="13"/>
                        <a:pt x="151" y="13"/>
                      </a:cubicBezTo>
                      <a:cubicBezTo>
                        <a:pt x="138" y="13"/>
                        <a:pt x="128" y="39"/>
                        <a:pt x="128" y="39"/>
                      </a:cubicBezTo>
                      <a:cubicBezTo>
                        <a:pt x="104" y="38"/>
                        <a:pt x="104" y="38"/>
                        <a:pt x="104" y="38"/>
                      </a:cubicBezTo>
                      <a:cubicBezTo>
                        <a:pt x="100" y="56"/>
                        <a:pt x="100" y="56"/>
                        <a:pt x="100" y="56"/>
                      </a:cubicBezTo>
                      <a:cubicBezTo>
                        <a:pt x="76" y="57"/>
                        <a:pt x="76" y="57"/>
                        <a:pt x="76" y="57"/>
                      </a:cubicBezTo>
                      <a:cubicBezTo>
                        <a:pt x="71" y="69"/>
                        <a:pt x="71" y="69"/>
                        <a:pt x="71" y="69"/>
                      </a:cubicBezTo>
                      <a:cubicBezTo>
                        <a:pt x="71" y="69"/>
                        <a:pt x="63" y="78"/>
                        <a:pt x="50" y="81"/>
                      </a:cubicBezTo>
                      <a:cubicBezTo>
                        <a:pt x="37" y="84"/>
                        <a:pt x="34" y="73"/>
                        <a:pt x="34" y="73"/>
                      </a:cubicBezTo>
                      <a:cubicBezTo>
                        <a:pt x="34" y="73"/>
                        <a:pt x="21" y="72"/>
                        <a:pt x="9" y="71"/>
                      </a:cubicBezTo>
                      <a:cubicBezTo>
                        <a:pt x="11" y="80"/>
                        <a:pt x="18" y="101"/>
                        <a:pt x="29" y="112"/>
                      </a:cubicBezTo>
                      <a:cubicBezTo>
                        <a:pt x="44" y="125"/>
                        <a:pt x="54" y="150"/>
                        <a:pt x="52" y="157"/>
                      </a:cubicBezTo>
                      <a:cubicBezTo>
                        <a:pt x="51" y="163"/>
                        <a:pt x="41" y="174"/>
                        <a:pt x="41" y="174"/>
                      </a:cubicBezTo>
                      <a:cubicBezTo>
                        <a:pt x="50" y="204"/>
                        <a:pt x="50" y="204"/>
                        <a:pt x="50" y="204"/>
                      </a:cubicBezTo>
                      <a:cubicBezTo>
                        <a:pt x="37" y="224"/>
                        <a:pt x="37" y="224"/>
                        <a:pt x="37" y="224"/>
                      </a:cubicBezTo>
                      <a:cubicBezTo>
                        <a:pt x="37" y="224"/>
                        <a:pt x="56" y="237"/>
                        <a:pt x="52" y="246"/>
                      </a:cubicBezTo>
                      <a:cubicBezTo>
                        <a:pt x="48" y="256"/>
                        <a:pt x="33" y="264"/>
                        <a:pt x="35" y="279"/>
                      </a:cubicBezTo>
                      <a:cubicBezTo>
                        <a:pt x="36" y="293"/>
                        <a:pt x="44" y="304"/>
                        <a:pt x="44" y="304"/>
                      </a:cubicBezTo>
                      <a:cubicBezTo>
                        <a:pt x="39" y="315"/>
                        <a:pt x="39" y="315"/>
                        <a:pt x="39" y="315"/>
                      </a:cubicBezTo>
                      <a:cubicBezTo>
                        <a:pt x="39" y="315"/>
                        <a:pt x="39" y="316"/>
                        <a:pt x="39" y="318"/>
                      </a:cubicBezTo>
                      <a:cubicBezTo>
                        <a:pt x="44" y="322"/>
                        <a:pt x="47" y="326"/>
                        <a:pt x="47" y="326"/>
                      </a:cubicBezTo>
                      <a:cubicBezTo>
                        <a:pt x="62" y="339"/>
                        <a:pt x="62" y="339"/>
                        <a:pt x="62" y="339"/>
                      </a:cubicBezTo>
                      <a:cubicBezTo>
                        <a:pt x="63" y="351"/>
                        <a:pt x="63" y="351"/>
                        <a:pt x="63" y="351"/>
                      </a:cubicBezTo>
                      <a:cubicBezTo>
                        <a:pt x="76" y="359"/>
                        <a:pt x="76" y="359"/>
                        <a:pt x="76" y="359"/>
                      </a:cubicBezTo>
                      <a:cubicBezTo>
                        <a:pt x="68" y="376"/>
                        <a:pt x="68" y="376"/>
                        <a:pt x="68" y="376"/>
                      </a:cubicBezTo>
                      <a:cubicBezTo>
                        <a:pt x="62" y="369"/>
                        <a:pt x="62" y="369"/>
                        <a:pt x="62" y="369"/>
                      </a:cubicBezTo>
                      <a:cubicBezTo>
                        <a:pt x="61" y="377"/>
                        <a:pt x="58" y="388"/>
                        <a:pt x="52" y="392"/>
                      </a:cubicBezTo>
                      <a:cubicBezTo>
                        <a:pt x="43" y="399"/>
                        <a:pt x="33" y="409"/>
                        <a:pt x="33" y="409"/>
                      </a:cubicBezTo>
                      <a:cubicBezTo>
                        <a:pt x="40" y="426"/>
                        <a:pt x="40" y="426"/>
                        <a:pt x="40" y="426"/>
                      </a:cubicBezTo>
                      <a:cubicBezTo>
                        <a:pt x="39" y="427"/>
                        <a:pt x="39" y="427"/>
                        <a:pt x="39" y="427"/>
                      </a:cubicBezTo>
                      <a:cubicBezTo>
                        <a:pt x="50" y="449"/>
                        <a:pt x="50" y="449"/>
                        <a:pt x="50" y="449"/>
                      </a:cubicBezTo>
                      <a:cubicBezTo>
                        <a:pt x="64" y="449"/>
                        <a:pt x="64" y="449"/>
                        <a:pt x="64" y="449"/>
                      </a:cubicBezTo>
                      <a:cubicBezTo>
                        <a:pt x="73" y="501"/>
                        <a:pt x="73" y="501"/>
                        <a:pt x="73" y="501"/>
                      </a:cubicBezTo>
                      <a:cubicBezTo>
                        <a:pt x="73" y="501"/>
                        <a:pt x="109" y="513"/>
                        <a:pt x="105" y="525"/>
                      </a:cubicBezTo>
                      <a:cubicBezTo>
                        <a:pt x="101" y="537"/>
                        <a:pt x="93" y="543"/>
                        <a:pt x="93" y="543"/>
                      </a:cubicBezTo>
                      <a:cubicBezTo>
                        <a:pt x="104" y="554"/>
                        <a:pt x="104" y="554"/>
                        <a:pt x="104" y="554"/>
                      </a:cubicBezTo>
                      <a:cubicBezTo>
                        <a:pt x="104" y="554"/>
                        <a:pt x="89" y="566"/>
                        <a:pt x="93" y="575"/>
                      </a:cubicBezTo>
                      <a:cubicBezTo>
                        <a:pt x="97" y="585"/>
                        <a:pt x="102" y="588"/>
                        <a:pt x="102" y="588"/>
                      </a:cubicBezTo>
                      <a:cubicBezTo>
                        <a:pt x="102" y="605"/>
                        <a:pt x="102" y="605"/>
                        <a:pt x="102" y="605"/>
                      </a:cubicBezTo>
                      <a:cubicBezTo>
                        <a:pt x="102" y="605"/>
                        <a:pt x="131" y="616"/>
                        <a:pt x="134" y="627"/>
                      </a:cubicBezTo>
                      <a:cubicBezTo>
                        <a:pt x="136" y="638"/>
                        <a:pt x="134" y="668"/>
                        <a:pt x="134" y="668"/>
                      </a:cubicBezTo>
                      <a:cubicBezTo>
                        <a:pt x="147" y="684"/>
                        <a:pt x="147" y="684"/>
                        <a:pt x="147" y="684"/>
                      </a:cubicBezTo>
                      <a:cubicBezTo>
                        <a:pt x="147" y="684"/>
                        <a:pt x="146" y="710"/>
                        <a:pt x="158" y="711"/>
                      </a:cubicBezTo>
                      <a:cubicBezTo>
                        <a:pt x="170" y="712"/>
                        <a:pt x="188" y="708"/>
                        <a:pt x="188" y="708"/>
                      </a:cubicBezTo>
                      <a:cubicBezTo>
                        <a:pt x="188" y="689"/>
                        <a:pt x="188" y="689"/>
                        <a:pt x="188" y="689"/>
                      </a:cubicBezTo>
                      <a:cubicBezTo>
                        <a:pt x="199" y="691"/>
                        <a:pt x="199" y="691"/>
                        <a:pt x="199" y="691"/>
                      </a:cubicBezTo>
                      <a:cubicBezTo>
                        <a:pt x="199" y="677"/>
                        <a:pt x="199" y="677"/>
                        <a:pt x="199" y="677"/>
                      </a:cubicBezTo>
                      <a:cubicBezTo>
                        <a:pt x="214" y="674"/>
                        <a:pt x="214" y="674"/>
                        <a:pt x="214" y="674"/>
                      </a:cubicBezTo>
                      <a:cubicBezTo>
                        <a:pt x="222" y="657"/>
                        <a:pt x="222" y="657"/>
                        <a:pt x="222" y="657"/>
                      </a:cubicBezTo>
                      <a:cubicBezTo>
                        <a:pt x="222" y="657"/>
                        <a:pt x="227" y="666"/>
                        <a:pt x="241" y="670"/>
                      </a:cubicBezTo>
                      <a:cubicBezTo>
                        <a:pt x="254" y="674"/>
                        <a:pt x="296" y="673"/>
                        <a:pt x="296" y="673"/>
                      </a:cubicBezTo>
                      <a:cubicBezTo>
                        <a:pt x="318" y="707"/>
                        <a:pt x="318" y="707"/>
                        <a:pt x="318" y="707"/>
                      </a:cubicBezTo>
                      <a:cubicBezTo>
                        <a:pt x="323" y="670"/>
                        <a:pt x="323" y="670"/>
                        <a:pt x="323" y="670"/>
                      </a:cubicBezTo>
                      <a:cubicBezTo>
                        <a:pt x="374" y="664"/>
                        <a:pt x="374" y="664"/>
                        <a:pt x="374" y="664"/>
                      </a:cubicBezTo>
                      <a:cubicBezTo>
                        <a:pt x="397" y="681"/>
                        <a:pt x="397" y="681"/>
                        <a:pt x="397" y="681"/>
                      </a:cubicBezTo>
                      <a:cubicBezTo>
                        <a:pt x="397" y="681"/>
                        <a:pt x="405" y="613"/>
                        <a:pt x="403" y="607"/>
                      </a:cubicBezTo>
                      <a:cubicBezTo>
                        <a:pt x="402" y="600"/>
                        <a:pt x="387" y="578"/>
                        <a:pt x="394" y="574"/>
                      </a:cubicBezTo>
                      <a:cubicBezTo>
                        <a:pt x="401" y="570"/>
                        <a:pt x="413" y="558"/>
                        <a:pt x="413" y="558"/>
                      </a:cubicBezTo>
                      <a:cubicBezTo>
                        <a:pt x="417" y="539"/>
                        <a:pt x="417" y="539"/>
                        <a:pt x="417" y="539"/>
                      </a:cubicBezTo>
                      <a:cubicBezTo>
                        <a:pt x="486" y="527"/>
                        <a:pt x="486" y="527"/>
                        <a:pt x="486" y="527"/>
                      </a:cubicBezTo>
                      <a:cubicBezTo>
                        <a:pt x="539" y="518"/>
                        <a:pt x="539" y="518"/>
                        <a:pt x="539" y="518"/>
                      </a:cubicBezTo>
                      <a:cubicBezTo>
                        <a:pt x="574" y="546"/>
                        <a:pt x="574" y="546"/>
                        <a:pt x="574" y="546"/>
                      </a:cubicBezTo>
                      <a:cubicBezTo>
                        <a:pt x="587" y="569"/>
                        <a:pt x="587" y="569"/>
                        <a:pt x="587" y="569"/>
                      </a:cubicBezTo>
                      <a:cubicBezTo>
                        <a:pt x="587" y="563"/>
                        <a:pt x="602" y="555"/>
                        <a:pt x="602" y="555"/>
                      </a:cubicBezTo>
                      <a:cubicBezTo>
                        <a:pt x="602" y="555"/>
                        <a:pt x="590" y="545"/>
                        <a:pt x="588" y="540"/>
                      </a:cubicBezTo>
                      <a:cubicBezTo>
                        <a:pt x="586" y="535"/>
                        <a:pt x="603" y="508"/>
                        <a:pt x="603" y="508"/>
                      </a:cubicBezTo>
                      <a:lnTo>
                        <a:pt x="599" y="50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91" name="Argentina">
                  <a:extLst>
                    <a:ext uri="{FF2B5EF4-FFF2-40B4-BE49-F238E27FC236}">
                      <a16:creationId xmlns:a16="http://schemas.microsoft.com/office/drawing/2014/main" id="{87E4109A-CE93-7AEF-2494-CD87FDDAD15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831547" y="4740478"/>
                  <a:ext cx="409647" cy="910805"/>
                </a:xfrm>
                <a:custGeom>
                  <a:avLst/>
                  <a:gdLst>
                    <a:gd name="T0" fmla="*/ 659 w 732"/>
                    <a:gd name="T1" fmla="*/ 333 h 1628"/>
                    <a:gd name="T2" fmla="*/ 726 w 732"/>
                    <a:gd name="T3" fmla="*/ 284 h 1628"/>
                    <a:gd name="T4" fmla="*/ 679 w 732"/>
                    <a:gd name="T5" fmla="*/ 205 h 1628"/>
                    <a:gd name="T6" fmla="*/ 622 w 732"/>
                    <a:gd name="T7" fmla="*/ 296 h 1628"/>
                    <a:gd name="T8" fmla="*/ 534 w 732"/>
                    <a:gd name="T9" fmla="*/ 286 h 1628"/>
                    <a:gd name="T10" fmla="*/ 535 w 732"/>
                    <a:gd name="T11" fmla="*/ 223 h 1628"/>
                    <a:gd name="T12" fmla="*/ 444 w 732"/>
                    <a:gd name="T13" fmla="*/ 138 h 1628"/>
                    <a:gd name="T14" fmla="*/ 328 w 732"/>
                    <a:gd name="T15" fmla="*/ 70 h 1628"/>
                    <a:gd name="T16" fmla="*/ 216 w 732"/>
                    <a:gd name="T17" fmla="*/ 13 h 1628"/>
                    <a:gd name="T18" fmla="*/ 115 w 732"/>
                    <a:gd name="T19" fmla="*/ 0 h 1628"/>
                    <a:gd name="T20" fmla="*/ 81 w 732"/>
                    <a:gd name="T21" fmla="*/ 32 h 1628"/>
                    <a:gd name="T22" fmla="*/ 82 w 732"/>
                    <a:gd name="T23" fmla="*/ 63 h 1628"/>
                    <a:gd name="T24" fmla="*/ 27 w 732"/>
                    <a:gd name="T25" fmla="*/ 199 h 1628"/>
                    <a:gd name="T26" fmla="*/ 35 w 732"/>
                    <a:gd name="T27" fmla="*/ 280 h 1628"/>
                    <a:gd name="T28" fmla="*/ 2 w 732"/>
                    <a:gd name="T29" fmla="*/ 401 h 1628"/>
                    <a:gd name="T30" fmla="*/ 0 w 732"/>
                    <a:gd name="T31" fmla="*/ 500 h 1628"/>
                    <a:gd name="T32" fmla="*/ 32 w 732"/>
                    <a:gd name="T33" fmla="*/ 564 h 1628"/>
                    <a:gd name="T34" fmla="*/ 63 w 732"/>
                    <a:gd name="T35" fmla="*/ 614 h 1628"/>
                    <a:gd name="T36" fmla="*/ 64 w 732"/>
                    <a:gd name="T37" fmla="*/ 724 h 1628"/>
                    <a:gd name="T38" fmla="*/ 68 w 732"/>
                    <a:gd name="T39" fmla="*/ 786 h 1628"/>
                    <a:gd name="T40" fmla="*/ 83 w 732"/>
                    <a:gd name="T41" fmla="*/ 872 h 1628"/>
                    <a:gd name="T42" fmla="*/ 87 w 732"/>
                    <a:gd name="T43" fmla="*/ 944 h 1628"/>
                    <a:gd name="T44" fmla="*/ 95 w 732"/>
                    <a:gd name="T45" fmla="*/ 990 h 1628"/>
                    <a:gd name="T46" fmla="*/ 129 w 732"/>
                    <a:gd name="T47" fmla="*/ 1082 h 1628"/>
                    <a:gd name="T48" fmla="*/ 143 w 732"/>
                    <a:gd name="T49" fmla="*/ 1145 h 1628"/>
                    <a:gd name="T50" fmla="*/ 170 w 732"/>
                    <a:gd name="T51" fmla="*/ 1213 h 1628"/>
                    <a:gd name="T52" fmla="*/ 205 w 732"/>
                    <a:gd name="T53" fmla="*/ 1257 h 1628"/>
                    <a:gd name="T54" fmla="*/ 217 w 732"/>
                    <a:gd name="T55" fmla="*/ 1321 h 1628"/>
                    <a:gd name="T56" fmla="*/ 210 w 732"/>
                    <a:gd name="T57" fmla="*/ 1394 h 1628"/>
                    <a:gd name="T58" fmla="*/ 214 w 732"/>
                    <a:gd name="T59" fmla="*/ 1450 h 1628"/>
                    <a:gd name="T60" fmla="*/ 216 w 732"/>
                    <a:gd name="T61" fmla="*/ 1513 h 1628"/>
                    <a:gd name="T62" fmla="*/ 290 w 732"/>
                    <a:gd name="T63" fmla="*/ 1562 h 1628"/>
                    <a:gd name="T64" fmla="*/ 347 w 732"/>
                    <a:gd name="T65" fmla="*/ 1612 h 1628"/>
                    <a:gd name="T66" fmla="*/ 437 w 732"/>
                    <a:gd name="T67" fmla="*/ 1628 h 1628"/>
                    <a:gd name="T68" fmla="*/ 438 w 732"/>
                    <a:gd name="T69" fmla="*/ 1589 h 1628"/>
                    <a:gd name="T70" fmla="*/ 409 w 732"/>
                    <a:gd name="T71" fmla="*/ 1534 h 1628"/>
                    <a:gd name="T72" fmla="*/ 412 w 732"/>
                    <a:gd name="T73" fmla="*/ 1501 h 1628"/>
                    <a:gd name="T74" fmla="*/ 441 w 732"/>
                    <a:gd name="T75" fmla="*/ 1451 h 1628"/>
                    <a:gd name="T76" fmla="*/ 476 w 732"/>
                    <a:gd name="T77" fmla="*/ 1359 h 1628"/>
                    <a:gd name="T78" fmla="*/ 379 w 732"/>
                    <a:gd name="T79" fmla="*/ 1301 h 1628"/>
                    <a:gd name="T80" fmla="*/ 407 w 732"/>
                    <a:gd name="T81" fmla="*/ 1240 h 1628"/>
                    <a:gd name="T82" fmla="*/ 443 w 732"/>
                    <a:gd name="T83" fmla="*/ 1217 h 1628"/>
                    <a:gd name="T84" fmla="*/ 456 w 732"/>
                    <a:gd name="T85" fmla="*/ 1130 h 1628"/>
                    <a:gd name="T86" fmla="*/ 486 w 732"/>
                    <a:gd name="T87" fmla="*/ 1113 h 1628"/>
                    <a:gd name="T88" fmla="*/ 404 w 732"/>
                    <a:gd name="T89" fmla="*/ 1089 h 1628"/>
                    <a:gd name="T90" fmla="*/ 465 w 732"/>
                    <a:gd name="T91" fmla="*/ 1039 h 1628"/>
                    <a:gd name="T92" fmla="*/ 501 w 732"/>
                    <a:gd name="T93" fmla="*/ 948 h 1628"/>
                    <a:gd name="T94" fmla="*/ 494 w 732"/>
                    <a:gd name="T95" fmla="*/ 934 h 1628"/>
                    <a:gd name="T96" fmla="*/ 554 w 732"/>
                    <a:gd name="T97" fmla="*/ 920 h 1628"/>
                    <a:gd name="T98" fmla="*/ 688 w 732"/>
                    <a:gd name="T99" fmla="*/ 847 h 1628"/>
                    <a:gd name="T100" fmla="*/ 667 w 732"/>
                    <a:gd name="T101" fmla="*/ 766 h 1628"/>
                    <a:gd name="T102" fmla="*/ 601 w 732"/>
                    <a:gd name="T103" fmla="*/ 696 h 1628"/>
                    <a:gd name="T104" fmla="*/ 570 w 732"/>
                    <a:gd name="T105" fmla="*/ 601 h 1628"/>
                    <a:gd name="T106" fmla="*/ 568 w 732"/>
                    <a:gd name="T107" fmla="*/ 536 h 1628"/>
                    <a:gd name="T108" fmla="*/ 587 w 732"/>
                    <a:gd name="T109" fmla="*/ 484 h 1628"/>
                    <a:gd name="T110" fmla="*/ 604 w 732"/>
                    <a:gd name="T111" fmla="*/ 419 h 1628"/>
                    <a:gd name="T112" fmla="*/ 619 w 732"/>
                    <a:gd name="T113" fmla="*/ 681 h 1628"/>
                    <a:gd name="T114" fmla="*/ 619 w 732"/>
                    <a:gd name="T115" fmla="*/ 681 h 16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32" h="1628">
                      <a:moveTo>
                        <a:pt x="634" y="355"/>
                      </a:moveTo>
                      <a:cubicBezTo>
                        <a:pt x="650" y="351"/>
                        <a:pt x="650" y="351"/>
                        <a:pt x="650" y="351"/>
                      </a:cubicBezTo>
                      <a:cubicBezTo>
                        <a:pt x="653" y="335"/>
                        <a:pt x="653" y="335"/>
                        <a:pt x="653" y="335"/>
                      </a:cubicBezTo>
                      <a:cubicBezTo>
                        <a:pt x="659" y="333"/>
                        <a:pt x="659" y="333"/>
                        <a:pt x="659" y="333"/>
                      </a:cubicBezTo>
                      <a:cubicBezTo>
                        <a:pt x="660" y="322"/>
                        <a:pt x="660" y="322"/>
                        <a:pt x="660" y="322"/>
                      </a:cubicBezTo>
                      <a:cubicBezTo>
                        <a:pt x="681" y="320"/>
                        <a:pt x="681" y="320"/>
                        <a:pt x="681" y="320"/>
                      </a:cubicBezTo>
                      <a:cubicBezTo>
                        <a:pt x="681" y="320"/>
                        <a:pt x="681" y="302"/>
                        <a:pt x="692" y="297"/>
                      </a:cubicBezTo>
                      <a:cubicBezTo>
                        <a:pt x="703" y="292"/>
                        <a:pt x="720" y="290"/>
                        <a:pt x="726" y="284"/>
                      </a:cubicBezTo>
                      <a:cubicBezTo>
                        <a:pt x="732" y="278"/>
                        <a:pt x="724" y="240"/>
                        <a:pt x="724" y="231"/>
                      </a:cubicBezTo>
                      <a:cubicBezTo>
                        <a:pt x="724" y="222"/>
                        <a:pt x="713" y="223"/>
                        <a:pt x="713" y="223"/>
                      </a:cubicBezTo>
                      <a:cubicBezTo>
                        <a:pt x="713" y="223"/>
                        <a:pt x="709" y="202"/>
                        <a:pt x="702" y="198"/>
                      </a:cubicBezTo>
                      <a:cubicBezTo>
                        <a:pt x="695" y="194"/>
                        <a:pt x="679" y="205"/>
                        <a:pt x="679" y="205"/>
                      </a:cubicBezTo>
                      <a:cubicBezTo>
                        <a:pt x="679" y="205"/>
                        <a:pt x="681" y="240"/>
                        <a:pt x="679" y="251"/>
                      </a:cubicBezTo>
                      <a:cubicBezTo>
                        <a:pt x="677" y="262"/>
                        <a:pt x="656" y="276"/>
                        <a:pt x="649" y="276"/>
                      </a:cubicBezTo>
                      <a:cubicBezTo>
                        <a:pt x="642" y="276"/>
                        <a:pt x="640" y="293"/>
                        <a:pt x="636" y="300"/>
                      </a:cubicBezTo>
                      <a:cubicBezTo>
                        <a:pt x="632" y="307"/>
                        <a:pt x="631" y="298"/>
                        <a:pt x="622" y="296"/>
                      </a:cubicBezTo>
                      <a:cubicBezTo>
                        <a:pt x="613" y="294"/>
                        <a:pt x="613" y="313"/>
                        <a:pt x="613" y="313"/>
                      </a:cubicBezTo>
                      <a:cubicBezTo>
                        <a:pt x="606" y="302"/>
                        <a:pt x="606" y="302"/>
                        <a:pt x="606" y="302"/>
                      </a:cubicBezTo>
                      <a:cubicBezTo>
                        <a:pt x="606" y="302"/>
                        <a:pt x="584" y="304"/>
                        <a:pt x="567" y="300"/>
                      </a:cubicBezTo>
                      <a:cubicBezTo>
                        <a:pt x="550" y="296"/>
                        <a:pt x="543" y="289"/>
                        <a:pt x="534" y="286"/>
                      </a:cubicBezTo>
                      <a:cubicBezTo>
                        <a:pt x="525" y="283"/>
                        <a:pt x="509" y="293"/>
                        <a:pt x="504" y="286"/>
                      </a:cubicBezTo>
                      <a:cubicBezTo>
                        <a:pt x="499" y="279"/>
                        <a:pt x="519" y="252"/>
                        <a:pt x="519" y="252"/>
                      </a:cubicBezTo>
                      <a:cubicBezTo>
                        <a:pt x="519" y="230"/>
                        <a:pt x="519" y="230"/>
                        <a:pt x="519" y="230"/>
                      </a:cubicBezTo>
                      <a:cubicBezTo>
                        <a:pt x="519" y="230"/>
                        <a:pt x="531" y="230"/>
                        <a:pt x="535" y="223"/>
                      </a:cubicBezTo>
                      <a:cubicBezTo>
                        <a:pt x="539" y="216"/>
                        <a:pt x="526" y="208"/>
                        <a:pt x="526" y="208"/>
                      </a:cubicBezTo>
                      <a:cubicBezTo>
                        <a:pt x="526" y="208"/>
                        <a:pt x="536" y="191"/>
                        <a:pt x="538" y="183"/>
                      </a:cubicBezTo>
                      <a:cubicBezTo>
                        <a:pt x="540" y="175"/>
                        <a:pt x="506" y="168"/>
                        <a:pt x="500" y="167"/>
                      </a:cubicBezTo>
                      <a:cubicBezTo>
                        <a:pt x="494" y="166"/>
                        <a:pt x="444" y="138"/>
                        <a:pt x="444" y="138"/>
                      </a:cubicBezTo>
                      <a:cubicBezTo>
                        <a:pt x="444" y="138"/>
                        <a:pt x="423" y="118"/>
                        <a:pt x="413" y="122"/>
                      </a:cubicBezTo>
                      <a:cubicBezTo>
                        <a:pt x="403" y="126"/>
                        <a:pt x="368" y="106"/>
                        <a:pt x="368" y="106"/>
                      </a:cubicBezTo>
                      <a:cubicBezTo>
                        <a:pt x="364" y="92"/>
                        <a:pt x="364" y="92"/>
                        <a:pt x="364" y="92"/>
                      </a:cubicBezTo>
                      <a:cubicBezTo>
                        <a:pt x="364" y="92"/>
                        <a:pt x="337" y="75"/>
                        <a:pt x="328" y="70"/>
                      </a:cubicBezTo>
                      <a:cubicBezTo>
                        <a:pt x="319" y="65"/>
                        <a:pt x="303" y="36"/>
                        <a:pt x="303" y="36"/>
                      </a:cubicBezTo>
                      <a:cubicBezTo>
                        <a:pt x="290" y="24"/>
                        <a:pt x="290" y="24"/>
                        <a:pt x="290" y="24"/>
                      </a:cubicBezTo>
                      <a:cubicBezTo>
                        <a:pt x="267" y="7"/>
                        <a:pt x="267" y="7"/>
                        <a:pt x="267" y="7"/>
                      </a:cubicBezTo>
                      <a:cubicBezTo>
                        <a:pt x="216" y="13"/>
                        <a:pt x="216" y="13"/>
                        <a:pt x="216" y="13"/>
                      </a:cubicBezTo>
                      <a:cubicBezTo>
                        <a:pt x="211" y="50"/>
                        <a:pt x="211" y="50"/>
                        <a:pt x="211" y="50"/>
                      </a:cubicBezTo>
                      <a:cubicBezTo>
                        <a:pt x="189" y="16"/>
                        <a:pt x="189" y="16"/>
                        <a:pt x="189" y="16"/>
                      </a:cubicBezTo>
                      <a:cubicBezTo>
                        <a:pt x="189" y="16"/>
                        <a:pt x="147" y="17"/>
                        <a:pt x="134" y="13"/>
                      </a:cubicBezTo>
                      <a:cubicBezTo>
                        <a:pt x="120" y="9"/>
                        <a:pt x="115" y="0"/>
                        <a:pt x="115" y="0"/>
                      </a:cubicBezTo>
                      <a:cubicBezTo>
                        <a:pt x="107" y="17"/>
                        <a:pt x="107" y="17"/>
                        <a:pt x="107" y="17"/>
                      </a:cubicBezTo>
                      <a:cubicBezTo>
                        <a:pt x="92" y="20"/>
                        <a:pt x="92" y="20"/>
                        <a:pt x="92" y="20"/>
                      </a:cubicBezTo>
                      <a:cubicBezTo>
                        <a:pt x="92" y="34"/>
                        <a:pt x="92" y="34"/>
                        <a:pt x="92" y="34"/>
                      </a:cubicBezTo>
                      <a:cubicBezTo>
                        <a:pt x="81" y="32"/>
                        <a:pt x="81" y="32"/>
                        <a:pt x="81" y="32"/>
                      </a:cubicBezTo>
                      <a:cubicBezTo>
                        <a:pt x="81" y="51"/>
                        <a:pt x="81" y="51"/>
                        <a:pt x="81" y="51"/>
                      </a:cubicBezTo>
                      <a:cubicBezTo>
                        <a:pt x="81" y="51"/>
                        <a:pt x="78" y="52"/>
                        <a:pt x="74" y="52"/>
                      </a:cubicBezTo>
                      <a:cubicBezTo>
                        <a:pt x="74" y="52"/>
                        <a:pt x="75" y="52"/>
                        <a:pt x="75" y="52"/>
                      </a:cubicBezTo>
                      <a:cubicBezTo>
                        <a:pt x="82" y="63"/>
                        <a:pt x="82" y="63"/>
                        <a:pt x="82" y="63"/>
                      </a:cubicBezTo>
                      <a:cubicBezTo>
                        <a:pt x="76" y="119"/>
                        <a:pt x="76" y="119"/>
                        <a:pt x="76" y="119"/>
                      </a:cubicBezTo>
                      <a:cubicBezTo>
                        <a:pt x="76" y="119"/>
                        <a:pt x="21" y="143"/>
                        <a:pt x="22" y="157"/>
                      </a:cubicBezTo>
                      <a:cubicBezTo>
                        <a:pt x="23" y="171"/>
                        <a:pt x="50" y="165"/>
                        <a:pt x="41" y="174"/>
                      </a:cubicBezTo>
                      <a:cubicBezTo>
                        <a:pt x="32" y="183"/>
                        <a:pt x="22" y="192"/>
                        <a:pt x="27" y="199"/>
                      </a:cubicBezTo>
                      <a:cubicBezTo>
                        <a:pt x="32" y="206"/>
                        <a:pt x="51" y="214"/>
                        <a:pt x="50" y="224"/>
                      </a:cubicBezTo>
                      <a:cubicBezTo>
                        <a:pt x="49" y="234"/>
                        <a:pt x="32" y="246"/>
                        <a:pt x="32" y="246"/>
                      </a:cubicBezTo>
                      <a:cubicBezTo>
                        <a:pt x="32" y="246"/>
                        <a:pt x="63" y="257"/>
                        <a:pt x="60" y="268"/>
                      </a:cubicBezTo>
                      <a:cubicBezTo>
                        <a:pt x="57" y="279"/>
                        <a:pt x="35" y="280"/>
                        <a:pt x="35" y="280"/>
                      </a:cubicBezTo>
                      <a:cubicBezTo>
                        <a:pt x="35" y="280"/>
                        <a:pt x="29" y="318"/>
                        <a:pt x="28" y="323"/>
                      </a:cubicBezTo>
                      <a:cubicBezTo>
                        <a:pt x="27" y="328"/>
                        <a:pt x="9" y="336"/>
                        <a:pt x="9" y="346"/>
                      </a:cubicBezTo>
                      <a:cubicBezTo>
                        <a:pt x="9" y="356"/>
                        <a:pt x="14" y="381"/>
                        <a:pt x="12" y="385"/>
                      </a:cubicBezTo>
                      <a:cubicBezTo>
                        <a:pt x="10" y="389"/>
                        <a:pt x="1" y="397"/>
                        <a:pt x="2" y="401"/>
                      </a:cubicBezTo>
                      <a:cubicBezTo>
                        <a:pt x="3" y="405"/>
                        <a:pt x="26" y="450"/>
                        <a:pt x="21" y="455"/>
                      </a:cubicBezTo>
                      <a:cubicBezTo>
                        <a:pt x="16" y="460"/>
                        <a:pt x="7" y="455"/>
                        <a:pt x="7" y="455"/>
                      </a:cubicBezTo>
                      <a:cubicBezTo>
                        <a:pt x="10" y="494"/>
                        <a:pt x="10" y="494"/>
                        <a:pt x="10" y="494"/>
                      </a:cubicBezTo>
                      <a:cubicBezTo>
                        <a:pt x="10" y="494"/>
                        <a:pt x="0" y="495"/>
                        <a:pt x="0" y="500"/>
                      </a:cubicBezTo>
                      <a:cubicBezTo>
                        <a:pt x="0" y="505"/>
                        <a:pt x="2" y="522"/>
                        <a:pt x="2" y="522"/>
                      </a:cubicBezTo>
                      <a:cubicBezTo>
                        <a:pt x="2" y="522"/>
                        <a:pt x="25" y="537"/>
                        <a:pt x="23" y="541"/>
                      </a:cubicBezTo>
                      <a:cubicBezTo>
                        <a:pt x="21" y="545"/>
                        <a:pt x="19" y="554"/>
                        <a:pt x="19" y="554"/>
                      </a:cubicBezTo>
                      <a:cubicBezTo>
                        <a:pt x="32" y="564"/>
                        <a:pt x="32" y="564"/>
                        <a:pt x="32" y="564"/>
                      </a:cubicBezTo>
                      <a:cubicBezTo>
                        <a:pt x="40" y="585"/>
                        <a:pt x="40" y="585"/>
                        <a:pt x="40" y="585"/>
                      </a:cubicBezTo>
                      <a:cubicBezTo>
                        <a:pt x="43" y="591"/>
                        <a:pt x="43" y="591"/>
                        <a:pt x="43" y="591"/>
                      </a:cubicBezTo>
                      <a:cubicBezTo>
                        <a:pt x="43" y="591"/>
                        <a:pt x="35" y="610"/>
                        <a:pt x="47" y="613"/>
                      </a:cubicBezTo>
                      <a:cubicBezTo>
                        <a:pt x="59" y="616"/>
                        <a:pt x="63" y="614"/>
                        <a:pt x="63" y="614"/>
                      </a:cubicBezTo>
                      <a:cubicBezTo>
                        <a:pt x="65" y="639"/>
                        <a:pt x="65" y="639"/>
                        <a:pt x="65" y="639"/>
                      </a:cubicBezTo>
                      <a:cubicBezTo>
                        <a:pt x="65" y="639"/>
                        <a:pt x="80" y="658"/>
                        <a:pt x="77" y="664"/>
                      </a:cubicBezTo>
                      <a:cubicBezTo>
                        <a:pt x="74" y="670"/>
                        <a:pt x="65" y="677"/>
                        <a:pt x="65" y="681"/>
                      </a:cubicBezTo>
                      <a:cubicBezTo>
                        <a:pt x="65" y="685"/>
                        <a:pt x="64" y="724"/>
                        <a:pt x="64" y="724"/>
                      </a:cubicBezTo>
                      <a:cubicBezTo>
                        <a:pt x="55" y="725"/>
                        <a:pt x="55" y="725"/>
                        <a:pt x="55" y="725"/>
                      </a:cubicBezTo>
                      <a:cubicBezTo>
                        <a:pt x="55" y="725"/>
                        <a:pt x="72" y="743"/>
                        <a:pt x="73" y="753"/>
                      </a:cubicBezTo>
                      <a:cubicBezTo>
                        <a:pt x="74" y="763"/>
                        <a:pt x="70" y="774"/>
                        <a:pt x="70" y="774"/>
                      </a:cubicBezTo>
                      <a:cubicBezTo>
                        <a:pt x="68" y="786"/>
                        <a:pt x="68" y="786"/>
                        <a:pt x="68" y="786"/>
                      </a:cubicBezTo>
                      <a:cubicBezTo>
                        <a:pt x="51" y="787"/>
                        <a:pt x="51" y="787"/>
                        <a:pt x="51" y="787"/>
                      </a:cubicBezTo>
                      <a:cubicBezTo>
                        <a:pt x="51" y="787"/>
                        <a:pt x="63" y="820"/>
                        <a:pt x="63" y="827"/>
                      </a:cubicBezTo>
                      <a:cubicBezTo>
                        <a:pt x="63" y="834"/>
                        <a:pt x="63" y="855"/>
                        <a:pt x="63" y="855"/>
                      </a:cubicBezTo>
                      <a:cubicBezTo>
                        <a:pt x="83" y="872"/>
                        <a:pt x="83" y="872"/>
                        <a:pt x="83" y="872"/>
                      </a:cubicBezTo>
                      <a:cubicBezTo>
                        <a:pt x="84" y="884"/>
                        <a:pt x="84" y="884"/>
                        <a:pt x="84" y="884"/>
                      </a:cubicBezTo>
                      <a:cubicBezTo>
                        <a:pt x="84" y="884"/>
                        <a:pt x="103" y="893"/>
                        <a:pt x="98" y="902"/>
                      </a:cubicBezTo>
                      <a:cubicBezTo>
                        <a:pt x="93" y="911"/>
                        <a:pt x="79" y="916"/>
                        <a:pt x="79" y="916"/>
                      </a:cubicBezTo>
                      <a:cubicBezTo>
                        <a:pt x="87" y="944"/>
                        <a:pt x="87" y="944"/>
                        <a:pt x="87" y="944"/>
                      </a:cubicBezTo>
                      <a:cubicBezTo>
                        <a:pt x="74" y="953"/>
                        <a:pt x="74" y="953"/>
                        <a:pt x="74" y="953"/>
                      </a:cubicBezTo>
                      <a:cubicBezTo>
                        <a:pt x="74" y="953"/>
                        <a:pt x="84" y="958"/>
                        <a:pt x="85" y="966"/>
                      </a:cubicBezTo>
                      <a:cubicBezTo>
                        <a:pt x="86" y="974"/>
                        <a:pt x="81" y="982"/>
                        <a:pt x="81" y="982"/>
                      </a:cubicBezTo>
                      <a:cubicBezTo>
                        <a:pt x="95" y="990"/>
                        <a:pt x="95" y="990"/>
                        <a:pt x="95" y="990"/>
                      </a:cubicBezTo>
                      <a:cubicBezTo>
                        <a:pt x="95" y="990"/>
                        <a:pt x="90" y="1008"/>
                        <a:pt x="91" y="1014"/>
                      </a:cubicBezTo>
                      <a:cubicBezTo>
                        <a:pt x="92" y="1020"/>
                        <a:pt x="99" y="1031"/>
                        <a:pt x="99" y="1031"/>
                      </a:cubicBezTo>
                      <a:cubicBezTo>
                        <a:pt x="99" y="1031"/>
                        <a:pt x="99" y="1050"/>
                        <a:pt x="102" y="1056"/>
                      </a:cubicBezTo>
                      <a:cubicBezTo>
                        <a:pt x="105" y="1062"/>
                        <a:pt x="134" y="1083"/>
                        <a:pt x="129" y="1082"/>
                      </a:cubicBezTo>
                      <a:cubicBezTo>
                        <a:pt x="124" y="1081"/>
                        <a:pt x="113" y="1090"/>
                        <a:pt x="113" y="1090"/>
                      </a:cubicBezTo>
                      <a:cubicBezTo>
                        <a:pt x="113" y="1090"/>
                        <a:pt x="118" y="1120"/>
                        <a:pt x="121" y="1128"/>
                      </a:cubicBezTo>
                      <a:cubicBezTo>
                        <a:pt x="124" y="1136"/>
                        <a:pt x="133" y="1140"/>
                        <a:pt x="133" y="1140"/>
                      </a:cubicBezTo>
                      <a:cubicBezTo>
                        <a:pt x="143" y="1145"/>
                        <a:pt x="143" y="1145"/>
                        <a:pt x="143" y="1145"/>
                      </a:cubicBezTo>
                      <a:cubicBezTo>
                        <a:pt x="139" y="1163"/>
                        <a:pt x="139" y="1163"/>
                        <a:pt x="139" y="1163"/>
                      </a:cubicBezTo>
                      <a:cubicBezTo>
                        <a:pt x="139" y="1163"/>
                        <a:pt x="155" y="1164"/>
                        <a:pt x="156" y="1175"/>
                      </a:cubicBezTo>
                      <a:cubicBezTo>
                        <a:pt x="157" y="1186"/>
                        <a:pt x="158" y="1203"/>
                        <a:pt x="158" y="1203"/>
                      </a:cubicBezTo>
                      <a:cubicBezTo>
                        <a:pt x="158" y="1203"/>
                        <a:pt x="163" y="1213"/>
                        <a:pt x="170" y="1213"/>
                      </a:cubicBezTo>
                      <a:cubicBezTo>
                        <a:pt x="177" y="1213"/>
                        <a:pt x="196" y="1208"/>
                        <a:pt x="194" y="1219"/>
                      </a:cubicBezTo>
                      <a:cubicBezTo>
                        <a:pt x="192" y="1230"/>
                        <a:pt x="160" y="1227"/>
                        <a:pt x="161" y="1230"/>
                      </a:cubicBezTo>
                      <a:cubicBezTo>
                        <a:pt x="162" y="1233"/>
                        <a:pt x="185" y="1240"/>
                        <a:pt x="185" y="1240"/>
                      </a:cubicBezTo>
                      <a:cubicBezTo>
                        <a:pt x="185" y="1240"/>
                        <a:pt x="208" y="1249"/>
                        <a:pt x="205" y="1257"/>
                      </a:cubicBezTo>
                      <a:cubicBezTo>
                        <a:pt x="202" y="1265"/>
                        <a:pt x="189" y="1276"/>
                        <a:pt x="189" y="1276"/>
                      </a:cubicBezTo>
                      <a:cubicBezTo>
                        <a:pt x="205" y="1288"/>
                        <a:pt x="205" y="1288"/>
                        <a:pt x="205" y="1288"/>
                      </a:cubicBezTo>
                      <a:cubicBezTo>
                        <a:pt x="202" y="1303"/>
                        <a:pt x="202" y="1303"/>
                        <a:pt x="202" y="1303"/>
                      </a:cubicBezTo>
                      <a:cubicBezTo>
                        <a:pt x="217" y="1321"/>
                        <a:pt x="217" y="1321"/>
                        <a:pt x="217" y="1321"/>
                      </a:cubicBezTo>
                      <a:cubicBezTo>
                        <a:pt x="214" y="1343"/>
                        <a:pt x="214" y="1343"/>
                        <a:pt x="214" y="1343"/>
                      </a:cubicBezTo>
                      <a:cubicBezTo>
                        <a:pt x="224" y="1360"/>
                        <a:pt x="224" y="1360"/>
                        <a:pt x="224" y="1360"/>
                      </a:cubicBezTo>
                      <a:cubicBezTo>
                        <a:pt x="213" y="1364"/>
                        <a:pt x="213" y="1364"/>
                        <a:pt x="213" y="1364"/>
                      </a:cubicBezTo>
                      <a:cubicBezTo>
                        <a:pt x="210" y="1394"/>
                        <a:pt x="210" y="1394"/>
                        <a:pt x="210" y="1394"/>
                      </a:cubicBezTo>
                      <a:cubicBezTo>
                        <a:pt x="210" y="1394"/>
                        <a:pt x="229" y="1405"/>
                        <a:pt x="230" y="1408"/>
                      </a:cubicBezTo>
                      <a:cubicBezTo>
                        <a:pt x="231" y="1411"/>
                        <a:pt x="215" y="1420"/>
                        <a:pt x="215" y="1420"/>
                      </a:cubicBezTo>
                      <a:cubicBezTo>
                        <a:pt x="215" y="1420"/>
                        <a:pt x="235" y="1435"/>
                        <a:pt x="232" y="1440"/>
                      </a:cubicBezTo>
                      <a:cubicBezTo>
                        <a:pt x="229" y="1445"/>
                        <a:pt x="214" y="1450"/>
                        <a:pt x="214" y="1450"/>
                      </a:cubicBezTo>
                      <a:cubicBezTo>
                        <a:pt x="213" y="1463"/>
                        <a:pt x="213" y="1463"/>
                        <a:pt x="213" y="1463"/>
                      </a:cubicBezTo>
                      <a:cubicBezTo>
                        <a:pt x="206" y="1467"/>
                        <a:pt x="206" y="1467"/>
                        <a:pt x="206" y="1467"/>
                      </a:cubicBezTo>
                      <a:cubicBezTo>
                        <a:pt x="206" y="1467"/>
                        <a:pt x="208" y="1483"/>
                        <a:pt x="213" y="1488"/>
                      </a:cubicBezTo>
                      <a:cubicBezTo>
                        <a:pt x="218" y="1493"/>
                        <a:pt x="216" y="1513"/>
                        <a:pt x="216" y="1513"/>
                      </a:cubicBezTo>
                      <a:cubicBezTo>
                        <a:pt x="236" y="1517"/>
                        <a:pt x="236" y="1517"/>
                        <a:pt x="236" y="1517"/>
                      </a:cubicBezTo>
                      <a:cubicBezTo>
                        <a:pt x="236" y="1517"/>
                        <a:pt x="240" y="1542"/>
                        <a:pt x="250" y="1542"/>
                      </a:cubicBezTo>
                      <a:cubicBezTo>
                        <a:pt x="260" y="1542"/>
                        <a:pt x="266" y="1524"/>
                        <a:pt x="281" y="1537"/>
                      </a:cubicBezTo>
                      <a:cubicBezTo>
                        <a:pt x="296" y="1550"/>
                        <a:pt x="290" y="1562"/>
                        <a:pt x="290" y="1562"/>
                      </a:cubicBezTo>
                      <a:cubicBezTo>
                        <a:pt x="304" y="1578"/>
                        <a:pt x="304" y="1578"/>
                        <a:pt x="304" y="1578"/>
                      </a:cubicBezTo>
                      <a:cubicBezTo>
                        <a:pt x="311" y="1589"/>
                        <a:pt x="311" y="1589"/>
                        <a:pt x="311" y="1589"/>
                      </a:cubicBezTo>
                      <a:cubicBezTo>
                        <a:pt x="335" y="1600"/>
                        <a:pt x="335" y="1600"/>
                        <a:pt x="335" y="1600"/>
                      </a:cubicBezTo>
                      <a:cubicBezTo>
                        <a:pt x="347" y="1612"/>
                        <a:pt x="347" y="1612"/>
                        <a:pt x="347" y="1612"/>
                      </a:cubicBezTo>
                      <a:cubicBezTo>
                        <a:pt x="347" y="1612"/>
                        <a:pt x="373" y="1605"/>
                        <a:pt x="389" y="1607"/>
                      </a:cubicBezTo>
                      <a:cubicBezTo>
                        <a:pt x="405" y="1609"/>
                        <a:pt x="425" y="1608"/>
                        <a:pt x="425" y="1608"/>
                      </a:cubicBezTo>
                      <a:cubicBezTo>
                        <a:pt x="440" y="1620"/>
                        <a:pt x="440" y="1620"/>
                        <a:pt x="440" y="1620"/>
                      </a:cubicBezTo>
                      <a:cubicBezTo>
                        <a:pt x="437" y="1628"/>
                        <a:pt x="437" y="1628"/>
                        <a:pt x="437" y="1628"/>
                      </a:cubicBezTo>
                      <a:cubicBezTo>
                        <a:pt x="442" y="1616"/>
                        <a:pt x="442" y="1616"/>
                        <a:pt x="442" y="1616"/>
                      </a:cubicBezTo>
                      <a:cubicBezTo>
                        <a:pt x="449" y="1606"/>
                        <a:pt x="478" y="1625"/>
                        <a:pt x="478" y="1625"/>
                      </a:cubicBezTo>
                      <a:cubicBezTo>
                        <a:pt x="451" y="1588"/>
                        <a:pt x="451" y="1588"/>
                        <a:pt x="451" y="1588"/>
                      </a:cubicBezTo>
                      <a:cubicBezTo>
                        <a:pt x="438" y="1589"/>
                        <a:pt x="438" y="1589"/>
                        <a:pt x="438" y="1589"/>
                      </a:cubicBezTo>
                      <a:cubicBezTo>
                        <a:pt x="441" y="1579"/>
                        <a:pt x="441" y="1579"/>
                        <a:pt x="441" y="1579"/>
                      </a:cubicBezTo>
                      <a:cubicBezTo>
                        <a:pt x="417" y="1562"/>
                        <a:pt x="417" y="1562"/>
                        <a:pt x="417" y="1562"/>
                      </a:cubicBezTo>
                      <a:cubicBezTo>
                        <a:pt x="418" y="1538"/>
                        <a:pt x="418" y="1538"/>
                        <a:pt x="418" y="1538"/>
                      </a:cubicBezTo>
                      <a:cubicBezTo>
                        <a:pt x="409" y="1534"/>
                        <a:pt x="409" y="1534"/>
                        <a:pt x="409" y="1534"/>
                      </a:cubicBezTo>
                      <a:cubicBezTo>
                        <a:pt x="414" y="1522"/>
                        <a:pt x="414" y="1522"/>
                        <a:pt x="414" y="1522"/>
                      </a:cubicBezTo>
                      <a:cubicBezTo>
                        <a:pt x="414" y="1522"/>
                        <a:pt x="423" y="1522"/>
                        <a:pt x="426" y="1514"/>
                      </a:cubicBezTo>
                      <a:cubicBezTo>
                        <a:pt x="430" y="1506"/>
                        <a:pt x="400" y="1506"/>
                        <a:pt x="400" y="1506"/>
                      </a:cubicBezTo>
                      <a:cubicBezTo>
                        <a:pt x="412" y="1501"/>
                        <a:pt x="412" y="1501"/>
                        <a:pt x="412" y="1501"/>
                      </a:cubicBezTo>
                      <a:cubicBezTo>
                        <a:pt x="408" y="1488"/>
                        <a:pt x="408" y="1488"/>
                        <a:pt x="408" y="1488"/>
                      </a:cubicBezTo>
                      <a:cubicBezTo>
                        <a:pt x="424" y="1505"/>
                        <a:pt x="424" y="1505"/>
                        <a:pt x="424" y="1505"/>
                      </a:cubicBezTo>
                      <a:cubicBezTo>
                        <a:pt x="424" y="1505"/>
                        <a:pt x="438" y="1515"/>
                        <a:pt x="448" y="1503"/>
                      </a:cubicBezTo>
                      <a:cubicBezTo>
                        <a:pt x="458" y="1491"/>
                        <a:pt x="440" y="1465"/>
                        <a:pt x="441" y="1451"/>
                      </a:cubicBezTo>
                      <a:cubicBezTo>
                        <a:pt x="442" y="1438"/>
                        <a:pt x="485" y="1409"/>
                        <a:pt x="488" y="1400"/>
                      </a:cubicBezTo>
                      <a:cubicBezTo>
                        <a:pt x="492" y="1391"/>
                        <a:pt x="467" y="1391"/>
                        <a:pt x="467" y="1391"/>
                      </a:cubicBezTo>
                      <a:cubicBezTo>
                        <a:pt x="483" y="1389"/>
                        <a:pt x="483" y="1389"/>
                        <a:pt x="483" y="1389"/>
                      </a:cubicBezTo>
                      <a:cubicBezTo>
                        <a:pt x="483" y="1389"/>
                        <a:pt x="484" y="1369"/>
                        <a:pt x="476" y="1359"/>
                      </a:cubicBezTo>
                      <a:cubicBezTo>
                        <a:pt x="468" y="1349"/>
                        <a:pt x="456" y="1354"/>
                        <a:pt x="456" y="1354"/>
                      </a:cubicBezTo>
                      <a:cubicBezTo>
                        <a:pt x="444" y="1345"/>
                        <a:pt x="444" y="1345"/>
                        <a:pt x="444" y="1345"/>
                      </a:cubicBezTo>
                      <a:cubicBezTo>
                        <a:pt x="431" y="1345"/>
                        <a:pt x="431" y="1345"/>
                        <a:pt x="431" y="1345"/>
                      </a:cubicBezTo>
                      <a:cubicBezTo>
                        <a:pt x="431" y="1345"/>
                        <a:pt x="391" y="1328"/>
                        <a:pt x="379" y="1301"/>
                      </a:cubicBezTo>
                      <a:cubicBezTo>
                        <a:pt x="366" y="1274"/>
                        <a:pt x="386" y="1269"/>
                        <a:pt x="386" y="1269"/>
                      </a:cubicBezTo>
                      <a:cubicBezTo>
                        <a:pt x="392" y="1252"/>
                        <a:pt x="392" y="1252"/>
                        <a:pt x="392" y="1252"/>
                      </a:cubicBezTo>
                      <a:cubicBezTo>
                        <a:pt x="401" y="1252"/>
                        <a:pt x="401" y="1252"/>
                        <a:pt x="401" y="1252"/>
                      </a:cubicBezTo>
                      <a:cubicBezTo>
                        <a:pt x="407" y="1240"/>
                        <a:pt x="407" y="1240"/>
                        <a:pt x="407" y="1240"/>
                      </a:cubicBezTo>
                      <a:cubicBezTo>
                        <a:pt x="443" y="1239"/>
                        <a:pt x="443" y="1239"/>
                        <a:pt x="443" y="1239"/>
                      </a:cubicBezTo>
                      <a:cubicBezTo>
                        <a:pt x="435" y="1232"/>
                        <a:pt x="435" y="1232"/>
                        <a:pt x="435" y="1232"/>
                      </a:cubicBezTo>
                      <a:cubicBezTo>
                        <a:pt x="434" y="1218"/>
                        <a:pt x="434" y="1218"/>
                        <a:pt x="434" y="1218"/>
                      </a:cubicBezTo>
                      <a:cubicBezTo>
                        <a:pt x="443" y="1217"/>
                        <a:pt x="443" y="1217"/>
                        <a:pt x="443" y="1217"/>
                      </a:cubicBezTo>
                      <a:cubicBezTo>
                        <a:pt x="443" y="1217"/>
                        <a:pt x="448" y="1198"/>
                        <a:pt x="440" y="1191"/>
                      </a:cubicBezTo>
                      <a:cubicBezTo>
                        <a:pt x="432" y="1184"/>
                        <a:pt x="423" y="1168"/>
                        <a:pt x="430" y="1152"/>
                      </a:cubicBezTo>
                      <a:cubicBezTo>
                        <a:pt x="436" y="1137"/>
                        <a:pt x="456" y="1137"/>
                        <a:pt x="456" y="1137"/>
                      </a:cubicBezTo>
                      <a:cubicBezTo>
                        <a:pt x="456" y="1130"/>
                        <a:pt x="456" y="1130"/>
                        <a:pt x="456" y="1130"/>
                      </a:cubicBezTo>
                      <a:cubicBezTo>
                        <a:pt x="456" y="1130"/>
                        <a:pt x="439" y="1130"/>
                        <a:pt x="431" y="1125"/>
                      </a:cubicBezTo>
                      <a:cubicBezTo>
                        <a:pt x="423" y="1121"/>
                        <a:pt x="432" y="1112"/>
                        <a:pt x="440" y="1111"/>
                      </a:cubicBezTo>
                      <a:cubicBezTo>
                        <a:pt x="448" y="1110"/>
                        <a:pt x="462" y="1127"/>
                        <a:pt x="469" y="1127"/>
                      </a:cubicBezTo>
                      <a:cubicBezTo>
                        <a:pt x="476" y="1127"/>
                        <a:pt x="485" y="1123"/>
                        <a:pt x="486" y="1113"/>
                      </a:cubicBezTo>
                      <a:cubicBezTo>
                        <a:pt x="487" y="1103"/>
                        <a:pt x="474" y="1080"/>
                        <a:pt x="461" y="1085"/>
                      </a:cubicBezTo>
                      <a:cubicBezTo>
                        <a:pt x="449" y="1089"/>
                        <a:pt x="468" y="1099"/>
                        <a:pt x="456" y="1105"/>
                      </a:cubicBezTo>
                      <a:cubicBezTo>
                        <a:pt x="443" y="1111"/>
                        <a:pt x="431" y="1094"/>
                        <a:pt x="431" y="1094"/>
                      </a:cubicBezTo>
                      <a:cubicBezTo>
                        <a:pt x="431" y="1094"/>
                        <a:pt x="407" y="1096"/>
                        <a:pt x="404" y="1089"/>
                      </a:cubicBezTo>
                      <a:cubicBezTo>
                        <a:pt x="400" y="1083"/>
                        <a:pt x="404" y="1055"/>
                        <a:pt x="404" y="1052"/>
                      </a:cubicBezTo>
                      <a:cubicBezTo>
                        <a:pt x="404" y="1049"/>
                        <a:pt x="387" y="1032"/>
                        <a:pt x="391" y="1017"/>
                      </a:cubicBezTo>
                      <a:cubicBezTo>
                        <a:pt x="396" y="1003"/>
                        <a:pt x="409" y="1019"/>
                        <a:pt x="424" y="1023"/>
                      </a:cubicBezTo>
                      <a:cubicBezTo>
                        <a:pt x="439" y="1026"/>
                        <a:pt x="456" y="1039"/>
                        <a:pt x="465" y="1039"/>
                      </a:cubicBezTo>
                      <a:cubicBezTo>
                        <a:pt x="474" y="1039"/>
                        <a:pt x="507" y="1021"/>
                        <a:pt x="515" y="1015"/>
                      </a:cubicBezTo>
                      <a:cubicBezTo>
                        <a:pt x="523" y="1009"/>
                        <a:pt x="490" y="991"/>
                        <a:pt x="490" y="991"/>
                      </a:cubicBezTo>
                      <a:cubicBezTo>
                        <a:pt x="489" y="975"/>
                        <a:pt x="489" y="975"/>
                        <a:pt x="489" y="975"/>
                      </a:cubicBezTo>
                      <a:cubicBezTo>
                        <a:pt x="489" y="975"/>
                        <a:pt x="498" y="959"/>
                        <a:pt x="501" y="948"/>
                      </a:cubicBezTo>
                      <a:cubicBezTo>
                        <a:pt x="503" y="938"/>
                        <a:pt x="480" y="938"/>
                        <a:pt x="480" y="938"/>
                      </a:cubicBezTo>
                      <a:cubicBezTo>
                        <a:pt x="478" y="924"/>
                        <a:pt x="478" y="924"/>
                        <a:pt x="478" y="924"/>
                      </a:cubicBezTo>
                      <a:cubicBezTo>
                        <a:pt x="478" y="924"/>
                        <a:pt x="470" y="915"/>
                        <a:pt x="477" y="907"/>
                      </a:cubicBezTo>
                      <a:cubicBezTo>
                        <a:pt x="484" y="899"/>
                        <a:pt x="494" y="934"/>
                        <a:pt x="494" y="934"/>
                      </a:cubicBezTo>
                      <a:cubicBezTo>
                        <a:pt x="502" y="933"/>
                        <a:pt x="502" y="933"/>
                        <a:pt x="502" y="933"/>
                      </a:cubicBezTo>
                      <a:cubicBezTo>
                        <a:pt x="497" y="919"/>
                        <a:pt x="497" y="919"/>
                        <a:pt x="497" y="919"/>
                      </a:cubicBezTo>
                      <a:cubicBezTo>
                        <a:pt x="551" y="926"/>
                        <a:pt x="551" y="926"/>
                        <a:pt x="551" y="926"/>
                      </a:cubicBezTo>
                      <a:cubicBezTo>
                        <a:pt x="554" y="920"/>
                        <a:pt x="554" y="920"/>
                        <a:pt x="554" y="920"/>
                      </a:cubicBezTo>
                      <a:cubicBezTo>
                        <a:pt x="554" y="920"/>
                        <a:pt x="567" y="912"/>
                        <a:pt x="595" y="909"/>
                      </a:cubicBezTo>
                      <a:cubicBezTo>
                        <a:pt x="624" y="906"/>
                        <a:pt x="676" y="881"/>
                        <a:pt x="676" y="881"/>
                      </a:cubicBezTo>
                      <a:cubicBezTo>
                        <a:pt x="673" y="855"/>
                        <a:pt x="673" y="855"/>
                        <a:pt x="673" y="855"/>
                      </a:cubicBezTo>
                      <a:cubicBezTo>
                        <a:pt x="688" y="847"/>
                        <a:pt x="688" y="847"/>
                        <a:pt x="688" y="847"/>
                      </a:cubicBezTo>
                      <a:cubicBezTo>
                        <a:pt x="696" y="814"/>
                        <a:pt x="696" y="814"/>
                        <a:pt x="696" y="814"/>
                      </a:cubicBezTo>
                      <a:cubicBezTo>
                        <a:pt x="689" y="797"/>
                        <a:pt x="689" y="797"/>
                        <a:pt x="689" y="797"/>
                      </a:cubicBezTo>
                      <a:cubicBezTo>
                        <a:pt x="689" y="779"/>
                        <a:pt x="689" y="779"/>
                        <a:pt x="689" y="779"/>
                      </a:cubicBezTo>
                      <a:cubicBezTo>
                        <a:pt x="689" y="779"/>
                        <a:pt x="678" y="770"/>
                        <a:pt x="667" y="766"/>
                      </a:cubicBezTo>
                      <a:cubicBezTo>
                        <a:pt x="661" y="764"/>
                        <a:pt x="654" y="769"/>
                        <a:pt x="649" y="765"/>
                      </a:cubicBezTo>
                      <a:cubicBezTo>
                        <a:pt x="641" y="759"/>
                        <a:pt x="655" y="753"/>
                        <a:pt x="658" y="748"/>
                      </a:cubicBezTo>
                      <a:cubicBezTo>
                        <a:pt x="662" y="741"/>
                        <a:pt x="657" y="735"/>
                        <a:pt x="657" y="727"/>
                      </a:cubicBezTo>
                      <a:cubicBezTo>
                        <a:pt x="657" y="712"/>
                        <a:pt x="624" y="707"/>
                        <a:pt x="601" y="696"/>
                      </a:cubicBezTo>
                      <a:cubicBezTo>
                        <a:pt x="578" y="685"/>
                        <a:pt x="578" y="674"/>
                        <a:pt x="588" y="660"/>
                      </a:cubicBezTo>
                      <a:cubicBezTo>
                        <a:pt x="589" y="659"/>
                        <a:pt x="589" y="658"/>
                        <a:pt x="590" y="658"/>
                      </a:cubicBezTo>
                      <a:cubicBezTo>
                        <a:pt x="570" y="633"/>
                        <a:pt x="570" y="633"/>
                        <a:pt x="570" y="633"/>
                      </a:cubicBezTo>
                      <a:cubicBezTo>
                        <a:pt x="570" y="601"/>
                        <a:pt x="570" y="601"/>
                        <a:pt x="570" y="601"/>
                      </a:cubicBezTo>
                      <a:cubicBezTo>
                        <a:pt x="570" y="601"/>
                        <a:pt x="593" y="600"/>
                        <a:pt x="594" y="595"/>
                      </a:cubicBezTo>
                      <a:cubicBezTo>
                        <a:pt x="595" y="590"/>
                        <a:pt x="575" y="567"/>
                        <a:pt x="575" y="567"/>
                      </a:cubicBezTo>
                      <a:cubicBezTo>
                        <a:pt x="582" y="557"/>
                        <a:pt x="582" y="557"/>
                        <a:pt x="582" y="557"/>
                      </a:cubicBezTo>
                      <a:cubicBezTo>
                        <a:pt x="582" y="557"/>
                        <a:pt x="569" y="545"/>
                        <a:pt x="568" y="536"/>
                      </a:cubicBezTo>
                      <a:cubicBezTo>
                        <a:pt x="567" y="527"/>
                        <a:pt x="586" y="528"/>
                        <a:pt x="586" y="528"/>
                      </a:cubicBezTo>
                      <a:cubicBezTo>
                        <a:pt x="569" y="518"/>
                        <a:pt x="569" y="518"/>
                        <a:pt x="569" y="518"/>
                      </a:cubicBezTo>
                      <a:cubicBezTo>
                        <a:pt x="569" y="491"/>
                        <a:pt x="569" y="491"/>
                        <a:pt x="569" y="491"/>
                      </a:cubicBezTo>
                      <a:cubicBezTo>
                        <a:pt x="587" y="484"/>
                        <a:pt x="587" y="484"/>
                        <a:pt x="587" y="484"/>
                      </a:cubicBezTo>
                      <a:cubicBezTo>
                        <a:pt x="587" y="484"/>
                        <a:pt x="566" y="471"/>
                        <a:pt x="566" y="467"/>
                      </a:cubicBezTo>
                      <a:cubicBezTo>
                        <a:pt x="566" y="463"/>
                        <a:pt x="580" y="452"/>
                        <a:pt x="580" y="452"/>
                      </a:cubicBezTo>
                      <a:cubicBezTo>
                        <a:pt x="580" y="452"/>
                        <a:pt x="584" y="435"/>
                        <a:pt x="584" y="429"/>
                      </a:cubicBezTo>
                      <a:cubicBezTo>
                        <a:pt x="584" y="423"/>
                        <a:pt x="599" y="424"/>
                        <a:pt x="604" y="419"/>
                      </a:cubicBezTo>
                      <a:cubicBezTo>
                        <a:pt x="609" y="414"/>
                        <a:pt x="612" y="399"/>
                        <a:pt x="612" y="396"/>
                      </a:cubicBezTo>
                      <a:cubicBezTo>
                        <a:pt x="612" y="393"/>
                        <a:pt x="621" y="388"/>
                        <a:pt x="626" y="383"/>
                      </a:cubicBezTo>
                      <a:cubicBezTo>
                        <a:pt x="631" y="378"/>
                        <a:pt x="634" y="355"/>
                        <a:pt x="634" y="355"/>
                      </a:cubicBezTo>
                      <a:close/>
                      <a:moveTo>
                        <a:pt x="619" y="681"/>
                      </a:moveTo>
                      <a:cubicBezTo>
                        <a:pt x="624" y="681"/>
                        <a:pt x="624" y="681"/>
                        <a:pt x="624" y="681"/>
                      </a:cubicBezTo>
                      <a:cubicBezTo>
                        <a:pt x="617" y="677"/>
                        <a:pt x="617" y="677"/>
                        <a:pt x="617" y="677"/>
                      </a:cubicBezTo>
                      <a:cubicBezTo>
                        <a:pt x="617" y="677"/>
                        <a:pt x="617" y="677"/>
                        <a:pt x="617" y="677"/>
                      </a:cubicBezTo>
                      <a:cubicBezTo>
                        <a:pt x="618" y="679"/>
                        <a:pt x="619" y="681"/>
                        <a:pt x="619" y="68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10" name="North America">
                <a:extLst>
                  <a:ext uri="{FF2B5EF4-FFF2-40B4-BE49-F238E27FC236}">
                    <a16:creationId xmlns:a16="http://schemas.microsoft.com/office/drawing/2014/main" id="{31316852-FD76-F253-4B98-5E4A6C2D1BA1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806775" y="1397676"/>
                <a:ext cx="3746021" cy="2734911"/>
                <a:chOff x="1837292" y="1744659"/>
                <a:chExt cx="2911978" cy="2126267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162" name="United States">
                  <a:extLst>
                    <a:ext uri="{FF2B5EF4-FFF2-40B4-BE49-F238E27FC236}">
                      <a16:creationId xmlns:a16="http://schemas.microsoft.com/office/drawing/2014/main" id="{2B1D231B-43EE-649A-A232-FD2C66F63758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2581957" y="2597547"/>
                  <a:ext cx="1460754" cy="729912"/>
                </a:xfrm>
                <a:custGeom>
                  <a:avLst/>
                  <a:gdLst>
                    <a:gd name="T0" fmla="*/ 2480 w 2609"/>
                    <a:gd name="T1" fmla="*/ 201 h 1304"/>
                    <a:gd name="T2" fmla="*/ 2188 w 2609"/>
                    <a:gd name="T3" fmla="*/ 278 h 1304"/>
                    <a:gd name="T4" fmla="*/ 2132 w 2609"/>
                    <a:gd name="T5" fmla="*/ 324 h 1304"/>
                    <a:gd name="T6" fmla="*/ 2049 w 2609"/>
                    <a:gd name="T7" fmla="*/ 357 h 1304"/>
                    <a:gd name="T8" fmla="*/ 1824 w 2609"/>
                    <a:gd name="T9" fmla="*/ 413 h 1304"/>
                    <a:gd name="T10" fmla="*/ 1906 w 2609"/>
                    <a:gd name="T11" fmla="*/ 294 h 1304"/>
                    <a:gd name="T12" fmla="*/ 1888 w 2609"/>
                    <a:gd name="T13" fmla="*/ 211 h 1304"/>
                    <a:gd name="T14" fmla="*/ 1909 w 2609"/>
                    <a:gd name="T15" fmla="*/ 159 h 1304"/>
                    <a:gd name="T16" fmla="*/ 1821 w 2609"/>
                    <a:gd name="T17" fmla="*/ 151 h 1304"/>
                    <a:gd name="T18" fmla="*/ 1700 w 2609"/>
                    <a:gd name="T19" fmla="*/ 142 h 1304"/>
                    <a:gd name="T20" fmla="*/ 1667 w 2609"/>
                    <a:gd name="T21" fmla="*/ 101 h 1304"/>
                    <a:gd name="T22" fmla="*/ 1627 w 2609"/>
                    <a:gd name="T23" fmla="*/ 67 h 1304"/>
                    <a:gd name="T24" fmla="*/ 1510 w 2609"/>
                    <a:gd name="T25" fmla="*/ 35 h 1304"/>
                    <a:gd name="T26" fmla="*/ 292 w 2609"/>
                    <a:gd name="T27" fmla="*/ 130 h 1304"/>
                    <a:gd name="T28" fmla="*/ 255 w 2609"/>
                    <a:gd name="T29" fmla="*/ 78 h 1304"/>
                    <a:gd name="T30" fmla="*/ 250 w 2609"/>
                    <a:gd name="T31" fmla="*/ 177 h 1304"/>
                    <a:gd name="T32" fmla="*/ 66 w 2609"/>
                    <a:gd name="T33" fmla="*/ 387 h 1304"/>
                    <a:gd name="T34" fmla="*/ 29 w 2609"/>
                    <a:gd name="T35" fmla="*/ 605 h 1304"/>
                    <a:gd name="T36" fmla="*/ 20 w 2609"/>
                    <a:gd name="T37" fmla="*/ 688 h 1304"/>
                    <a:gd name="T38" fmla="*/ 108 w 2609"/>
                    <a:gd name="T39" fmla="*/ 822 h 1304"/>
                    <a:gd name="T40" fmla="*/ 380 w 2609"/>
                    <a:gd name="T41" fmla="*/ 973 h 1304"/>
                    <a:gd name="T42" fmla="*/ 625 w 2609"/>
                    <a:gd name="T43" fmla="*/ 975 h 1304"/>
                    <a:gd name="T44" fmla="*/ 756 w 2609"/>
                    <a:gd name="T45" fmla="*/ 1047 h 1304"/>
                    <a:gd name="T46" fmla="*/ 851 w 2609"/>
                    <a:gd name="T47" fmla="*/ 1169 h 1304"/>
                    <a:gd name="T48" fmla="*/ 914 w 2609"/>
                    <a:gd name="T49" fmla="*/ 1254 h 1304"/>
                    <a:gd name="T50" fmla="*/ 950 w 2609"/>
                    <a:gd name="T51" fmla="*/ 1180 h 1304"/>
                    <a:gd name="T52" fmla="*/ 999 w 2609"/>
                    <a:gd name="T53" fmla="*/ 1128 h 1304"/>
                    <a:gd name="T54" fmla="*/ 1143 w 2609"/>
                    <a:gd name="T55" fmla="*/ 1040 h 1304"/>
                    <a:gd name="T56" fmla="*/ 1288 w 2609"/>
                    <a:gd name="T57" fmla="*/ 1079 h 1304"/>
                    <a:gd name="T58" fmla="*/ 1354 w 2609"/>
                    <a:gd name="T59" fmla="*/ 1087 h 1304"/>
                    <a:gd name="T60" fmla="*/ 1365 w 2609"/>
                    <a:gd name="T61" fmla="*/ 1024 h 1304"/>
                    <a:gd name="T62" fmla="*/ 1487 w 2609"/>
                    <a:gd name="T63" fmla="*/ 1024 h 1304"/>
                    <a:gd name="T64" fmla="*/ 1616 w 2609"/>
                    <a:gd name="T65" fmla="*/ 1079 h 1304"/>
                    <a:gd name="T66" fmla="*/ 1634 w 2609"/>
                    <a:gd name="T67" fmla="*/ 1212 h 1304"/>
                    <a:gd name="T68" fmla="*/ 1681 w 2609"/>
                    <a:gd name="T69" fmla="*/ 1304 h 1304"/>
                    <a:gd name="T70" fmla="*/ 1730 w 2609"/>
                    <a:gd name="T71" fmla="*/ 1112 h 1304"/>
                    <a:gd name="T72" fmla="*/ 1780 w 2609"/>
                    <a:gd name="T73" fmla="*/ 919 h 1304"/>
                    <a:gd name="T74" fmla="*/ 1864 w 2609"/>
                    <a:gd name="T75" fmla="*/ 859 h 1304"/>
                    <a:gd name="T76" fmla="*/ 2013 w 2609"/>
                    <a:gd name="T77" fmla="*/ 773 h 1304"/>
                    <a:gd name="T78" fmla="*/ 2015 w 2609"/>
                    <a:gd name="T79" fmla="*/ 726 h 1304"/>
                    <a:gd name="T80" fmla="*/ 2016 w 2609"/>
                    <a:gd name="T81" fmla="*/ 647 h 1304"/>
                    <a:gd name="T82" fmla="*/ 2025 w 2609"/>
                    <a:gd name="T83" fmla="*/ 586 h 1304"/>
                    <a:gd name="T84" fmla="*/ 2077 w 2609"/>
                    <a:gd name="T85" fmla="*/ 596 h 1304"/>
                    <a:gd name="T86" fmla="*/ 2136 w 2609"/>
                    <a:gd name="T87" fmla="*/ 513 h 1304"/>
                    <a:gd name="T88" fmla="*/ 2240 w 2609"/>
                    <a:gd name="T89" fmla="*/ 475 h 1304"/>
                    <a:gd name="T90" fmla="*/ 2355 w 2609"/>
                    <a:gd name="T91" fmla="*/ 411 h 1304"/>
                    <a:gd name="T92" fmla="*/ 2409 w 2609"/>
                    <a:gd name="T93" fmla="*/ 388 h 1304"/>
                    <a:gd name="T94" fmla="*/ 2423 w 2609"/>
                    <a:gd name="T95" fmla="*/ 324 h 1304"/>
                    <a:gd name="T96" fmla="*/ 2556 w 2609"/>
                    <a:gd name="T97" fmla="*/ 260 h 1304"/>
                    <a:gd name="T98" fmla="*/ 2582 w 2609"/>
                    <a:gd name="T99" fmla="*/ 202 h 1304"/>
                    <a:gd name="T100" fmla="*/ 1784 w 2609"/>
                    <a:gd name="T101" fmla="*/ 255 h 1304"/>
                    <a:gd name="T102" fmla="*/ 1734 w 2609"/>
                    <a:gd name="T103" fmla="*/ 342 h 1304"/>
                    <a:gd name="T104" fmla="*/ 1687 w 2609"/>
                    <a:gd name="T105" fmla="*/ 307 h 1304"/>
                    <a:gd name="T106" fmla="*/ 1772 w 2609"/>
                    <a:gd name="T107" fmla="*/ 194 h 1304"/>
                    <a:gd name="T108" fmla="*/ 1862 w 2609"/>
                    <a:gd name="T109" fmla="*/ 199 h 1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609" h="1304">
                      <a:moveTo>
                        <a:pt x="2570" y="119"/>
                      </a:moveTo>
                      <a:cubicBezTo>
                        <a:pt x="2558" y="119"/>
                        <a:pt x="2567" y="110"/>
                        <a:pt x="2554" y="110"/>
                      </a:cubicBezTo>
                      <a:cubicBezTo>
                        <a:pt x="2541" y="110"/>
                        <a:pt x="2530" y="131"/>
                        <a:pt x="2530" y="131"/>
                      </a:cubicBezTo>
                      <a:cubicBezTo>
                        <a:pt x="2503" y="150"/>
                        <a:pt x="2503" y="150"/>
                        <a:pt x="2503" y="150"/>
                      </a:cubicBezTo>
                      <a:cubicBezTo>
                        <a:pt x="2503" y="164"/>
                        <a:pt x="2503" y="164"/>
                        <a:pt x="2503" y="164"/>
                      </a:cubicBezTo>
                      <a:cubicBezTo>
                        <a:pt x="2503" y="164"/>
                        <a:pt x="2495" y="172"/>
                        <a:pt x="2489" y="172"/>
                      </a:cubicBezTo>
                      <a:cubicBezTo>
                        <a:pt x="2483" y="172"/>
                        <a:pt x="2480" y="194"/>
                        <a:pt x="2480" y="201"/>
                      </a:cubicBezTo>
                      <a:cubicBezTo>
                        <a:pt x="2480" y="208"/>
                        <a:pt x="2473" y="201"/>
                        <a:pt x="2463" y="201"/>
                      </a:cubicBezTo>
                      <a:cubicBezTo>
                        <a:pt x="2454" y="201"/>
                        <a:pt x="2443" y="222"/>
                        <a:pt x="2443" y="222"/>
                      </a:cubicBezTo>
                      <a:cubicBezTo>
                        <a:pt x="2443" y="222"/>
                        <a:pt x="2435" y="223"/>
                        <a:pt x="2423" y="223"/>
                      </a:cubicBezTo>
                      <a:cubicBezTo>
                        <a:pt x="2411" y="223"/>
                        <a:pt x="2411" y="238"/>
                        <a:pt x="2411" y="238"/>
                      </a:cubicBezTo>
                      <a:cubicBezTo>
                        <a:pt x="2411" y="238"/>
                        <a:pt x="2280" y="238"/>
                        <a:pt x="2263" y="238"/>
                      </a:cubicBezTo>
                      <a:cubicBezTo>
                        <a:pt x="2246" y="238"/>
                        <a:pt x="2212" y="276"/>
                        <a:pt x="2204" y="276"/>
                      </a:cubicBezTo>
                      <a:cubicBezTo>
                        <a:pt x="2196" y="276"/>
                        <a:pt x="2194" y="278"/>
                        <a:pt x="2188" y="278"/>
                      </a:cubicBezTo>
                      <a:cubicBezTo>
                        <a:pt x="2187" y="278"/>
                        <a:pt x="2185" y="279"/>
                        <a:pt x="2183" y="280"/>
                      </a:cubicBezTo>
                      <a:cubicBezTo>
                        <a:pt x="2188" y="285"/>
                        <a:pt x="2189" y="291"/>
                        <a:pt x="2189" y="291"/>
                      </a:cubicBezTo>
                      <a:cubicBezTo>
                        <a:pt x="2189" y="291"/>
                        <a:pt x="2188" y="299"/>
                        <a:pt x="2181" y="305"/>
                      </a:cubicBezTo>
                      <a:cubicBezTo>
                        <a:pt x="2174" y="311"/>
                        <a:pt x="2174" y="321"/>
                        <a:pt x="2174" y="321"/>
                      </a:cubicBezTo>
                      <a:cubicBezTo>
                        <a:pt x="2162" y="320"/>
                        <a:pt x="2162" y="320"/>
                        <a:pt x="2162" y="320"/>
                      </a:cubicBezTo>
                      <a:cubicBezTo>
                        <a:pt x="2162" y="320"/>
                        <a:pt x="2162" y="324"/>
                        <a:pt x="2150" y="329"/>
                      </a:cubicBezTo>
                      <a:cubicBezTo>
                        <a:pt x="2138" y="334"/>
                        <a:pt x="2132" y="324"/>
                        <a:pt x="2132" y="324"/>
                      </a:cubicBezTo>
                      <a:cubicBezTo>
                        <a:pt x="2132" y="324"/>
                        <a:pt x="2127" y="332"/>
                        <a:pt x="2114" y="333"/>
                      </a:cubicBezTo>
                      <a:cubicBezTo>
                        <a:pt x="2101" y="334"/>
                        <a:pt x="2097" y="324"/>
                        <a:pt x="2088" y="323"/>
                      </a:cubicBezTo>
                      <a:cubicBezTo>
                        <a:pt x="2079" y="322"/>
                        <a:pt x="2072" y="330"/>
                        <a:pt x="2051" y="335"/>
                      </a:cubicBezTo>
                      <a:cubicBezTo>
                        <a:pt x="2050" y="335"/>
                        <a:pt x="2048" y="336"/>
                        <a:pt x="2047" y="336"/>
                      </a:cubicBezTo>
                      <a:cubicBezTo>
                        <a:pt x="2048" y="340"/>
                        <a:pt x="2048" y="344"/>
                        <a:pt x="2046" y="350"/>
                      </a:cubicBezTo>
                      <a:cubicBezTo>
                        <a:pt x="2045" y="352"/>
                        <a:pt x="2043" y="354"/>
                        <a:pt x="2040" y="357"/>
                      </a:cubicBezTo>
                      <a:cubicBezTo>
                        <a:pt x="2049" y="357"/>
                        <a:pt x="2049" y="357"/>
                        <a:pt x="2049" y="357"/>
                      </a:cubicBezTo>
                      <a:cubicBezTo>
                        <a:pt x="2049" y="357"/>
                        <a:pt x="1969" y="398"/>
                        <a:pt x="1961" y="401"/>
                      </a:cubicBezTo>
                      <a:cubicBezTo>
                        <a:pt x="1953" y="404"/>
                        <a:pt x="1945" y="407"/>
                        <a:pt x="1925" y="412"/>
                      </a:cubicBezTo>
                      <a:cubicBezTo>
                        <a:pt x="1905" y="417"/>
                        <a:pt x="1897" y="423"/>
                        <a:pt x="1890" y="426"/>
                      </a:cubicBezTo>
                      <a:cubicBezTo>
                        <a:pt x="1883" y="429"/>
                        <a:pt x="1871" y="427"/>
                        <a:pt x="1871" y="427"/>
                      </a:cubicBezTo>
                      <a:cubicBezTo>
                        <a:pt x="1871" y="427"/>
                        <a:pt x="1871" y="432"/>
                        <a:pt x="1859" y="433"/>
                      </a:cubicBezTo>
                      <a:cubicBezTo>
                        <a:pt x="1847" y="434"/>
                        <a:pt x="1846" y="423"/>
                        <a:pt x="1846" y="423"/>
                      </a:cubicBezTo>
                      <a:cubicBezTo>
                        <a:pt x="1846" y="423"/>
                        <a:pt x="1824" y="420"/>
                        <a:pt x="1824" y="413"/>
                      </a:cubicBezTo>
                      <a:cubicBezTo>
                        <a:pt x="1824" y="413"/>
                        <a:pt x="1837" y="407"/>
                        <a:pt x="1848" y="402"/>
                      </a:cubicBezTo>
                      <a:cubicBezTo>
                        <a:pt x="1847" y="401"/>
                        <a:pt x="1847" y="400"/>
                        <a:pt x="1846" y="400"/>
                      </a:cubicBezTo>
                      <a:cubicBezTo>
                        <a:pt x="1836" y="390"/>
                        <a:pt x="1881" y="368"/>
                        <a:pt x="1889" y="368"/>
                      </a:cubicBezTo>
                      <a:cubicBezTo>
                        <a:pt x="1897" y="368"/>
                        <a:pt x="1895" y="347"/>
                        <a:pt x="1895" y="347"/>
                      </a:cubicBezTo>
                      <a:cubicBezTo>
                        <a:pt x="1895" y="347"/>
                        <a:pt x="1898" y="343"/>
                        <a:pt x="1902" y="338"/>
                      </a:cubicBezTo>
                      <a:cubicBezTo>
                        <a:pt x="1902" y="337"/>
                        <a:pt x="1901" y="337"/>
                        <a:pt x="1901" y="337"/>
                      </a:cubicBezTo>
                      <a:cubicBezTo>
                        <a:pt x="1895" y="331"/>
                        <a:pt x="1908" y="302"/>
                        <a:pt x="1906" y="294"/>
                      </a:cubicBezTo>
                      <a:cubicBezTo>
                        <a:pt x="1904" y="286"/>
                        <a:pt x="1890" y="293"/>
                        <a:pt x="1884" y="298"/>
                      </a:cubicBezTo>
                      <a:cubicBezTo>
                        <a:pt x="1878" y="303"/>
                        <a:pt x="1850" y="321"/>
                        <a:pt x="1848" y="308"/>
                      </a:cubicBezTo>
                      <a:cubicBezTo>
                        <a:pt x="1847" y="302"/>
                        <a:pt x="1871" y="288"/>
                        <a:pt x="1874" y="283"/>
                      </a:cubicBezTo>
                      <a:cubicBezTo>
                        <a:pt x="1877" y="278"/>
                        <a:pt x="1888" y="275"/>
                        <a:pt x="1897" y="269"/>
                      </a:cubicBezTo>
                      <a:cubicBezTo>
                        <a:pt x="1906" y="263"/>
                        <a:pt x="1898" y="240"/>
                        <a:pt x="1898" y="240"/>
                      </a:cubicBezTo>
                      <a:cubicBezTo>
                        <a:pt x="1898" y="240"/>
                        <a:pt x="1901" y="245"/>
                        <a:pt x="1909" y="228"/>
                      </a:cubicBezTo>
                      <a:cubicBezTo>
                        <a:pt x="1917" y="211"/>
                        <a:pt x="1897" y="218"/>
                        <a:pt x="1888" y="211"/>
                      </a:cubicBezTo>
                      <a:cubicBezTo>
                        <a:pt x="1879" y="204"/>
                        <a:pt x="1879" y="198"/>
                        <a:pt x="1879" y="198"/>
                      </a:cubicBezTo>
                      <a:cubicBezTo>
                        <a:pt x="1879" y="198"/>
                        <a:pt x="1876" y="205"/>
                        <a:pt x="1871" y="200"/>
                      </a:cubicBezTo>
                      <a:cubicBezTo>
                        <a:pt x="1866" y="195"/>
                        <a:pt x="1872" y="185"/>
                        <a:pt x="1872" y="185"/>
                      </a:cubicBezTo>
                      <a:cubicBezTo>
                        <a:pt x="1896" y="189"/>
                        <a:pt x="1896" y="189"/>
                        <a:pt x="1896" y="189"/>
                      </a:cubicBezTo>
                      <a:cubicBezTo>
                        <a:pt x="1896" y="189"/>
                        <a:pt x="1900" y="186"/>
                        <a:pt x="1897" y="178"/>
                      </a:cubicBezTo>
                      <a:cubicBezTo>
                        <a:pt x="1896" y="174"/>
                        <a:pt x="1900" y="174"/>
                        <a:pt x="1905" y="174"/>
                      </a:cubicBezTo>
                      <a:cubicBezTo>
                        <a:pt x="1909" y="159"/>
                        <a:pt x="1909" y="159"/>
                        <a:pt x="1909" y="159"/>
                      </a:cubicBezTo>
                      <a:cubicBezTo>
                        <a:pt x="1896" y="159"/>
                        <a:pt x="1896" y="159"/>
                        <a:pt x="1896" y="159"/>
                      </a:cubicBezTo>
                      <a:cubicBezTo>
                        <a:pt x="1894" y="167"/>
                        <a:pt x="1894" y="167"/>
                        <a:pt x="1894" y="167"/>
                      </a:cubicBezTo>
                      <a:cubicBezTo>
                        <a:pt x="1878" y="161"/>
                        <a:pt x="1878" y="161"/>
                        <a:pt x="1878" y="161"/>
                      </a:cubicBezTo>
                      <a:cubicBezTo>
                        <a:pt x="1877" y="147"/>
                        <a:pt x="1877" y="147"/>
                        <a:pt x="1877" y="147"/>
                      </a:cubicBezTo>
                      <a:cubicBezTo>
                        <a:pt x="1868" y="149"/>
                        <a:pt x="1868" y="149"/>
                        <a:pt x="1868" y="149"/>
                      </a:cubicBezTo>
                      <a:cubicBezTo>
                        <a:pt x="1857" y="154"/>
                        <a:pt x="1857" y="154"/>
                        <a:pt x="1857" y="154"/>
                      </a:cubicBezTo>
                      <a:cubicBezTo>
                        <a:pt x="1821" y="151"/>
                        <a:pt x="1821" y="151"/>
                        <a:pt x="1821" y="151"/>
                      </a:cubicBezTo>
                      <a:cubicBezTo>
                        <a:pt x="1821" y="151"/>
                        <a:pt x="1808" y="162"/>
                        <a:pt x="1787" y="160"/>
                      </a:cubicBezTo>
                      <a:cubicBezTo>
                        <a:pt x="1766" y="158"/>
                        <a:pt x="1771" y="144"/>
                        <a:pt x="1767" y="139"/>
                      </a:cubicBezTo>
                      <a:cubicBezTo>
                        <a:pt x="1763" y="134"/>
                        <a:pt x="1743" y="145"/>
                        <a:pt x="1740" y="136"/>
                      </a:cubicBezTo>
                      <a:cubicBezTo>
                        <a:pt x="1777" y="115"/>
                        <a:pt x="1777" y="115"/>
                        <a:pt x="1777" y="115"/>
                      </a:cubicBezTo>
                      <a:cubicBezTo>
                        <a:pt x="1777" y="115"/>
                        <a:pt x="1772" y="110"/>
                        <a:pt x="1765" y="110"/>
                      </a:cubicBezTo>
                      <a:cubicBezTo>
                        <a:pt x="1758" y="110"/>
                        <a:pt x="1744" y="122"/>
                        <a:pt x="1740" y="123"/>
                      </a:cubicBezTo>
                      <a:cubicBezTo>
                        <a:pt x="1736" y="124"/>
                        <a:pt x="1714" y="137"/>
                        <a:pt x="1700" y="142"/>
                      </a:cubicBezTo>
                      <a:cubicBezTo>
                        <a:pt x="1686" y="147"/>
                        <a:pt x="1670" y="144"/>
                        <a:pt x="1670" y="144"/>
                      </a:cubicBezTo>
                      <a:cubicBezTo>
                        <a:pt x="1664" y="153"/>
                        <a:pt x="1664" y="153"/>
                        <a:pt x="1664" y="153"/>
                      </a:cubicBezTo>
                      <a:cubicBezTo>
                        <a:pt x="1664" y="153"/>
                        <a:pt x="1640" y="155"/>
                        <a:pt x="1631" y="154"/>
                      </a:cubicBezTo>
                      <a:cubicBezTo>
                        <a:pt x="1622" y="153"/>
                        <a:pt x="1646" y="136"/>
                        <a:pt x="1646" y="136"/>
                      </a:cubicBezTo>
                      <a:cubicBezTo>
                        <a:pt x="1646" y="136"/>
                        <a:pt x="1636" y="140"/>
                        <a:pt x="1617" y="141"/>
                      </a:cubicBezTo>
                      <a:cubicBezTo>
                        <a:pt x="1598" y="142"/>
                        <a:pt x="1596" y="154"/>
                        <a:pt x="1579" y="148"/>
                      </a:cubicBezTo>
                      <a:cubicBezTo>
                        <a:pt x="1562" y="142"/>
                        <a:pt x="1655" y="109"/>
                        <a:pt x="1667" y="101"/>
                      </a:cubicBezTo>
                      <a:cubicBezTo>
                        <a:pt x="1679" y="93"/>
                        <a:pt x="1694" y="90"/>
                        <a:pt x="1713" y="86"/>
                      </a:cubicBezTo>
                      <a:cubicBezTo>
                        <a:pt x="1718" y="85"/>
                        <a:pt x="1722" y="83"/>
                        <a:pt x="1726" y="80"/>
                      </a:cubicBezTo>
                      <a:cubicBezTo>
                        <a:pt x="1698" y="80"/>
                        <a:pt x="1701" y="74"/>
                        <a:pt x="1701" y="74"/>
                      </a:cubicBezTo>
                      <a:cubicBezTo>
                        <a:pt x="1671" y="75"/>
                        <a:pt x="1671" y="75"/>
                        <a:pt x="1671" y="75"/>
                      </a:cubicBezTo>
                      <a:cubicBezTo>
                        <a:pt x="1671" y="65"/>
                        <a:pt x="1671" y="65"/>
                        <a:pt x="1671" y="65"/>
                      </a:cubicBezTo>
                      <a:cubicBezTo>
                        <a:pt x="1671" y="65"/>
                        <a:pt x="1655" y="76"/>
                        <a:pt x="1649" y="82"/>
                      </a:cubicBezTo>
                      <a:cubicBezTo>
                        <a:pt x="1643" y="88"/>
                        <a:pt x="1630" y="64"/>
                        <a:pt x="1627" y="67"/>
                      </a:cubicBezTo>
                      <a:cubicBezTo>
                        <a:pt x="1624" y="70"/>
                        <a:pt x="1617" y="67"/>
                        <a:pt x="1611" y="67"/>
                      </a:cubicBezTo>
                      <a:cubicBezTo>
                        <a:pt x="1605" y="67"/>
                        <a:pt x="1602" y="47"/>
                        <a:pt x="1589" y="47"/>
                      </a:cubicBezTo>
                      <a:cubicBezTo>
                        <a:pt x="1576" y="47"/>
                        <a:pt x="1578" y="59"/>
                        <a:pt x="1570" y="59"/>
                      </a:cubicBezTo>
                      <a:cubicBezTo>
                        <a:pt x="1562" y="59"/>
                        <a:pt x="1555" y="49"/>
                        <a:pt x="1555" y="49"/>
                      </a:cubicBezTo>
                      <a:cubicBezTo>
                        <a:pt x="1555" y="49"/>
                        <a:pt x="1536" y="48"/>
                        <a:pt x="1528" y="40"/>
                      </a:cubicBezTo>
                      <a:cubicBezTo>
                        <a:pt x="1519" y="31"/>
                        <a:pt x="1544" y="21"/>
                        <a:pt x="1534" y="11"/>
                      </a:cubicBezTo>
                      <a:cubicBezTo>
                        <a:pt x="1524" y="0"/>
                        <a:pt x="1510" y="35"/>
                        <a:pt x="1510" y="35"/>
                      </a:cubicBezTo>
                      <a:cubicBezTo>
                        <a:pt x="368" y="35"/>
                        <a:pt x="368" y="35"/>
                        <a:pt x="368" y="35"/>
                      </a:cubicBezTo>
                      <a:cubicBezTo>
                        <a:pt x="367" y="42"/>
                        <a:pt x="365" y="48"/>
                        <a:pt x="364" y="50"/>
                      </a:cubicBezTo>
                      <a:cubicBezTo>
                        <a:pt x="360" y="56"/>
                        <a:pt x="359" y="80"/>
                        <a:pt x="359" y="80"/>
                      </a:cubicBezTo>
                      <a:cubicBezTo>
                        <a:pt x="337" y="92"/>
                        <a:pt x="337" y="92"/>
                        <a:pt x="337" y="92"/>
                      </a:cubicBezTo>
                      <a:cubicBezTo>
                        <a:pt x="335" y="104"/>
                        <a:pt x="335" y="104"/>
                        <a:pt x="335" y="104"/>
                      </a:cubicBezTo>
                      <a:cubicBezTo>
                        <a:pt x="324" y="119"/>
                        <a:pt x="324" y="119"/>
                        <a:pt x="324" y="119"/>
                      </a:cubicBezTo>
                      <a:cubicBezTo>
                        <a:pt x="292" y="130"/>
                        <a:pt x="292" y="130"/>
                        <a:pt x="292" y="130"/>
                      </a:cubicBezTo>
                      <a:cubicBezTo>
                        <a:pt x="315" y="117"/>
                        <a:pt x="315" y="117"/>
                        <a:pt x="315" y="117"/>
                      </a:cubicBezTo>
                      <a:cubicBezTo>
                        <a:pt x="300" y="115"/>
                        <a:pt x="300" y="115"/>
                        <a:pt x="300" y="115"/>
                      </a:cubicBezTo>
                      <a:cubicBezTo>
                        <a:pt x="300" y="115"/>
                        <a:pt x="314" y="95"/>
                        <a:pt x="318" y="92"/>
                      </a:cubicBezTo>
                      <a:cubicBezTo>
                        <a:pt x="322" y="89"/>
                        <a:pt x="342" y="75"/>
                        <a:pt x="332" y="75"/>
                      </a:cubicBezTo>
                      <a:cubicBezTo>
                        <a:pt x="322" y="75"/>
                        <a:pt x="313" y="77"/>
                        <a:pt x="303" y="76"/>
                      </a:cubicBezTo>
                      <a:cubicBezTo>
                        <a:pt x="293" y="75"/>
                        <a:pt x="284" y="57"/>
                        <a:pt x="275" y="61"/>
                      </a:cubicBezTo>
                      <a:cubicBezTo>
                        <a:pt x="266" y="65"/>
                        <a:pt x="257" y="57"/>
                        <a:pt x="255" y="78"/>
                      </a:cubicBezTo>
                      <a:cubicBezTo>
                        <a:pt x="253" y="99"/>
                        <a:pt x="255" y="111"/>
                        <a:pt x="252" y="113"/>
                      </a:cubicBezTo>
                      <a:cubicBezTo>
                        <a:pt x="249" y="115"/>
                        <a:pt x="239" y="130"/>
                        <a:pt x="239" y="130"/>
                      </a:cubicBezTo>
                      <a:cubicBezTo>
                        <a:pt x="257" y="134"/>
                        <a:pt x="257" y="134"/>
                        <a:pt x="257" y="134"/>
                      </a:cubicBezTo>
                      <a:cubicBezTo>
                        <a:pt x="238" y="137"/>
                        <a:pt x="238" y="137"/>
                        <a:pt x="238" y="137"/>
                      </a:cubicBezTo>
                      <a:cubicBezTo>
                        <a:pt x="241" y="148"/>
                        <a:pt x="241" y="148"/>
                        <a:pt x="241" y="148"/>
                      </a:cubicBezTo>
                      <a:cubicBezTo>
                        <a:pt x="230" y="165"/>
                        <a:pt x="230" y="165"/>
                        <a:pt x="230" y="165"/>
                      </a:cubicBezTo>
                      <a:cubicBezTo>
                        <a:pt x="230" y="165"/>
                        <a:pt x="251" y="173"/>
                        <a:pt x="250" y="177"/>
                      </a:cubicBezTo>
                      <a:cubicBezTo>
                        <a:pt x="249" y="181"/>
                        <a:pt x="218" y="175"/>
                        <a:pt x="218" y="175"/>
                      </a:cubicBezTo>
                      <a:cubicBezTo>
                        <a:pt x="218" y="175"/>
                        <a:pt x="179" y="235"/>
                        <a:pt x="169" y="247"/>
                      </a:cubicBezTo>
                      <a:cubicBezTo>
                        <a:pt x="159" y="259"/>
                        <a:pt x="112" y="315"/>
                        <a:pt x="112" y="315"/>
                      </a:cubicBezTo>
                      <a:cubicBezTo>
                        <a:pt x="114" y="330"/>
                        <a:pt x="114" y="330"/>
                        <a:pt x="114" y="330"/>
                      </a:cubicBezTo>
                      <a:cubicBezTo>
                        <a:pt x="114" y="330"/>
                        <a:pt x="101" y="332"/>
                        <a:pt x="90" y="344"/>
                      </a:cubicBezTo>
                      <a:cubicBezTo>
                        <a:pt x="79" y="356"/>
                        <a:pt x="79" y="374"/>
                        <a:pt x="79" y="374"/>
                      </a:cubicBezTo>
                      <a:cubicBezTo>
                        <a:pt x="66" y="387"/>
                        <a:pt x="66" y="387"/>
                        <a:pt x="66" y="387"/>
                      </a:cubicBezTo>
                      <a:cubicBezTo>
                        <a:pt x="63" y="421"/>
                        <a:pt x="63" y="421"/>
                        <a:pt x="63" y="421"/>
                      </a:cubicBezTo>
                      <a:cubicBezTo>
                        <a:pt x="63" y="421"/>
                        <a:pt x="39" y="453"/>
                        <a:pt x="33" y="459"/>
                      </a:cubicBezTo>
                      <a:cubicBezTo>
                        <a:pt x="27" y="465"/>
                        <a:pt x="6" y="477"/>
                        <a:pt x="8" y="488"/>
                      </a:cubicBezTo>
                      <a:cubicBezTo>
                        <a:pt x="10" y="499"/>
                        <a:pt x="26" y="506"/>
                        <a:pt x="23" y="516"/>
                      </a:cubicBezTo>
                      <a:cubicBezTo>
                        <a:pt x="20" y="526"/>
                        <a:pt x="0" y="550"/>
                        <a:pt x="0" y="562"/>
                      </a:cubicBezTo>
                      <a:cubicBezTo>
                        <a:pt x="0" y="574"/>
                        <a:pt x="13" y="615"/>
                        <a:pt x="13" y="615"/>
                      </a:cubicBezTo>
                      <a:cubicBezTo>
                        <a:pt x="29" y="605"/>
                        <a:pt x="29" y="605"/>
                        <a:pt x="29" y="605"/>
                      </a:cubicBezTo>
                      <a:cubicBezTo>
                        <a:pt x="74" y="609"/>
                        <a:pt x="74" y="609"/>
                        <a:pt x="74" y="609"/>
                      </a:cubicBezTo>
                      <a:cubicBezTo>
                        <a:pt x="74" y="609"/>
                        <a:pt x="36" y="609"/>
                        <a:pt x="33" y="615"/>
                      </a:cubicBezTo>
                      <a:cubicBezTo>
                        <a:pt x="30" y="621"/>
                        <a:pt x="31" y="635"/>
                        <a:pt x="31" y="635"/>
                      </a:cubicBezTo>
                      <a:cubicBezTo>
                        <a:pt x="31" y="635"/>
                        <a:pt x="20" y="620"/>
                        <a:pt x="16" y="626"/>
                      </a:cubicBezTo>
                      <a:cubicBezTo>
                        <a:pt x="12" y="632"/>
                        <a:pt x="2" y="651"/>
                        <a:pt x="7" y="659"/>
                      </a:cubicBezTo>
                      <a:cubicBezTo>
                        <a:pt x="12" y="667"/>
                        <a:pt x="25" y="667"/>
                        <a:pt x="25" y="667"/>
                      </a:cubicBezTo>
                      <a:cubicBezTo>
                        <a:pt x="25" y="667"/>
                        <a:pt x="23" y="688"/>
                        <a:pt x="20" y="688"/>
                      </a:cubicBezTo>
                      <a:cubicBezTo>
                        <a:pt x="17" y="688"/>
                        <a:pt x="7" y="700"/>
                        <a:pt x="7" y="709"/>
                      </a:cubicBezTo>
                      <a:cubicBezTo>
                        <a:pt x="7" y="718"/>
                        <a:pt x="20" y="733"/>
                        <a:pt x="20" y="733"/>
                      </a:cubicBezTo>
                      <a:cubicBezTo>
                        <a:pt x="20" y="733"/>
                        <a:pt x="40" y="763"/>
                        <a:pt x="39" y="770"/>
                      </a:cubicBezTo>
                      <a:cubicBezTo>
                        <a:pt x="38" y="777"/>
                        <a:pt x="16" y="799"/>
                        <a:pt x="28" y="803"/>
                      </a:cubicBezTo>
                      <a:cubicBezTo>
                        <a:pt x="40" y="807"/>
                        <a:pt x="65" y="807"/>
                        <a:pt x="65" y="807"/>
                      </a:cubicBezTo>
                      <a:cubicBezTo>
                        <a:pt x="65" y="807"/>
                        <a:pt x="67" y="828"/>
                        <a:pt x="79" y="828"/>
                      </a:cubicBezTo>
                      <a:cubicBezTo>
                        <a:pt x="91" y="828"/>
                        <a:pt x="108" y="822"/>
                        <a:pt x="108" y="822"/>
                      </a:cubicBezTo>
                      <a:cubicBezTo>
                        <a:pt x="111" y="841"/>
                        <a:pt x="111" y="841"/>
                        <a:pt x="111" y="841"/>
                      </a:cubicBezTo>
                      <a:cubicBezTo>
                        <a:pt x="111" y="841"/>
                        <a:pt x="143" y="852"/>
                        <a:pt x="143" y="867"/>
                      </a:cubicBezTo>
                      <a:cubicBezTo>
                        <a:pt x="143" y="875"/>
                        <a:pt x="140" y="889"/>
                        <a:pt x="138" y="901"/>
                      </a:cubicBezTo>
                      <a:cubicBezTo>
                        <a:pt x="141" y="903"/>
                        <a:pt x="141" y="903"/>
                        <a:pt x="141" y="903"/>
                      </a:cubicBezTo>
                      <a:cubicBezTo>
                        <a:pt x="240" y="899"/>
                        <a:pt x="240" y="899"/>
                        <a:pt x="240" y="899"/>
                      </a:cubicBezTo>
                      <a:cubicBezTo>
                        <a:pt x="230" y="909"/>
                        <a:pt x="240" y="909"/>
                        <a:pt x="240" y="909"/>
                      </a:cubicBezTo>
                      <a:cubicBezTo>
                        <a:pt x="380" y="973"/>
                        <a:pt x="380" y="973"/>
                        <a:pt x="380" y="973"/>
                      </a:cubicBezTo>
                      <a:cubicBezTo>
                        <a:pt x="512" y="971"/>
                        <a:pt x="512" y="971"/>
                        <a:pt x="512" y="971"/>
                      </a:cubicBezTo>
                      <a:cubicBezTo>
                        <a:pt x="512" y="971"/>
                        <a:pt x="512" y="971"/>
                        <a:pt x="516" y="968"/>
                      </a:cubicBezTo>
                      <a:cubicBezTo>
                        <a:pt x="519" y="964"/>
                        <a:pt x="517" y="960"/>
                        <a:pt x="517" y="954"/>
                      </a:cubicBezTo>
                      <a:cubicBezTo>
                        <a:pt x="517" y="948"/>
                        <a:pt x="524" y="944"/>
                        <a:pt x="524" y="944"/>
                      </a:cubicBezTo>
                      <a:cubicBezTo>
                        <a:pt x="597" y="944"/>
                        <a:pt x="597" y="944"/>
                        <a:pt x="597" y="944"/>
                      </a:cubicBezTo>
                      <a:cubicBezTo>
                        <a:pt x="612" y="959"/>
                        <a:pt x="607" y="967"/>
                        <a:pt x="607" y="967"/>
                      </a:cubicBezTo>
                      <a:cubicBezTo>
                        <a:pt x="625" y="975"/>
                        <a:pt x="625" y="975"/>
                        <a:pt x="625" y="975"/>
                      </a:cubicBezTo>
                      <a:cubicBezTo>
                        <a:pt x="631" y="996"/>
                        <a:pt x="631" y="996"/>
                        <a:pt x="631" y="996"/>
                      </a:cubicBezTo>
                      <a:cubicBezTo>
                        <a:pt x="631" y="996"/>
                        <a:pt x="642" y="997"/>
                        <a:pt x="653" y="1008"/>
                      </a:cubicBezTo>
                      <a:cubicBezTo>
                        <a:pt x="663" y="1018"/>
                        <a:pt x="653" y="1060"/>
                        <a:pt x="653" y="1060"/>
                      </a:cubicBezTo>
                      <a:cubicBezTo>
                        <a:pt x="653" y="1060"/>
                        <a:pt x="684" y="1094"/>
                        <a:pt x="703" y="1094"/>
                      </a:cubicBezTo>
                      <a:cubicBezTo>
                        <a:pt x="722" y="1094"/>
                        <a:pt x="735" y="1060"/>
                        <a:pt x="739" y="1056"/>
                      </a:cubicBezTo>
                      <a:cubicBezTo>
                        <a:pt x="743" y="1052"/>
                        <a:pt x="755" y="1053"/>
                        <a:pt x="755" y="1053"/>
                      </a:cubicBezTo>
                      <a:cubicBezTo>
                        <a:pt x="756" y="1047"/>
                        <a:pt x="756" y="1047"/>
                        <a:pt x="756" y="1047"/>
                      </a:cubicBezTo>
                      <a:cubicBezTo>
                        <a:pt x="766" y="1052"/>
                        <a:pt x="766" y="1052"/>
                        <a:pt x="766" y="1052"/>
                      </a:cubicBezTo>
                      <a:cubicBezTo>
                        <a:pt x="795" y="1053"/>
                        <a:pt x="795" y="1053"/>
                        <a:pt x="795" y="1053"/>
                      </a:cubicBezTo>
                      <a:cubicBezTo>
                        <a:pt x="795" y="1053"/>
                        <a:pt x="815" y="1084"/>
                        <a:pt x="823" y="1092"/>
                      </a:cubicBezTo>
                      <a:cubicBezTo>
                        <a:pt x="831" y="1100"/>
                        <a:pt x="823" y="1115"/>
                        <a:pt x="823" y="1124"/>
                      </a:cubicBezTo>
                      <a:cubicBezTo>
                        <a:pt x="823" y="1133"/>
                        <a:pt x="834" y="1140"/>
                        <a:pt x="834" y="1140"/>
                      </a:cubicBezTo>
                      <a:cubicBezTo>
                        <a:pt x="834" y="1140"/>
                        <a:pt x="835" y="1146"/>
                        <a:pt x="835" y="1153"/>
                      </a:cubicBezTo>
                      <a:cubicBezTo>
                        <a:pt x="835" y="1161"/>
                        <a:pt x="844" y="1162"/>
                        <a:pt x="851" y="1169"/>
                      </a:cubicBezTo>
                      <a:cubicBezTo>
                        <a:pt x="858" y="1176"/>
                        <a:pt x="848" y="1179"/>
                        <a:pt x="848" y="1179"/>
                      </a:cubicBezTo>
                      <a:cubicBezTo>
                        <a:pt x="848" y="1206"/>
                        <a:pt x="848" y="1206"/>
                        <a:pt x="848" y="1206"/>
                      </a:cubicBezTo>
                      <a:cubicBezTo>
                        <a:pt x="856" y="1212"/>
                        <a:pt x="856" y="1212"/>
                        <a:pt x="856" y="1212"/>
                      </a:cubicBezTo>
                      <a:cubicBezTo>
                        <a:pt x="856" y="1212"/>
                        <a:pt x="854" y="1220"/>
                        <a:pt x="854" y="1231"/>
                      </a:cubicBezTo>
                      <a:cubicBezTo>
                        <a:pt x="854" y="1242"/>
                        <a:pt x="884" y="1243"/>
                        <a:pt x="884" y="1243"/>
                      </a:cubicBezTo>
                      <a:cubicBezTo>
                        <a:pt x="890" y="1254"/>
                        <a:pt x="890" y="1254"/>
                        <a:pt x="890" y="1254"/>
                      </a:cubicBezTo>
                      <a:cubicBezTo>
                        <a:pt x="890" y="1254"/>
                        <a:pt x="909" y="1254"/>
                        <a:pt x="914" y="1254"/>
                      </a:cubicBezTo>
                      <a:cubicBezTo>
                        <a:pt x="919" y="1254"/>
                        <a:pt x="917" y="1264"/>
                        <a:pt x="928" y="1264"/>
                      </a:cubicBezTo>
                      <a:cubicBezTo>
                        <a:pt x="933" y="1264"/>
                        <a:pt x="937" y="1263"/>
                        <a:pt x="940" y="1262"/>
                      </a:cubicBezTo>
                      <a:cubicBezTo>
                        <a:pt x="930" y="1213"/>
                        <a:pt x="930" y="1213"/>
                        <a:pt x="930" y="1213"/>
                      </a:cubicBezTo>
                      <a:cubicBezTo>
                        <a:pt x="942" y="1202"/>
                        <a:pt x="942" y="1202"/>
                        <a:pt x="942" y="1202"/>
                      </a:cubicBezTo>
                      <a:cubicBezTo>
                        <a:pt x="929" y="1193"/>
                        <a:pt x="929" y="1193"/>
                        <a:pt x="929" y="1193"/>
                      </a:cubicBezTo>
                      <a:cubicBezTo>
                        <a:pt x="929" y="1180"/>
                        <a:pt x="929" y="1180"/>
                        <a:pt x="929" y="1180"/>
                      </a:cubicBezTo>
                      <a:cubicBezTo>
                        <a:pt x="929" y="1180"/>
                        <a:pt x="947" y="1192"/>
                        <a:pt x="950" y="1180"/>
                      </a:cubicBezTo>
                      <a:cubicBezTo>
                        <a:pt x="953" y="1168"/>
                        <a:pt x="950" y="1159"/>
                        <a:pt x="950" y="1159"/>
                      </a:cubicBezTo>
                      <a:cubicBezTo>
                        <a:pt x="966" y="1157"/>
                        <a:pt x="966" y="1157"/>
                        <a:pt x="966" y="1157"/>
                      </a:cubicBezTo>
                      <a:cubicBezTo>
                        <a:pt x="971" y="1139"/>
                        <a:pt x="971" y="1139"/>
                        <a:pt x="971" y="1139"/>
                      </a:cubicBezTo>
                      <a:cubicBezTo>
                        <a:pt x="981" y="1144"/>
                        <a:pt x="981" y="1144"/>
                        <a:pt x="981" y="1144"/>
                      </a:cubicBezTo>
                      <a:cubicBezTo>
                        <a:pt x="994" y="1137"/>
                        <a:pt x="994" y="1137"/>
                        <a:pt x="994" y="1137"/>
                      </a:cubicBezTo>
                      <a:cubicBezTo>
                        <a:pt x="989" y="1121"/>
                        <a:pt x="989" y="1121"/>
                        <a:pt x="989" y="1121"/>
                      </a:cubicBezTo>
                      <a:cubicBezTo>
                        <a:pt x="999" y="1128"/>
                        <a:pt x="999" y="1128"/>
                        <a:pt x="999" y="1128"/>
                      </a:cubicBezTo>
                      <a:cubicBezTo>
                        <a:pt x="999" y="1128"/>
                        <a:pt x="1003" y="1106"/>
                        <a:pt x="1009" y="1110"/>
                      </a:cubicBezTo>
                      <a:cubicBezTo>
                        <a:pt x="1015" y="1114"/>
                        <a:pt x="1016" y="1125"/>
                        <a:pt x="1022" y="1122"/>
                      </a:cubicBezTo>
                      <a:cubicBezTo>
                        <a:pt x="1028" y="1119"/>
                        <a:pt x="1056" y="1111"/>
                        <a:pt x="1064" y="1103"/>
                      </a:cubicBezTo>
                      <a:cubicBezTo>
                        <a:pt x="1072" y="1095"/>
                        <a:pt x="1086" y="1076"/>
                        <a:pt x="1086" y="1076"/>
                      </a:cubicBezTo>
                      <a:cubicBezTo>
                        <a:pt x="1086" y="1076"/>
                        <a:pt x="1078" y="1053"/>
                        <a:pt x="1088" y="1052"/>
                      </a:cubicBezTo>
                      <a:cubicBezTo>
                        <a:pt x="1098" y="1051"/>
                        <a:pt x="1109" y="1075"/>
                        <a:pt x="1121" y="1068"/>
                      </a:cubicBezTo>
                      <a:cubicBezTo>
                        <a:pt x="1133" y="1061"/>
                        <a:pt x="1137" y="1033"/>
                        <a:pt x="1143" y="1040"/>
                      </a:cubicBezTo>
                      <a:cubicBezTo>
                        <a:pt x="1149" y="1047"/>
                        <a:pt x="1152" y="1053"/>
                        <a:pt x="1157" y="1053"/>
                      </a:cubicBezTo>
                      <a:cubicBezTo>
                        <a:pt x="1162" y="1053"/>
                        <a:pt x="1173" y="1037"/>
                        <a:pt x="1173" y="1037"/>
                      </a:cubicBezTo>
                      <a:cubicBezTo>
                        <a:pt x="1173" y="1037"/>
                        <a:pt x="1192" y="1068"/>
                        <a:pt x="1206" y="1066"/>
                      </a:cubicBezTo>
                      <a:cubicBezTo>
                        <a:pt x="1220" y="1064"/>
                        <a:pt x="1222" y="1033"/>
                        <a:pt x="1238" y="1049"/>
                      </a:cubicBezTo>
                      <a:cubicBezTo>
                        <a:pt x="1254" y="1065"/>
                        <a:pt x="1246" y="1083"/>
                        <a:pt x="1256" y="1083"/>
                      </a:cubicBezTo>
                      <a:cubicBezTo>
                        <a:pt x="1266" y="1083"/>
                        <a:pt x="1282" y="1090"/>
                        <a:pt x="1282" y="1090"/>
                      </a:cubicBezTo>
                      <a:cubicBezTo>
                        <a:pt x="1282" y="1090"/>
                        <a:pt x="1281" y="1074"/>
                        <a:pt x="1288" y="1079"/>
                      </a:cubicBezTo>
                      <a:cubicBezTo>
                        <a:pt x="1295" y="1084"/>
                        <a:pt x="1303" y="1103"/>
                        <a:pt x="1308" y="1091"/>
                      </a:cubicBezTo>
                      <a:cubicBezTo>
                        <a:pt x="1313" y="1079"/>
                        <a:pt x="1306" y="1064"/>
                        <a:pt x="1306" y="1064"/>
                      </a:cubicBezTo>
                      <a:cubicBezTo>
                        <a:pt x="1320" y="1069"/>
                        <a:pt x="1320" y="1069"/>
                        <a:pt x="1320" y="1069"/>
                      </a:cubicBezTo>
                      <a:cubicBezTo>
                        <a:pt x="1325" y="1080"/>
                        <a:pt x="1325" y="1080"/>
                        <a:pt x="1325" y="1080"/>
                      </a:cubicBezTo>
                      <a:cubicBezTo>
                        <a:pt x="1335" y="1083"/>
                        <a:pt x="1335" y="1083"/>
                        <a:pt x="1335" y="1083"/>
                      </a:cubicBezTo>
                      <a:cubicBezTo>
                        <a:pt x="1335" y="1092"/>
                        <a:pt x="1335" y="1092"/>
                        <a:pt x="1335" y="1092"/>
                      </a:cubicBezTo>
                      <a:cubicBezTo>
                        <a:pt x="1335" y="1092"/>
                        <a:pt x="1359" y="1099"/>
                        <a:pt x="1354" y="1087"/>
                      </a:cubicBezTo>
                      <a:cubicBezTo>
                        <a:pt x="1349" y="1075"/>
                        <a:pt x="1335" y="1070"/>
                        <a:pt x="1335" y="1070"/>
                      </a:cubicBezTo>
                      <a:cubicBezTo>
                        <a:pt x="1329" y="1060"/>
                        <a:pt x="1329" y="1060"/>
                        <a:pt x="1329" y="1060"/>
                      </a:cubicBezTo>
                      <a:cubicBezTo>
                        <a:pt x="1329" y="1060"/>
                        <a:pt x="1349" y="1057"/>
                        <a:pt x="1347" y="1049"/>
                      </a:cubicBezTo>
                      <a:cubicBezTo>
                        <a:pt x="1345" y="1041"/>
                        <a:pt x="1343" y="1039"/>
                        <a:pt x="1334" y="1040"/>
                      </a:cubicBezTo>
                      <a:cubicBezTo>
                        <a:pt x="1325" y="1041"/>
                        <a:pt x="1298" y="1044"/>
                        <a:pt x="1307" y="1030"/>
                      </a:cubicBezTo>
                      <a:cubicBezTo>
                        <a:pt x="1316" y="1016"/>
                        <a:pt x="1325" y="1027"/>
                        <a:pt x="1336" y="1030"/>
                      </a:cubicBezTo>
                      <a:cubicBezTo>
                        <a:pt x="1347" y="1033"/>
                        <a:pt x="1355" y="1031"/>
                        <a:pt x="1365" y="1024"/>
                      </a:cubicBezTo>
                      <a:cubicBezTo>
                        <a:pt x="1375" y="1017"/>
                        <a:pt x="1386" y="1017"/>
                        <a:pt x="1386" y="1017"/>
                      </a:cubicBezTo>
                      <a:cubicBezTo>
                        <a:pt x="1387" y="1021"/>
                        <a:pt x="1387" y="1021"/>
                        <a:pt x="1387" y="1021"/>
                      </a:cubicBezTo>
                      <a:cubicBezTo>
                        <a:pt x="1387" y="1021"/>
                        <a:pt x="1417" y="1021"/>
                        <a:pt x="1417" y="1014"/>
                      </a:cubicBezTo>
                      <a:cubicBezTo>
                        <a:pt x="1417" y="1007"/>
                        <a:pt x="1423" y="992"/>
                        <a:pt x="1426" y="997"/>
                      </a:cubicBezTo>
                      <a:cubicBezTo>
                        <a:pt x="1429" y="1002"/>
                        <a:pt x="1429" y="1024"/>
                        <a:pt x="1429" y="1024"/>
                      </a:cubicBezTo>
                      <a:cubicBezTo>
                        <a:pt x="1429" y="1024"/>
                        <a:pt x="1462" y="1012"/>
                        <a:pt x="1471" y="1013"/>
                      </a:cubicBezTo>
                      <a:cubicBezTo>
                        <a:pt x="1480" y="1014"/>
                        <a:pt x="1487" y="1024"/>
                        <a:pt x="1487" y="1024"/>
                      </a:cubicBezTo>
                      <a:cubicBezTo>
                        <a:pt x="1487" y="1024"/>
                        <a:pt x="1484" y="1008"/>
                        <a:pt x="1494" y="1012"/>
                      </a:cubicBezTo>
                      <a:cubicBezTo>
                        <a:pt x="1504" y="1016"/>
                        <a:pt x="1504" y="1030"/>
                        <a:pt x="1504" y="1030"/>
                      </a:cubicBezTo>
                      <a:cubicBezTo>
                        <a:pt x="1524" y="1025"/>
                        <a:pt x="1524" y="1025"/>
                        <a:pt x="1524" y="1025"/>
                      </a:cubicBezTo>
                      <a:cubicBezTo>
                        <a:pt x="1520" y="1033"/>
                        <a:pt x="1520" y="1033"/>
                        <a:pt x="1520" y="1033"/>
                      </a:cubicBezTo>
                      <a:cubicBezTo>
                        <a:pt x="1520" y="1033"/>
                        <a:pt x="1521" y="1065"/>
                        <a:pt x="1539" y="1061"/>
                      </a:cubicBezTo>
                      <a:cubicBezTo>
                        <a:pt x="1557" y="1057"/>
                        <a:pt x="1570" y="1031"/>
                        <a:pt x="1588" y="1035"/>
                      </a:cubicBezTo>
                      <a:cubicBezTo>
                        <a:pt x="1606" y="1039"/>
                        <a:pt x="1607" y="1073"/>
                        <a:pt x="1616" y="1079"/>
                      </a:cubicBezTo>
                      <a:cubicBezTo>
                        <a:pt x="1625" y="1085"/>
                        <a:pt x="1643" y="1085"/>
                        <a:pt x="1643" y="1085"/>
                      </a:cubicBezTo>
                      <a:cubicBezTo>
                        <a:pt x="1640" y="1111"/>
                        <a:pt x="1640" y="1111"/>
                        <a:pt x="1640" y="1111"/>
                      </a:cubicBezTo>
                      <a:cubicBezTo>
                        <a:pt x="1640" y="1111"/>
                        <a:pt x="1621" y="1139"/>
                        <a:pt x="1623" y="1147"/>
                      </a:cubicBezTo>
                      <a:cubicBezTo>
                        <a:pt x="1625" y="1155"/>
                        <a:pt x="1635" y="1156"/>
                        <a:pt x="1635" y="1156"/>
                      </a:cubicBezTo>
                      <a:cubicBezTo>
                        <a:pt x="1640" y="1166"/>
                        <a:pt x="1640" y="1166"/>
                        <a:pt x="1640" y="1166"/>
                      </a:cubicBezTo>
                      <a:cubicBezTo>
                        <a:pt x="1621" y="1179"/>
                        <a:pt x="1621" y="1179"/>
                        <a:pt x="1621" y="1179"/>
                      </a:cubicBezTo>
                      <a:cubicBezTo>
                        <a:pt x="1634" y="1212"/>
                        <a:pt x="1634" y="1212"/>
                        <a:pt x="1634" y="1212"/>
                      </a:cubicBezTo>
                      <a:cubicBezTo>
                        <a:pt x="1634" y="1212"/>
                        <a:pt x="1649" y="1193"/>
                        <a:pt x="1650" y="1199"/>
                      </a:cubicBezTo>
                      <a:cubicBezTo>
                        <a:pt x="1651" y="1205"/>
                        <a:pt x="1639" y="1230"/>
                        <a:pt x="1639" y="1230"/>
                      </a:cubicBezTo>
                      <a:cubicBezTo>
                        <a:pt x="1649" y="1227"/>
                        <a:pt x="1649" y="1227"/>
                        <a:pt x="1649" y="1227"/>
                      </a:cubicBezTo>
                      <a:cubicBezTo>
                        <a:pt x="1652" y="1259"/>
                        <a:pt x="1652" y="1259"/>
                        <a:pt x="1652" y="1259"/>
                      </a:cubicBezTo>
                      <a:cubicBezTo>
                        <a:pt x="1652" y="1259"/>
                        <a:pt x="1669" y="1259"/>
                        <a:pt x="1669" y="1265"/>
                      </a:cubicBezTo>
                      <a:cubicBezTo>
                        <a:pt x="1669" y="1271"/>
                        <a:pt x="1666" y="1287"/>
                        <a:pt x="1666" y="1287"/>
                      </a:cubicBezTo>
                      <a:cubicBezTo>
                        <a:pt x="1681" y="1304"/>
                        <a:pt x="1681" y="1304"/>
                        <a:pt x="1681" y="1304"/>
                      </a:cubicBezTo>
                      <a:cubicBezTo>
                        <a:pt x="1681" y="1304"/>
                        <a:pt x="1705" y="1298"/>
                        <a:pt x="1707" y="1291"/>
                      </a:cubicBezTo>
                      <a:cubicBezTo>
                        <a:pt x="1709" y="1284"/>
                        <a:pt x="1711" y="1271"/>
                        <a:pt x="1711" y="1271"/>
                      </a:cubicBezTo>
                      <a:cubicBezTo>
                        <a:pt x="1723" y="1271"/>
                        <a:pt x="1723" y="1271"/>
                        <a:pt x="1723" y="1271"/>
                      </a:cubicBezTo>
                      <a:cubicBezTo>
                        <a:pt x="1723" y="1271"/>
                        <a:pt x="1722" y="1250"/>
                        <a:pt x="1729" y="1240"/>
                      </a:cubicBezTo>
                      <a:cubicBezTo>
                        <a:pt x="1736" y="1230"/>
                        <a:pt x="1740" y="1213"/>
                        <a:pt x="1737" y="1203"/>
                      </a:cubicBezTo>
                      <a:cubicBezTo>
                        <a:pt x="1734" y="1193"/>
                        <a:pt x="1724" y="1160"/>
                        <a:pt x="1724" y="1151"/>
                      </a:cubicBezTo>
                      <a:cubicBezTo>
                        <a:pt x="1724" y="1142"/>
                        <a:pt x="1730" y="1128"/>
                        <a:pt x="1730" y="1112"/>
                      </a:cubicBezTo>
                      <a:cubicBezTo>
                        <a:pt x="1730" y="1096"/>
                        <a:pt x="1710" y="1070"/>
                        <a:pt x="1714" y="1056"/>
                      </a:cubicBezTo>
                      <a:cubicBezTo>
                        <a:pt x="1718" y="1042"/>
                        <a:pt x="1710" y="1002"/>
                        <a:pt x="1722" y="987"/>
                      </a:cubicBezTo>
                      <a:cubicBezTo>
                        <a:pt x="1734" y="972"/>
                        <a:pt x="1742" y="948"/>
                        <a:pt x="1742" y="948"/>
                      </a:cubicBezTo>
                      <a:cubicBezTo>
                        <a:pt x="1752" y="942"/>
                        <a:pt x="1752" y="942"/>
                        <a:pt x="1752" y="942"/>
                      </a:cubicBezTo>
                      <a:cubicBezTo>
                        <a:pt x="1765" y="929"/>
                        <a:pt x="1765" y="929"/>
                        <a:pt x="1765" y="929"/>
                      </a:cubicBezTo>
                      <a:cubicBezTo>
                        <a:pt x="1771" y="913"/>
                        <a:pt x="1771" y="913"/>
                        <a:pt x="1771" y="913"/>
                      </a:cubicBezTo>
                      <a:cubicBezTo>
                        <a:pt x="1780" y="919"/>
                        <a:pt x="1780" y="919"/>
                        <a:pt x="1780" y="919"/>
                      </a:cubicBezTo>
                      <a:cubicBezTo>
                        <a:pt x="1783" y="905"/>
                        <a:pt x="1783" y="905"/>
                        <a:pt x="1783" y="905"/>
                      </a:cubicBezTo>
                      <a:cubicBezTo>
                        <a:pt x="1783" y="905"/>
                        <a:pt x="1813" y="909"/>
                        <a:pt x="1818" y="903"/>
                      </a:cubicBezTo>
                      <a:cubicBezTo>
                        <a:pt x="1823" y="897"/>
                        <a:pt x="1819" y="886"/>
                        <a:pt x="1819" y="886"/>
                      </a:cubicBezTo>
                      <a:cubicBezTo>
                        <a:pt x="1832" y="887"/>
                        <a:pt x="1832" y="887"/>
                        <a:pt x="1832" y="887"/>
                      </a:cubicBezTo>
                      <a:cubicBezTo>
                        <a:pt x="1836" y="881"/>
                        <a:pt x="1836" y="881"/>
                        <a:pt x="1836" y="881"/>
                      </a:cubicBezTo>
                      <a:cubicBezTo>
                        <a:pt x="1847" y="880"/>
                        <a:pt x="1847" y="880"/>
                        <a:pt x="1847" y="880"/>
                      </a:cubicBezTo>
                      <a:cubicBezTo>
                        <a:pt x="1864" y="859"/>
                        <a:pt x="1864" y="859"/>
                        <a:pt x="1864" y="859"/>
                      </a:cubicBezTo>
                      <a:cubicBezTo>
                        <a:pt x="1864" y="859"/>
                        <a:pt x="1868" y="839"/>
                        <a:pt x="1887" y="834"/>
                      </a:cubicBezTo>
                      <a:cubicBezTo>
                        <a:pt x="1906" y="829"/>
                        <a:pt x="1917" y="840"/>
                        <a:pt x="1926" y="831"/>
                      </a:cubicBezTo>
                      <a:cubicBezTo>
                        <a:pt x="1935" y="822"/>
                        <a:pt x="1941" y="805"/>
                        <a:pt x="1941" y="805"/>
                      </a:cubicBezTo>
                      <a:cubicBezTo>
                        <a:pt x="1951" y="807"/>
                        <a:pt x="1951" y="807"/>
                        <a:pt x="1951" y="807"/>
                      </a:cubicBezTo>
                      <a:cubicBezTo>
                        <a:pt x="1956" y="792"/>
                        <a:pt x="1956" y="792"/>
                        <a:pt x="1956" y="792"/>
                      </a:cubicBezTo>
                      <a:cubicBezTo>
                        <a:pt x="2010" y="789"/>
                        <a:pt x="2010" y="789"/>
                        <a:pt x="2010" y="789"/>
                      </a:cubicBezTo>
                      <a:cubicBezTo>
                        <a:pt x="2013" y="773"/>
                        <a:pt x="2013" y="773"/>
                        <a:pt x="2013" y="773"/>
                      </a:cubicBezTo>
                      <a:cubicBezTo>
                        <a:pt x="1988" y="775"/>
                        <a:pt x="1988" y="775"/>
                        <a:pt x="1988" y="775"/>
                      </a:cubicBezTo>
                      <a:cubicBezTo>
                        <a:pt x="1988" y="775"/>
                        <a:pt x="2002" y="770"/>
                        <a:pt x="2001" y="763"/>
                      </a:cubicBezTo>
                      <a:cubicBezTo>
                        <a:pt x="2000" y="756"/>
                        <a:pt x="1990" y="749"/>
                        <a:pt x="1990" y="749"/>
                      </a:cubicBezTo>
                      <a:cubicBezTo>
                        <a:pt x="2013" y="745"/>
                        <a:pt x="2013" y="745"/>
                        <a:pt x="2013" y="745"/>
                      </a:cubicBezTo>
                      <a:cubicBezTo>
                        <a:pt x="2029" y="751"/>
                        <a:pt x="2029" y="751"/>
                        <a:pt x="2029" y="751"/>
                      </a:cubicBezTo>
                      <a:cubicBezTo>
                        <a:pt x="2052" y="727"/>
                        <a:pt x="2052" y="727"/>
                        <a:pt x="2052" y="727"/>
                      </a:cubicBezTo>
                      <a:cubicBezTo>
                        <a:pt x="2015" y="726"/>
                        <a:pt x="2015" y="726"/>
                        <a:pt x="2015" y="726"/>
                      </a:cubicBezTo>
                      <a:cubicBezTo>
                        <a:pt x="2013" y="709"/>
                        <a:pt x="2013" y="709"/>
                        <a:pt x="2013" y="709"/>
                      </a:cubicBezTo>
                      <a:cubicBezTo>
                        <a:pt x="2022" y="718"/>
                        <a:pt x="2022" y="718"/>
                        <a:pt x="2022" y="718"/>
                      </a:cubicBezTo>
                      <a:cubicBezTo>
                        <a:pt x="2052" y="707"/>
                        <a:pt x="2052" y="707"/>
                        <a:pt x="2052" y="707"/>
                      </a:cubicBezTo>
                      <a:cubicBezTo>
                        <a:pt x="2055" y="668"/>
                        <a:pt x="2055" y="668"/>
                        <a:pt x="2055" y="668"/>
                      </a:cubicBezTo>
                      <a:cubicBezTo>
                        <a:pt x="2036" y="676"/>
                        <a:pt x="2036" y="676"/>
                        <a:pt x="2036" y="676"/>
                      </a:cubicBezTo>
                      <a:cubicBezTo>
                        <a:pt x="2032" y="658"/>
                        <a:pt x="2032" y="658"/>
                        <a:pt x="2032" y="658"/>
                      </a:cubicBezTo>
                      <a:cubicBezTo>
                        <a:pt x="2016" y="647"/>
                        <a:pt x="2016" y="647"/>
                        <a:pt x="2016" y="647"/>
                      </a:cubicBezTo>
                      <a:cubicBezTo>
                        <a:pt x="2045" y="662"/>
                        <a:pt x="2045" y="662"/>
                        <a:pt x="2045" y="662"/>
                      </a:cubicBezTo>
                      <a:cubicBezTo>
                        <a:pt x="2052" y="656"/>
                        <a:pt x="2052" y="656"/>
                        <a:pt x="2052" y="656"/>
                      </a:cubicBezTo>
                      <a:cubicBezTo>
                        <a:pt x="2039" y="646"/>
                        <a:pt x="2039" y="646"/>
                        <a:pt x="2039" y="646"/>
                      </a:cubicBezTo>
                      <a:cubicBezTo>
                        <a:pt x="2057" y="646"/>
                        <a:pt x="2057" y="646"/>
                        <a:pt x="2057" y="646"/>
                      </a:cubicBezTo>
                      <a:cubicBezTo>
                        <a:pt x="2057" y="646"/>
                        <a:pt x="2035" y="617"/>
                        <a:pt x="2035" y="610"/>
                      </a:cubicBezTo>
                      <a:cubicBezTo>
                        <a:pt x="2035" y="603"/>
                        <a:pt x="2040" y="600"/>
                        <a:pt x="2040" y="600"/>
                      </a:cubicBezTo>
                      <a:cubicBezTo>
                        <a:pt x="2040" y="600"/>
                        <a:pt x="2023" y="589"/>
                        <a:pt x="2025" y="586"/>
                      </a:cubicBezTo>
                      <a:cubicBezTo>
                        <a:pt x="2027" y="583"/>
                        <a:pt x="2046" y="571"/>
                        <a:pt x="2046" y="571"/>
                      </a:cubicBezTo>
                      <a:cubicBezTo>
                        <a:pt x="2041" y="589"/>
                        <a:pt x="2041" y="589"/>
                        <a:pt x="2041" y="589"/>
                      </a:cubicBezTo>
                      <a:cubicBezTo>
                        <a:pt x="2062" y="606"/>
                        <a:pt x="2062" y="606"/>
                        <a:pt x="2062" y="606"/>
                      </a:cubicBezTo>
                      <a:cubicBezTo>
                        <a:pt x="2062" y="606"/>
                        <a:pt x="2070" y="582"/>
                        <a:pt x="2070" y="569"/>
                      </a:cubicBezTo>
                      <a:cubicBezTo>
                        <a:pt x="2070" y="556"/>
                        <a:pt x="2108" y="525"/>
                        <a:pt x="2107" y="533"/>
                      </a:cubicBezTo>
                      <a:cubicBezTo>
                        <a:pt x="2106" y="541"/>
                        <a:pt x="2083" y="574"/>
                        <a:pt x="2083" y="574"/>
                      </a:cubicBezTo>
                      <a:cubicBezTo>
                        <a:pt x="2077" y="596"/>
                        <a:pt x="2077" y="596"/>
                        <a:pt x="2077" y="596"/>
                      </a:cubicBezTo>
                      <a:cubicBezTo>
                        <a:pt x="2090" y="597"/>
                        <a:pt x="2090" y="597"/>
                        <a:pt x="2090" y="597"/>
                      </a:cubicBezTo>
                      <a:cubicBezTo>
                        <a:pt x="2090" y="597"/>
                        <a:pt x="2087" y="619"/>
                        <a:pt x="2082" y="623"/>
                      </a:cubicBezTo>
                      <a:cubicBezTo>
                        <a:pt x="2077" y="627"/>
                        <a:pt x="2059" y="661"/>
                        <a:pt x="2066" y="661"/>
                      </a:cubicBezTo>
                      <a:cubicBezTo>
                        <a:pt x="2073" y="661"/>
                        <a:pt x="2083" y="637"/>
                        <a:pt x="2089" y="632"/>
                      </a:cubicBezTo>
                      <a:cubicBezTo>
                        <a:pt x="2095" y="627"/>
                        <a:pt x="2125" y="611"/>
                        <a:pt x="2127" y="598"/>
                      </a:cubicBezTo>
                      <a:cubicBezTo>
                        <a:pt x="2129" y="585"/>
                        <a:pt x="2125" y="564"/>
                        <a:pt x="2125" y="553"/>
                      </a:cubicBezTo>
                      <a:cubicBezTo>
                        <a:pt x="2125" y="542"/>
                        <a:pt x="2129" y="516"/>
                        <a:pt x="2136" y="513"/>
                      </a:cubicBezTo>
                      <a:cubicBezTo>
                        <a:pt x="2143" y="510"/>
                        <a:pt x="2138" y="515"/>
                        <a:pt x="2135" y="528"/>
                      </a:cubicBezTo>
                      <a:cubicBezTo>
                        <a:pt x="2132" y="541"/>
                        <a:pt x="2144" y="545"/>
                        <a:pt x="2144" y="545"/>
                      </a:cubicBezTo>
                      <a:cubicBezTo>
                        <a:pt x="2144" y="545"/>
                        <a:pt x="2138" y="570"/>
                        <a:pt x="2141" y="570"/>
                      </a:cubicBezTo>
                      <a:cubicBezTo>
                        <a:pt x="2144" y="570"/>
                        <a:pt x="2175" y="531"/>
                        <a:pt x="2185" y="521"/>
                      </a:cubicBezTo>
                      <a:cubicBezTo>
                        <a:pt x="2195" y="511"/>
                        <a:pt x="2217" y="495"/>
                        <a:pt x="2214" y="491"/>
                      </a:cubicBezTo>
                      <a:cubicBezTo>
                        <a:pt x="2211" y="487"/>
                        <a:pt x="2202" y="490"/>
                        <a:pt x="2202" y="480"/>
                      </a:cubicBezTo>
                      <a:cubicBezTo>
                        <a:pt x="2202" y="470"/>
                        <a:pt x="2220" y="475"/>
                        <a:pt x="2240" y="475"/>
                      </a:cubicBezTo>
                      <a:cubicBezTo>
                        <a:pt x="2260" y="475"/>
                        <a:pt x="2306" y="453"/>
                        <a:pt x="2306" y="453"/>
                      </a:cubicBezTo>
                      <a:cubicBezTo>
                        <a:pt x="2293" y="447"/>
                        <a:pt x="2293" y="447"/>
                        <a:pt x="2293" y="447"/>
                      </a:cubicBezTo>
                      <a:cubicBezTo>
                        <a:pt x="2293" y="447"/>
                        <a:pt x="2269" y="458"/>
                        <a:pt x="2257" y="459"/>
                      </a:cubicBezTo>
                      <a:cubicBezTo>
                        <a:pt x="2245" y="460"/>
                        <a:pt x="2225" y="468"/>
                        <a:pt x="2228" y="455"/>
                      </a:cubicBezTo>
                      <a:cubicBezTo>
                        <a:pt x="2231" y="442"/>
                        <a:pt x="2266" y="439"/>
                        <a:pt x="2266" y="439"/>
                      </a:cubicBezTo>
                      <a:cubicBezTo>
                        <a:pt x="2326" y="438"/>
                        <a:pt x="2326" y="438"/>
                        <a:pt x="2326" y="438"/>
                      </a:cubicBezTo>
                      <a:cubicBezTo>
                        <a:pt x="2355" y="411"/>
                        <a:pt x="2355" y="411"/>
                        <a:pt x="2355" y="411"/>
                      </a:cubicBezTo>
                      <a:cubicBezTo>
                        <a:pt x="2361" y="421"/>
                        <a:pt x="2361" y="421"/>
                        <a:pt x="2361" y="421"/>
                      </a:cubicBezTo>
                      <a:cubicBezTo>
                        <a:pt x="2379" y="412"/>
                        <a:pt x="2379" y="412"/>
                        <a:pt x="2379" y="412"/>
                      </a:cubicBezTo>
                      <a:cubicBezTo>
                        <a:pt x="2377" y="435"/>
                        <a:pt x="2377" y="435"/>
                        <a:pt x="2377" y="435"/>
                      </a:cubicBezTo>
                      <a:cubicBezTo>
                        <a:pt x="2397" y="422"/>
                        <a:pt x="2397" y="422"/>
                        <a:pt x="2397" y="422"/>
                      </a:cubicBezTo>
                      <a:cubicBezTo>
                        <a:pt x="2413" y="418"/>
                        <a:pt x="2413" y="418"/>
                        <a:pt x="2413" y="418"/>
                      </a:cubicBezTo>
                      <a:cubicBezTo>
                        <a:pt x="2418" y="396"/>
                        <a:pt x="2418" y="396"/>
                        <a:pt x="2418" y="396"/>
                      </a:cubicBezTo>
                      <a:cubicBezTo>
                        <a:pt x="2409" y="388"/>
                        <a:pt x="2409" y="388"/>
                        <a:pt x="2409" y="388"/>
                      </a:cubicBezTo>
                      <a:cubicBezTo>
                        <a:pt x="2407" y="407"/>
                        <a:pt x="2407" y="407"/>
                        <a:pt x="2407" y="407"/>
                      </a:cubicBezTo>
                      <a:cubicBezTo>
                        <a:pt x="2391" y="410"/>
                        <a:pt x="2391" y="410"/>
                        <a:pt x="2391" y="410"/>
                      </a:cubicBezTo>
                      <a:cubicBezTo>
                        <a:pt x="2391" y="391"/>
                        <a:pt x="2391" y="391"/>
                        <a:pt x="2391" y="391"/>
                      </a:cubicBezTo>
                      <a:cubicBezTo>
                        <a:pt x="2378" y="377"/>
                        <a:pt x="2378" y="377"/>
                        <a:pt x="2378" y="377"/>
                      </a:cubicBezTo>
                      <a:cubicBezTo>
                        <a:pt x="2394" y="369"/>
                        <a:pt x="2394" y="369"/>
                        <a:pt x="2394" y="369"/>
                      </a:cubicBezTo>
                      <a:cubicBezTo>
                        <a:pt x="2398" y="346"/>
                        <a:pt x="2398" y="346"/>
                        <a:pt x="2398" y="346"/>
                      </a:cubicBezTo>
                      <a:cubicBezTo>
                        <a:pt x="2398" y="346"/>
                        <a:pt x="2413" y="329"/>
                        <a:pt x="2423" y="324"/>
                      </a:cubicBezTo>
                      <a:cubicBezTo>
                        <a:pt x="2433" y="319"/>
                        <a:pt x="2438" y="301"/>
                        <a:pt x="2438" y="301"/>
                      </a:cubicBezTo>
                      <a:cubicBezTo>
                        <a:pt x="2457" y="306"/>
                        <a:pt x="2457" y="306"/>
                        <a:pt x="2457" y="306"/>
                      </a:cubicBezTo>
                      <a:cubicBezTo>
                        <a:pt x="2467" y="291"/>
                        <a:pt x="2467" y="291"/>
                        <a:pt x="2467" y="291"/>
                      </a:cubicBezTo>
                      <a:cubicBezTo>
                        <a:pt x="2467" y="291"/>
                        <a:pt x="2470" y="302"/>
                        <a:pt x="2479" y="296"/>
                      </a:cubicBezTo>
                      <a:cubicBezTo>
                        <a:pt x="2488" y="290"/>
                        <a:pt x="2515" y="266"/>
                        <a:pt x="2515" y="266"/>
                      </a:cubicBezTo>
                      <a:cubicBezTo>
                        <a:pt x="2516" y="284"/>
                        <a:pt x="2516" y="284"/>
                        <a:pt x="2516" y="284"/>
                      </a:cubicBezTo>
                      <a:cubicBezTo>
                        <a:pt x="2516" y="284"/>
                        <a:pt x="2547" y="265"/>
                        <a:pt x="2556" y="260"/>
                      </a:cubicBezTo>
                      <a:cubicBezTo>
                        <a:pt x="2565" y="255"/>
                        <a:pt x="2597" y="254"/>
                        <a:pt x="2597" y="254"/>
                      </a:cubicBezTo>
                      <a:cubicBezTo>
                        <a:pt x="2597" y="232"/>
                        <a:pt x="2597" y="232"/>
                        <a:pt x="2597" y="232"/>
                      </a:cubicBezTo>
                      <a:cubicBezTo>
                        <a:pt x="2597" y="232"/>
                        <a:pt x="2598" y="232"/>
                        <a:pt x="2598" y="233"/>
                      </a:cubicBezTo>
                      <a:cubicBezTo>
                        <a:pt x="2597" y="229"/>
                        <a:pt x="2597" y="229"/>
                        <a:pt x="2597" y="229"/>
                      </a:cubicBezTo>
                      <a:cubicBezTo>
                        <a:pt x="2597" y="229"/>
                        <a:pt x="2589" y="232"/>
                        <a:pt x="2584" y="227"/>
                      </a:cubicBezTo>
                      <a:cubicBezTo>
                        <a:pt x="2579" y="222"/>
                        <a:pt x="2593" y="209"/>
                        <a:pt x="2593" y="209"/>
                      </a:cubicBezTo>
                      <a:cubicBezTo>
                        <a:pt x="2593" y="209"/>
                        <a:pt x="2585" y="205"/>
                        <a:pt x="2582" y="202"/>
                      </a:cubicBezTo>
                      <a:cubicBezTo>
                        <a:pt x="2579" y="199"/>
                        <a:pt x="2609" y="142"/>
                        <a:pt x="2609" y="125"/>
                      </a:cubicBezTo>
                      <a:cubicBezTo>
                        <a:pt x="2609" y="108"/>
                        <a:pt x="2582" y="119"/>
                        <a:pt x="2570" y="119"/>
                      </a:cubicBezTo>
                      <a:close/>
                      <a:moveTo>
                        <a:pt x="1811" y="252"/>
                      </a:moveTo>
                      <a:cubicBezTo>
                        <a:pt x="1797" y="252"/>
                        <a:pt x="1817" y="235"/>
                        <a:pt x="1810" y="232"/>
                      </a:cubicBezTo>
                      <a:cubicBezTo>
                        <a:pt x="1803" y="229"/>
                        <a:pt x="1793" y="242"/>
                        <a:pt x="1793" y="242"/>
                      </a:cubicBezTo>
                      <a:cubicBezTo>
                        <a:pt x="1788" y="244"/>
                        <a:pt x="1788" y="244"/>
                        <a:pt x="1788" y="244"/>
                      </a:cubicBezTo>
                      <a:cubicBezTo>
                        <a:pt x="1784" y="255"/>
                        <a:pt x="1784" y="255"/>
                        <a:pt x="1784" y="255"/>
                      </a:cubicBezTo>
                      <a:cubicBezTo>
                        <a:pt x="1773" y="251"/>
                        <a:pt x="1773" y="251"/>
                        <a:pt x="1773" y="251"/>
                      </a:cubicBezTo>
                      <a:cubicBezTo>
                        <a:pt x="1773" y="251"/>
                        <a:pt x="1773" y="262"/>
                        <a:pt x="1770" y="269"/>
                      </a:cubicBezTo>
                      <a:cubicBezTo>
                        <a:pt x="1767" y="276"/>
                        <a:pt x="1757" y="279"/>
                        <a:pt x="1752" y="284"/>
                      </a:cubicBezTo>
                      <a:cubicBezTo>
                        <a:pt x="1747" y="289"/>
                        <a:pt x="1753" y="297"/>
                        <a:pt x="1753" y="297"/>
                      </a:cubicBezTo>
                      <a:cubicBezTo>
                        <a:pt x="1753" y="297"/>
                        <a:pt x="1749" y="297"/>
                        <a:pt x="1736" y="311"/>
                      </a:cubicBezTo>
                      <a:cubicBezTo>
                        <a:pt x="1723" y="325"/>
                        <a:pt x="1741" y="325"/>
                        <a:pt x="1741" y="333"/>
                      </a:cubicBezTo>
                      <a:cubicBezTo>
                        <a:pt x="1741" y="341"/>
                        <a:pt x="1734" y="342"/>
                        <a:pt x="1734" y="342"/>
                      </a:cubicBezTo>
                      <a:cubicBezTo>
                        <a:pt x="1734" y="342"/>
                        <a:pt x="1742" y="346"/>
                        <a:pt x="1719" y="378"/>
                      </a:cubicBezTo>
                      <a:cubicBezTo>
                        <a:pt x="1696" y="410"/>
                        <a:pt x="1651" y="420"/>
                        <a:pt x="1651" y="420"/>
                      </a:cubicBezTo>
                      <a:cubicBezTo>
                        <a:pt x="1654" y="400"/>
                        <a:pt x="1654" y="400"/>
                        <a:pt x="1654" y="400"/>
                      </a:cubicBezTo>
                      <a:cubicBezTo>
                        <a:pt x="1654" y="400"/>
                        <a:pt x="1650" y="393"/>
                        <a:pt x="1648" y="389"/>
                      </a:cubicBezTo>
                      <a:cubicBezTo>
                        <a:pt x="1646" y="385"/>
                        <a:pt x="1663" y="365"/>
                        <a:pt x="1665" y="358"/>
                      </a:cubicBezTo>
                      <a:cubicBezTo>
                        <a:pt x="1667" y="351"/>
                        <a:pt x="1661" y="350"/>
                        <a:pt x="1663" y="338"/>
                      </a:cubicBezTo>
                      <a:cubicBezTo>
                        <a:pt x="1665" y="326"/>
                        <a:pt x="1687" y="307"/>
                        <a:pt x="1687" y="307"/>
                      </a:cubicBezTo>
                      <a:cubicBezTo>
                        <a:pt x="1687" y="298"/>
                        <a:pt x="1687" y="298"/>
                        <a:pt x="1687" y="298"/>
                      </a:cubicBezTo>
                      <a:cubicBezTo>
                        <a:pt x="1687" y="298"/>
                        <a:pt x="1708" y="283"/>
                        <a:pt x="1711" y="277"/>
                      </a:cubicBezTo>
                      <a:cubicBezTo>
                        <a:pt x="1714" y="271"/>
                        <a:pt x="1746" y="240"/>
                        <a:pt x="1746" y="240"/>
                      </a:cubicBezTo>
                      <a:cubicBezTo>
                        <a:pt x="1725" y="246"/>
                        <a:pt x="1725" y="246"/>
                        <a:pt x="1725" y="246"/>
                      </a:cubicBezTo>
                      <a:cubicBezTo>
                        <a:pt x="1725" y="246"/>
                        <a:pt x="1702" y="265"/>
                        <a:pt x="1698" y="260"/>
                      </a:cubicBezTo>
                      <a:cubicBezTo>
                        <a:pt x="1694" y="255"/>
                        <a:pt x="1734" y="231"/>
                        <a:pt x="1739" y="223"/>
                      </a:cubicBezTo>
                      <a:cubicBezTo>
                        <a:pt x="1744" y="215"/>
                        <a:pt x="1772" y="194"/>
                        <a:pt x="1772" y="194"/>
                      </a:cubicBezTo>
                      <a:cubicBezTo>
                        <a:pt x="1777" y="200"/>
                        <a:pt x="1777" y="200"/>
                        <a:pt x="1777" y="200"/>
                      </a:cubicBezTo>
                      <a:cubicBezTo>
                        <a:pt x="1787" y="194"/>
                        <a:pt x="1787" y="194"/>
                        <a:pt x="1787" y="194"/>
                      </a:cubicBezTo>
                      <a:cubicBezTo>
                        <a:pt x="1787" y="194"/>
                        <a:pt x="1782" y="203"/>
                        <a:pt x="1792" y="202"/>
                      </a:cubicBezTo>
                      <a:cubicBezTo>
                        <a:pt x="1802" y="201"/>
                        <a:pt x="1799" y="187"/>
                        <a:pt x="1799" y="187"/>
                      </a:cubicBezTo>
                      <a:cubicBezTo>
                        <a:pt x="1815" y="192"/>
                        <a:pt x="1815" y="192"/>
                        <a:pt x="1815" y="192"/>
                      </a:cubicBezTo>
                      <a:cubicBezTo>
                        <a:pt x="1815" y="192"/>
                        <a:pt x="1837" y="181"/>
                        <a:pt x="1847" y="184"/>
                      </a:cubicBezTo>
                      <a:cubicBezTo>
                        <a:pt x="1857" y="187"/>
                        <a:pt x="1862" y="199"/>
                        <a:pt x="1862" y="199"/>
                      </a:cubicBezTo>
                      <a:cubicBezTo>
                        <a:pt x="1845" y="205"/>
                        <a:pt x="1845" y="205"/>
                        <a:pt x="1845" y="205"/>
                      </a:cubicBezTo>
                      <a:cubicBezTo>
                        <a:pt x="1847" y="222"/>
                        <a:pt x="1847" y="222"/>
                        <a:pt x="1847" y="222"/>
                      </a:cubicBezTo>
                      <a:cubicBezTo>
                        <a:pt x="1847" y="222"/>
                        <a:pt x="1835" y="220"/>
                        <a:pt x="1828" y="220"/>
                      </a:cubicBezTo>
                      <a:cubicBezTo>
                        <a:pt x="1821" y="220"/>
                        <a:pt x="1824" y="237"/>
                        <a:pt x="1824" y="237"/>
                      </a:cubicBezTo>
                      <a:cubicBezTo>
                        <a:pt x="1824" y="237"/>
                        <a:pt x="1825" y="252"/>
                        <a:pt x="1811" y="25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3" name="Saint Pierre and Miquelon">
                  <a:extLst>
                    <a:ext uri="{FF2B5EF4-FFF2-40B4-BE49-F238E27FC236}">
                      <a16:creationId xmlns:a16="http://schemas.microsoft.com/office/drawing/2014/main" id="{744C4E27-DAAD-3DF5-4C88-A80936A82B0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52297" y="2539629"/>
                  <a:ext cx="163540" cy="145982"/>
                </a:xfrm>
                <a:custGeom>
                  <a:avLst/>
                  <a:gdLst>
                    <a:gd name="T0" fmla="*/ 180 w 291"/>
                    <a:gd name="T1" fmla="*/ 17 h 260"/>
                    <a:gd name="T2" fmla="*/ 226 w 291"/>
                    <a:gd name="T3" fmla="*/ 5 h 260"/>
                    <a:gd name="T4" fmla="*/ 229 w 291"/>
                    <a:gd name="T5" fmla="*/ 20 h 260"/>
                    <a:gd name="T6" fmla="*/ 215 w 291"/>
                    <a:gd name="T7" fmla="*/ 29 h 260"/>
                    <a:gd name="T8" fmla="*/ 198 w 291"/>
                    <a:gd name="T9" fmla="*/ 60 h 260"/>
                    <a:gd name="T10" fmla="*/ 171 w 291"/>
                    <a:gd name="T11" fmla="*/ 72 h 260"/>
                    <a:gd name="T12" fmla="*/ 147 w 291"/>
                    <a:gd name="T13" fmla="*/ 101 h 260"/>
                    <a:gd name="T14" fmla="*/ 145 w 291"/>
                    <a:gd name="T15" fmla="*/ 119 h 260"/>
                    <a:gd name="T16" fmla="*/ 162 w 291"/>
                    <a:gd name="T17" fmla="*/ 106 h 260"/>
                    <a:gd name="T18" fmla="*/ 180 w 291"/>
                    <a:gd name="T19" fmla="*/ 76 h 260"/>
                    <a:gd name="T20" fmla="*/ 194 w 291"/>
                    <a:gd name="T21" fmla="*/ 88 h 260"/>
                    <a:gd name="T22" fmla="*/ 210 w 291"/>
                    <a:gd name="T23" fmla="*/ 94 h 260"/>
                    <a:gd name="T24" fmla="*/ 202 w 291"/>
                    <a:gd name="T25" fmla="*/ 115 h 260"/>
                    <a:gd name="T26" fmla="*/ 222 w 291"/>
                    <a:gd name="T27" fmla="*/ 113 h 260"/>
                    <a:gd name="T28" fmla="*/ 228 w 291"/>
                    <a:gd name="T29" fmla="*/ 132 h 260"/>
                    <a:gd name="T30" fmla="*/ 262 w 291"/>
                    <a:gd name="T31" fmla="*/ 111 h 260"/>
                    <a:gd name="T32" fmla="*/ 275 w 291"/>
                    <a:gd name="T33" fmla="*/ 120 h 260"/>
                    <a:gd name="T34" fmla="*/ 256 w 291"/>
                    <a:gd name="T35" fmla="*/ 138 h 260"/>
                    <a:gd name="T36" fmla="*/ 280 w 291"/>
                    <a:gd name="T37" fmla="*/ 144 h 260"/>
                    <a:gd name="T38" fmla="*/ 242 w 291"/>
                    <a:gd name="T39" fmla="*/ 197 h 260"/>
                    <a:gd name="T40" fmla="*/ 266 w 291"/>
                    <a:gd name="T41" fmla="*/ 198 h 260"/>
                    <a:gd name="T42" fmla="*/ 244 w 291"/>
                    <a:gd name="T43" fmla="*/ 212 h 260"/>
                    <a:gd name="T44" fmla="*/ 264 w 291"/>
                    <a:gd name="T45" fmla="*/ 213 h 260"/>
                    <a:gd name="T46" fmla="*/ 286 w 291"/>
                    <a:gd name="T47" fmla="*/ 204 h 260"/>
                    <a:gd name="T48" fmla="*/ 291 w 291"/>
                    <a:gd name="T49" fmla="*/ 219 h 260"/>
                    <a:gd name="T50" fmla="*/ 244 w 291"/>
                    <a:gd name="T51" fmla="*/ 260 h 260"/>
                    <a:gd name="T52" fmla="*/ 216 w 291"/>
                    <a:gd name="T53" fmla="*/ 256 h 260"/>
                    <a:gd name="T54" fmla="*/ 232 w 291"/>
                    <a:gd name="T55" fmla="*/ 240 h 260"/>
                    <a:gd name="T56" fmla="*/ 210 w 291"/>
                    <a:gd name="T57" fmla="*/ 242 h 260"/>
                    <a:gd name="T58" fmla="*/ 205 w 291"/>
                    <a:gd name="T59" fmla="*/ 237 h 260"/>
                    <a:gd name="T60" fmla="*/ 158 w 291"/>
                    <a:gd name="T61" fmla="*/ 243 h 260"/>
                    <a:gd name="T62" fmla="*/ 133 w 291"/>
                    <a:gd name="T63" fmla="*/ 239 h 260"/>
                    <a:gd name="T64" fmla="*/ 131 w 291"/>
                    <a:gd name="T65" fmla="*/ 236 h 260"/>
                    <a:gd name="T66" fmla="*/ 159 w 291"/>
                    <a:gd name="T67" fmla="*/ 228 h 260"/>
                    <a:gd name="T68" fmla="*/ 152 w 291"/>
                    <a:gd name="T69" fmla="*/ 217 h 260"/>
                    <a:gd name="T70" fmla="*/ 64 w 291"/>
                    <a:gd name="T71" fmla="*/ 199 h 260"/>
                    <a:gd name="T72" fmla="*/ 12 w 291"/>
                    <a:gd name="T73" fmla="*/ 201 h 260"/>
                    <a:gd name="T74" fmla="*/ 34 w 291"/>
                    <a:gd name="T75" fmla="*/ 186 h 260"/>
                    <a:gd name="T76" fmla="*/ 8 w 291"/>
                    <a:gd name="T77" fmla="*/ 176 h 260"/>
                    <a:gd name="T78" fmla="*/ 50 w 291"/>
                    <a:gd name="T79" fmla="*/ 153 h 260"/>
                    <a:gd name="T80" fmla="*/ 106 w 291"/>
                    <a:gd name="T81" fmla="*/ 101 h 260"/>
                    <a:gd name="T82" fmla="*/ 143 w 291"/>
                    <a:gd name="T83" fmla="*/ 65 h 260"/>
                    <a:gd name="T84" fmla="*/ 180 w 291"/>
                    <a:gd name="T85" fmla="*/ 17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91" h="260">
                      <a:moveTo>
                        <a:pt x="180" y="17"/>
                      </a:moveTo>
                      <a:cubicBezTo>
                        <a:pt x="180" y="17"/>
                        <a:pt x="209" y="0"/>
                        <a:pt x="226" y="5"/>
                      </a:cubicBezTo>
                      <a:cubicBezTo>
                        <a:pt x="244" y="10"/>
                        <a:pt x="229" y="20"/>
                        <a:pt x="229" y="20"/>
                      </a:cubicBezTo>
                      <a:cubicBezTo>
                        <a:pt x="215" y="29"/>
                        <a:pt x="215" y="29"/>
                        <a:pt x="215" y="29"/>
                      </a:cubicBezTo>
                      <a:cubicBezTo>
                        <a:pt x="215" y="29"/>
                        <a:pt x="210" y="49"/>
                        <a:pt x="198" y="60"/>
                      </a:cubicBezTo>
                      <a:cubicBezTo>
                        <a:pt x="186" y="71"/>
                        <a:pt x="171" y="72"/>
                        <a:pt x="171" y="72"/>
                      </a:cubicBezTo>
                      <a:cubicBezTo>
                        <a:pt x="147" y="101"/>
                        <a:pt x="147" y="101"/>
                        <a:pt x="147" y="101"/>
                      </a:cubicBezTo>
                      <a:cubicBezTo>
                        <a:pt x="145" y="119"/>
                        <a:pt x="145" y="119"/>
                        <a:pt x="145" y="119"/>
                      </a:cubicBezTo>
                      <a:cubicBezTo>
                        <a:pt x="162" y="106"/>
                        <a:pt x="162" y="106"/>
                        <a:pt x="162" y="106"/>
                      </a:cubicBezTo>
                      <a:cubicBezTo>
                        <a:pt x="180" y="76"/>
                        <a:pt x="180" y="76"/>
                        <a:pt x="180" y="76"/>
                      </a:cubicBezTo>
                      <a:cubicBezTo>
                        <a:pt x="194" y="88"/>
                        <a:pt x="194" y="88"/>
                        <a:pt x="194" y="88"/>
                      </a:cubicBezTo>
                      <a:cubicBezTo>
                        <a:pt x="210" y="94"/>
                        <a:pt x="210" y="94"/>
                        <a:pt x="210" y="94"/>
                      </a:cubicBezTo>
                      <a:cubicBezTo>
                        <a:pt x="202" y="115"/>
                        <a:pt x="202" y="115"/>
                        <a:pt x="202" y="115"/>
                      </a:cubicBezTo>
                      <a:cubicBezTo>
                        <a:pt x="222" y="113"/>
                        <a:pt x="222" y="113"/>
                        <a:pt x="222" y="113"/>
                      </a:cubicBezTo>
                      <a:cubicBezTo>
                        <a:pt x="228" y="132"/>
                        <a:pt x="228" y="132"/>
                        <a:pt x="228" y="132"/>
                      </a:cubicBezTo>
                      <a:cubicBezTo>
                        <a:pt x="262" y="111"/>
                        <a:pt x="262" y="111"/>
                        <a:pt x="262" y="111"/>
                      </a:cubicBezTo>
                      <a:cubicBezTo>
                        <a:pt x="275" y="120"/>
                        <a:pt x="275" y="120"/>
                        <a:pt x="275" y="120"/>
                      </a:cubicBezTo>
                      <a:cubicBezTo>
                        <a:pt x="275" y="120"/>
                        <a:pt x="265" y="135"/>
                        <a:pt x="256" y="138"/>
                      </a:cubicBezTo>
                      <a:cubicBezTo>
                        <a:pt x="248" y="141"/>
                        <a:pt x="274" y="144"/>
                        <a:pt x="280" y="144"/>
                      </a:cubicBezTo>
                      <a:cubicBezTo>
                        <a:pt x="286" y="145"/>
                        <a:pt x="242" y="197"/>
                        <a:pt x="242" y="197"/>
                      </a:cubicBezTo>
                      <a:cubicBezTo>
                        <a:pt x="266" y="198"/>
                        <a:pt x="266" y="198"/>
                        <a:pt x="266" y="198"/>
                      </a:cubicBezTo>
                      <a:cubicBezTo>
                        <a:pt x="244" y="212"/>
                        <a:pt x="244" y="212"/>
                        <a:pt x="244" y="212"/>
                      </a:cubicBezTo>
                      <a:cubicBezTo>
                        <a:pt x="264" y="213"/>
                        <a:pt x="264" y="213"/>
                        <a:pt x="264" y="213"/>
                      </a:cubicBezTo>
                      <a:cubicBezTo>
                        <a:pt x="286" y="204"/>
                        <a:pt x="286" y="204"/>
                        <a:pt x="286" y="204"/>
                      </a:cubicBezTo>
                      <a:cubicBezTo>
                        <a:pt x="291" y="219"/>
                        <a:pt x="291" y="219"/>
                        <a:pt x="291" y="219"/>
                      </a:cubicBezTo>
                      <a:cubicBezTo>
                        <a:pt x="244" y="260"/>
                        <a:pt x="244" y="260"/>
                        <a:pt x="244" y="260"/>
                      </a:cubicBezTo>
                      <a:cubicBezTo>
                        <a:pt x="216" y="256"/>
                        <a:pt x="216" y="256"/>
                        <a:pt x="216" y="256"/>
                      </a:cubicBezTo>
                      <a:cubicBezTo>
                        <a:pt x="232" y="240"/>
                        <a:pt x="232" y="240"/>
                        <a:pt x="232" y="240"/>
                      </a:cubicBezTo>
                      <a:cubicBezTo>
                        <a:pt x="210" y="242"/>
                        <a:pt x="210" y="242"/>
                        <a:pt x="210" y="242"/>
                      </a:cubicBezTo>
                      <a:cubicBezTo>
                        <a:pt x="205" y="237"/>
                        <a:pt x="205" y="237"/>
                        <a:pt x="205" y="237"/>
                      </a:cubicBezTo>
                      <a:cubicBezTo>
                        <a:pt x="158" y="243"/>
                        <a:pt x="158" y="243"/>
                        <a:pt x="158" y="243"/>
                      </a:cubicBezTo>
                      <a:cubicBezTo>
                        <a:pt x="133" y="239"/>
                        <a:pt x="133" y="239"/>
                        <a:pt x="133" y="239"/>
                      </a:cubicBezTo>
                      <a:cubicBezTo>
                        <a:pt x="131" y="236"/>
                        <a:pt x="131" y="236"/>
                        <a:pt x="131" y="236"/>
                      </a:cubicBezTo>
                      <a:cubicBezTo>
                        <a:pt x="159" y="228"/>
                        <a:pt x="159" y="228"/>
                        <a:pt x="159" y="228"/>
                      </a:cubicBezTo>
                      <a:cubicBezTo>
                        <a:pt x="159" y="228"/>
                        <a:pt x="168" y="217"/>
                        <a:pt x="152" y="217"/>
                      </a:cubicBezTo>
                      <a:cubicBezTo>
                        <a:pt x="136" y="216"/>
                        <a:pt x="64" y="199"/>
                        <a:pt x="64" y="199"/>
                      </a:cubicBezTo>
                      <a:cubicBezTo>
                        <a:pt x="64" y="199"/>
                        <a:pt x="24" y="213"/>
                        <a:pt x="12" y="201"/>
                      </a:cubicBezTo>
                      <a:cubicBezTo>
                        <a:pt x="0" y="189"/>
                        <a:pt x="34" y="186"/>
                        <a:pt x="34" y="186"/>
                      </a:cubicBezTo>
                      <a:cubicBezTo>
                        <a:pt x="34" y="186"/>
                        <a:pt x="6" y="183"/>
                        <a:pt x="8" y="176"/>
                      </a:cubicBezTo>
                      <a:cubicBezTo>
                        <a:pt x="10" y="170"/>
                        <a:pt x="50" y="153"/>
                        <a:pt x="50" y="153"/>
                      </a:cubicBezTo>
                      <a:cubicBezTo>
                        <a:pt x="106" y="101"/>
                        <a:pt x="106" y="101"/>
                        <a:pt x="106" y="101"/>
                      </a:cubicBezTo>
                      <a:cubicBezTo>
                        <a:pt x="143" y="65"/>
                        <a:pt x="143" y="65"/>
                        <a:pt x="143" y="65"/>
                      </a:cubicBezTo>
                      <a:lnTo>
                        <a:pt x="180" y="17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4" name="Puerto Rico">
                  <a:extLst>
                    <a:ext uri="{FF2B5EF4-FFF2-40B4-BE49-F238E27FC236}">
                      <a16:creationId xmlns:a16="http://schemas.microsoft.com/office/drawing/2014/main" id="{C41F29B8-25FC-3751-7493-B856BBD6BF8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58528" y="3528184"/>
                  <a:ext cx="53984" cy="22215"/>
                </a:xfrm>
                <a:custGeom>
                  <a:avLst/>
                  <a:gdLst>
                    <a:gd name="T0" fmla="*/ 60 w 97"/>
                    <a:gd name="T1" fmla="*/ 9 h 40"/>
                    <a:gd name="T2" fmla="*/ 15 w 97"/>
                    <a:gd name="T3" fmla="*/ 0 h 40"/>
                    <a:gd name="T4" fmla="*/ 2 w 97"/>
                    <a:gd name="T5" fmla="*/ 32 h 40"/>
                    <a:gd name="T6" fmla="*/ 27 w 97"/>
                    <a:gd name="T7" fmla="*/ 40 h 40"/>
                    <a:gd name="T8" fmla="*/ 33 w 97"/>
                    <a:gd name="T9" fmla="*/ 34 h 40"/>
                    <a:gd name="T10" fmla="*/ 64 w 97"/>
                    <a:gd name="T11" fmla="*/ 34 h 40"/>
                    <a:gd name="T12" fmla="*/ 95 w 97"/>
                    <a:gd name="T13" fmla="*/ 10 h 40"/>
                    <a:gd name="T14" fmla="*/ 60 w 97"/>
                    <a:gd name="T15" fmla="*/ 9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7" h="40">
                      <a:moveTo>
                        <a:pt x="60" y="9"/>
                      </a:moveTo>
                      <a:cubicBezTo>
                        <a:pt x="52" y="9"/>
                        <a:pt x="29" y="0"/>
                        <a:pt x="15" y="0"/>
                      </a:cubicBezTo>
                      <a:cubicBezTo>
                        <a:pt x="0" y="0"/>
                        <a:pt x="2" y="32"/>
                        <a:pt x="2" y="32"/>
                      </a:cubicBezTo>
                      <a:cubicBezTo>
                        <a:pt x="27" y="40"/>
                        <a:pt x="27" y="40"/>
                        <a:pt x="27" y="40"/>
                      </a:cubicBezTo>
                      <a:cubicBezTo>
                        <a:pt x="33" y="34"/>
                        <a:pt x="33" y="34"/>
                        <a:pt x="33" y="34"/>
                      </a:cubicBezTo>
                      <a:cubicBezTo>
                        <a:pt x="33" y="34"/>
                        <a:pt x="48" y="36"/>
                        <a:pt x="64" y="34"/>
                      </a:cubicBezTo>
                      <a:cubicBezTo>
                        <a:pt x="81" y="32"/>
                        <a:pt x="97" y="17"/>
                        <a:pt x="95" y="10"/>
                      </a:cubicBezTo>
                      <a:cubicBezTo>
                        <a:pt x="93" y="2"/>
                        <a:pt x="68" y="10"/>
                        <a:pt x="60" y="9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5" name="Panama">
                  <a:extLst>
                    <a:ext uri="{FF2B5EF4-FFF2-40B4-BE49-F238E27FC236}">
                      <a16:creationId xmlns:a16="http://schemas.microsoft.com/office/drawing/2014/main" id="{E22FEB25-3172-EF91-50B4-26BE9AA201E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13951" y="3791588"/>
                  <a:ext cx="155602" cy="79338"/>
                </a:xfrm>
                <a:custGeom>
                  <a:avLst/>
                  <a:gdLst>
                    <a:gd name="T0" fmla="*/ 209 w 279"/>
                    <a:gd name="T1" fmla="*/ 47 h 141"/>
                    <a:gd name="T2" fmla="*/ 224 w 279"/>
                    <a:gd name="T3" fmla="*/ 66 h 141"/>
                    <a:gd name="T4" fmla="*/ 232 w 279"/>
                    <a:gd name="T5" fmla="*/ 63 h 141"/>
                    <a:gd name="T6" fmla="*/ 254 w 279"/>
                    <a:gd name="T7" fmla="*/ 81 h 141"/>
                    <a:gd name="T8" fmla="*/ 232 w 279"/>
                    <a:gd name="T9" fmla="*/ 71 h 141"/>
                    <a:gd name="T10" fmla="*/ 229 w 279"/>
                    <a:gd name="T11" fmla="*/ 106 h 141"/>
                    <a:gd name="T12" fmla="*/ 243 w 279"/>
                    <a:gd name="T13" fmla="*/ 128 h 141"/>
                    <a:gd name="T14" fmla="*/ 243 w 279"/>
                    <a:gd name="T15" fmla="*/ 128 h 141"/>
                    <a:gd name="T16" fmla="*/ 253 w 279"/>
                    <a:gd name="T17" fmla="*/ 107 h 141"/>
                    <a:gd name="T18" fmla="*/ 269 w 279"/>
                    <a:gd name="T19" fmla="*/ 109 h 141"/>
                    <a:gd name="T20" fmla="*/ 279 w 279"/>
                    <a:gd name="T21" fmla="*/ 84 h 141"/>
                    <a:gd name="T22" fmla="*/ 266 w 279"/>
                    <a:gd name="T23" fmla="*/ 70 h 141"/>
                    <a:gd name="T24" fmla="*/ 270 w 279"/>
                    <a:gd name="T25" fmla="*/ 58 h 141"/>
                    <a:gd name="T26" fmla="*/ 255 w 279"/>
                    <a:gd name="T27" fmla="*/ 46 h 141"/>
                    <a:gd name="T28" fmla="*/ 236 w 279"/>
                    <a:gd name="T29" fmla="*/ 18 h 141"/>
                    <a:gd name="T30" fmla="*/ 196 w 279"/>
                    <a:gd name="T31" fmla="*/ 13 h 141"/>
                    <a:gd name="T32" fmla="*/ 195 w 279"/>
                    <a:gd name="T33" fmla="*/ 4 h 141"/>
                    <a:gd name="T34" fmla="*/ 163 w 279"/>
                    <a:gd name="T35" fmla="*/ 7 h 141"/>
                    <a:gd name="T36" fmla="*/ 144 w 279"/>
                    <a:gd name="T37" fmla="*/ 27 h 141"/>
                    <a:gd name="T38" fmla="*/ 126 w 279"/>
                    <a:gd name="T39" fmla="*/ 25 h 141"/>
                    <a:gd name="T40" fmla="*/ 94 w 279"/>
                    <a:gd name="T41" fmla="*/ 50 h 141"/>
                    <a:gd name="T42" fmla="*/ 75 w 279"/>
                    <a:gd name="T43" fmla="*/ 43 h 141"/>
                    <a:gd name="T44" fmla="*/ 65 w 279"/>
                    <a:gd name="T45" fmla="*/ 32 h 141"/>
                    <a:gd name="T46" fmla="*/ 59 w 279"/>
                    <a:gd name="T47" fmla="*/ 39 h 141"/>
                    <a:gd name="T48" fmla="*/ 40 w 279"/>
                    <a:gd name="T49" fmla="*/ 35 h 141"/>
                    <a:gd name="T50" fmla="*/ 35 w 279"/>
                    <a:gd name="T51" fmla="*/ 10 h 141"/>
                    <a:gd name="T52" fmla="*/ 27 w 279"/>
                    <a:gd name="T53" fmla="*/ 5 h 141"/>
                    <a:gd name="T54" fmla="*/ 10 w 279"/>
                    <a:gd name="T55" fmla="*/ 11 h 141"/>
                    <a:gd name="T56" fmla="*/ 10 w 279"/>
                    <a:gd name="T57" fmla="*/ 33 h 141"/>
                    <a:gd name="T58" fmla="*/ 24 w 279"/>
                    <a:gd name="T59" fmla="*/ 40 h 141"/>
                    <a:gd name="T60" fmla="*/ 11 w 279"/>
                    <a:gd name="T61" fmla="*/ 51 h 141"/>
                    <a:gd name="T62" fmla="*/ 10 w 279"/>
                    <a:gd name="T63" fmla="*/ 65 h 141"/>
                    <a:gd name="T64" fmla="*/ 6 w 279"/>
                    <a:gd name="T65" fmla="*/ 70 h 141"/>
                    <a:gd name="T66" fmla="*/ 11 w 279"/>
                    <a:gd name="T67" fmla="*/ 75 h 141"/>
                    <a:gd name="T68" fmla="*/ 39 w 279"/>
                    <a:gd name="T69" fmla="*/ 69 h 141"/>
                    <a:gd name="T70" fmla="*/ 44 w 279"/>
                    <a:gd name="T71" fmla="*/ 81 h 141"/>
                    <a:gd name="T72" fmla="*/ 64 w 279"/>
                    <a:gd name="T73" fmla="*/ 80 h 141"/>
                    <a:gd name="T74" fmla="*/ 67 w 279"/>
                    <a:gd name="T75" fmla="*/ 107 h 141"/>
                    <a:gd name="T76" fmla="*/ 86 w 279"/>
                    <a:gd name="T77" fmla="*/ 102 h 141"/>
                    <a:gd name="T78" fmla="*/ 86 w 279"/>
                    <a:gd name="T79" fmla="*/ 89 h 141"/>
                    <a:gd name="T80" fmla="*/ 97 w 279"/>
                    <a:gd name="T81" fmla="*/ 88 h 141"/>
                    <a:gd name="T82" fmla="*/ 115 w 279"/>
                    <a:gd name="T83" fmla="*/ 134 h 141"/>
                    <a:gd name="T84" fmla="*/ 143 w 279"/>
                    <a:gd name="T85" fmla="*/ 118 h 141"/>
                    <a:gd name="T86" fmla="*/ 116 w 279"/>
                    <a:gd name="T87" fmla="*/ 81 h 141"/>
                    <a:gd name="T88" fmla="*/ 147 w 279"/>
                    <a:gd name="T89" fmla="*/ 62 h 141"/>
                    <a:gd name="T90" fmla="*/ 177 w 279"/>
                    <a:gd name="T91" fmla="*/ 36 h 141"/>
                    <a:gd name="T92" fmla="*/ 209 w 279"/>
                    <a:gd name="T93" fmla="*/ 47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79" h="141">
                      <a:moveTo>
                        <a:pt x="209" y="47"/>
                      </a:moveTo>
                      <a:cubicBezTo>
                        <a:pt x="215" y="51"/>
                        <a:pt x="224" y="66"/>
                        <a:pt x="224" y="66"/>
                      </a:cubicBezTo>
                      <a:cubicBezTo>
                        <a:pt x="232" y="63"/>
                        <a:pt x="232" y="63"/>
                        <a:pt x="232" y="63"/>
                      </a:cubicBezTo>
                      <a:cubicBezTo>
                        <a:pt x="254" y="81"/>
                        <a:pt x="254" y="81"/>
                        <a:pt x="254" y="81"/>
                      </a:cubicBezTo>
                      <a:cubicBezTo>
                        <a:pt x="232" y="71"/>
                        <a:pt x="232" y="71"/>
                        <a:pt x="232" y="71"/>
                      </a:cubicBezTo>
                      <a:cubicBezTo>
                        <a:pt x="232" y="71"/>
                        <a:pt x="229" y="100"/>
                        <a:pt x="229" y="106"/>
                      </a:cubicBezTo>
                      <a:cubicBezTo>
                        <a:pt x="229" y="111"/>
                        <a:pt x="240" y="124"/>
                        <a:pt x="243" y="128"/>
                      </a:cubicBezTo>
                      <a:cubicBezTo>
                        <a:pt x="243" y="128"/>
                        <a:pt x="243" y="128"/>
                        <a:pt x="243" y="128"/>
                      </a:cubicBezTo>
                      <a:cubicBezTo>
                        <a:pt x="253" y="107"/>
                        <a:pt x="253" y="107"/>
                        <a:pt x="253" y="107"/>
                      </a:cubicBezTo>
                      <a:cubicBezTo>
                        <a:pt x="253" y="107"/>
                        <a:pt x="260" y="117"/>
                        <a:pt x="269" y="109"/>
                      </a:cubicBezTo>
                      <a:cubicBezTo>
                        <a:pt x="279" y="101"/>
                        <a:pt x="279" y="84"/>
                        <a:pt x="279" y="84"/>
                      </a:cubicBezTo>
                      <a:cubicBezTo>
                        <a:pt x="279" y="84"/>
                        <a:pt x="266" y="77"/>
                        <a:pt x="266" y="70"/>
                      </a:cubicBezTo>
                      <a:cubicBezTo>
                        <a:pt x="266" y="64"/>
                        <a:pt x="269" y="59"/>
                        <a:pt x="270" y="58"/>
                      </a:cubicBezTo>
                      <a:cubicBezTo>
                        <a:pt x="255" y="46"/>
                        <a:pt x="255" y="46"/>
                        <a:pt x="255" y="46"/>
                      </a:cubicBezTo>
                      <a:cubicBezTo>
                        <a:pt x="255" y="46"/>
                        <a:pt x="251" y="24"/>
                        <a:pt x="236" y="18"/>
                      </a:cubicBezTo>
                      <a:cubicBezTo>
                        <a:pt x="221" y="12"/>
                        <a:pt x="196" y="13"/>
                        <a:pt x="196" y="13"/>
                      </a:cubicBezTo>
                      <a:cubicBezTo>
                        <a:pt x="195" y="4"/>
                        <a:pt x="195" y="4"/>
                        <a:pt x="195" y="4"/>
                      </a:cubicBezTo>
                      <a:cubicBezTo>
                        <a:pt x="195" y="4"/>
                        <a:pt x="169" y="0"/>
                        <a:pt x="163" y="7"/>
                      </a:cubicBezTo>
                      <a:cubicBezTo>
                        <a:pt x="157" y="14"/>
                        <a:pt x="144" y="27"/>
                        <a:pt x="144" y="27"/>
                      </a:cubicBezTo>
                      <a:cubicBezTo>
                        <a:pt x="144" y="27"/>
                        <a:pt x="134" y="18"/>
                        <a:pt x="126" y="25"/>
                      </a:cubicBezTo>
                      <a:cubicBezTo>
                        <a:pt x="118" y="32"/>
                        <a:pt x="104" y="50"/>
                        <a:pt x="94" y="50"/>
                      </a:cubicBezTo>
                      <a:cubicBezTo>
                        <a:pt x="84" y="50"/>
                        <a:pt x="75" y="43"/>
                        <a:pt x="75" y="43"/>
                      </a:cubicBezTo>
                      <a:cubicBezTo>
                        <a:pt x="65" y="32"/>
                        <a:pt x="65" y="32"/>
                        <a:pt x="65" y="32"/>
                      </a:cubicBezTo>
                      <a:cubicBezTo>
                        <a:pt x="59" y="39"/>
                        <a:pt x="59" y="39"/>
                        <a:pt x="59" y="39"/>
                      </a:cubicBezTo>
                      <a:cubicBezTo>
                        <a:pt x="59" y="39"/>
                        <a:pt x="45" y="44"/>
                        <a:pt x="40" y="35"/>
                      </a:cubicBezTo>
                      <a:cubicBezTo>
                        <a:pt x="35" y="26"/>
                        <a:pt x="42" y="16"/>
                        <a:pt x="35" y="10"/>
                      </a:cubicBezTo>
                      <a:cubicBezTo>
                        <a:pt x="33" y="8"/>
                        <a:pt x="30" y="7"/>
                        <a:pt x="27" y="5"/>
                      </a:cubicBezTo>
                      <a:cubicBezTo>
                        <a:pt x="23" y="6"/>
                        <a:pt x="16" y="9"/>
                        <a:pt x="10" y="11"/>
                      </a:cubicBezTo>
                      <a:cubicBezTo>
                        <a:pt x="0" y="14"/>
                        <a:pt x="10" y="33"/>
                        <a:pt x="10" y="33"/>
                      </a:cubicBezTo>
                      <a:cubicBezTo>
                        <a:pt x="10" y="33"/>
                        <a:pt x="24" y="35"/>
                        <a:pt x="24" y="40"/>
                      </a:cubicBezTo>
                      <a:cubicBezTo>
                        <a:pt x="24" y="45"/>
                        <a:pt x="11" y="51"/>
                        <a:pt x="11" y="51"/>
                      </a:cubicBezTo>
                      <a:cubicBezTo>
                        <a:pt x="10" y="65"/>
                        <a:pt x="10" y="65"/>
                        <a:pt x="10" y="65"/>
                      </a:cubicBezTo>
                      <a:cubicBezTo>
                        <a:pt x="6" y="70"/>
                        <a:pt x="6" y="70"/>
                        <a:pt x="6" y="70"/>
                      </a:cubicBezTo>
                      <a:cubicBezTo>
                        <a:pt x="11" y="75"/>
                        <a:pt x="11" y="75"/>
                        <a:pt x="11" y="75"/>
                      </a:cubicBezTo>
                      <a:cubicBezTo>
                        <a:pt x="39" y="69"/>
                        <a:pt x="39" y="69"/>
                        <a:pt x="39" y="69"/>
                      </a:cubicBezTo>
                      <a:cubicBezTo>
                        <a:pt x="44" y="81"/>
                        <a:pt x="44" y="81"/>
                        <a:pt x="44" y="81"/>
                      </a:cubicBezTo>
                      <a:cubicBezTo>
                        <a:pt x="64" y="80"/>
                        <a:pt x="64" y="80"/>
                        <a:pt x="64" y="80"/>
                      </a:cubicBezTo>
                      <a:cubicBezTo>
                        <a:pt x="64" y="80"/>
                        <a:pt x="59" y="102"/>
                        <a:pt x="67" y="107"/>
                      </a:cubicBezTo>
                      <a:cubicBezTo>
                        <a:pt x="75" y="112"/>
                        <a:pt x="86" y="102"/>
                        <a:pt x="86" y="102"/>
                      </a:cubicBezTo>
                      <a:cubicBezTo>
                        <a:pt x="86" y="89"/>
                        <a:pt x="86" y="89"/>
                        <a:pt x="86" y="89"/>
                      </a:cubicBezTo>
                      <a:cubicBezTo>
                        <a:pt x="97" y="88"/>
                        <a:pt x="97" y="88"/>
                        <a:pt x="97" y="88"/>
                      </a:cubicBezTo>
                      <a:cubicBezTo>
                        <a:pt x="97" y="88"/>
                        <a:pt x="101" y="141"/>
                        <a:pt x="115" y="134"/>
                      </a:cubicBezTo>
                      <a:cubicBezTo>
                        <a:pt x="129" y="127"/>
                        <a:pt x="143" y="118"/>
                        <a:pt x="143" y="118"/>
                      </a:cubicBezTo>
                      <a:cubicBezTo>
                        <a:pt x="143" y="118"/>
                        <a:pt x="105" y="91"/>
                        <a:pt x="116" y="81"/>
                      </a:cubicBezTo>
                      <a:cubicBezTo>
                        <a:pt x="127" y="71"/>
                        <a:pt x="138" y="70"/>
                        <a:pt x="147" y="62"/>
                      </a:cubicBezTo>
                      <a:cubicBezTo>
                        <a:pt x="156" y="54"/>
                        <a:pt x="167" y="34"/>
                        <a:pt x="177" y="36"/>
                      </a:cubicBezTo>
                      <a:cubicBezTo>
                        <a:pt x="187" y="38"/>
                        <a:pt x="203" y="43"/>
                        <a:pt x="209" y="47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6" name="Nicaragua">
                  <a:extLst>
                    <a:ext uri="{FF2B5EF4-FFF2-40B4-BE49-F238E27FC236}">
                      <a16:creationId xmlns:a16="http://schemas.microsoft.com/office/drawing/2014/main" id="{43AC85D0-2344-73E5-5CDE-65F43758BB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304396" y="3636083"/>
                  <a:ext cx="122258" cy="123768"/>
                </a:xfrm>
                <a:custGeom>
                  <a:avLst/>
                  <a:gdLst>
                    <a:gd name="T0" fmla="*/ 128 w 220"/>
                    <a:gd name="T1" fmla="*/ 204 h 223"/>
                    <a:gd name="T2" fmla="*/ 128 w 220"/>
                    <a:gd name="T3" fmla="*/ 204 h 223"/>
                    <a:gd name="T4" fmla="*/ 128 w 220"/>
                    <a:gd name="T5" fmla="*/ 204 h 223"/>
                    <a:gd name="T6" fmla="*/ 128 w 220"/>
                    <a:gd name="T7" fmla="*/ 204 h 223"/>
                    <a:gd name="T8" fmla="*/ 218 w 220"/>
                    <a:gd name="T9" fmla="*/ 15 h 223"/>
                    <a:gd name="T10" fmla="*/ 211 w 220"/>
                    <a:gd name="T11" fmla="*/ 1 h 223"/>
                    <a:gd name="T12" fmla="*/ 192 w 220"/>
                    <a:gd name="T13" fmla="*/ 2 h 223"/>
                    <a:gd name="T14" fmla="*/ 181 w 220"/>
                    <a:gd name="T15" fmla="*/ 2 h 223"/>
                    <a:gd name="T16" fmla="*/ 168 w 220"/>
                    <a:gd name="T17" fmla="*/ 12 h 223"/>
                    <a:gd name="T18" fmla="*/ 143 w 220"/>
                    <a:gd name="T19" fmla="*/ 1 h 223"/>
                    <a:gd name="T20" fmla="*/ 133 w 220"/>
                    <a:gd name="T21" fmla="*/ 20 h 223"/>
                    <a:gd name="T22" fmla="*/ 120 w 220"/>
                    <a:gd name="T23" fmla="*/ 21 h 223"/>
                    <a:gd name="T24" fmla="*/ 119 w 220"/>
                    <a:gd name="T25" fmla="*/ 31 h 223"/>
                    <a:gd name="T26" fmla="*/ 92 w 220"/>
                    <a:gd name="T27" fmla="*/ 54 h 223"/>
                    <a:gd name="T28" fmla="*/ 78 w 220"/>
                    <a:gd name="T29" fmla="*/ 45 h 223"/>
                    <a:gd name="T30" fmla="*/ 65 w 220"/>
                    <a:gd name="T31" fmla="*/ 59 h 223"/>
                    <a:gd name="T32" fmla="*/ 45 w 220"/>
                    <a:gd name="T33" fmla="*/ 58 h 223"/>
                    <a:gd name="T34" fmla="*/ 44 w 220"/>
                    <a:gd name="T35" fmla="*/ 85 h 223"/>
                    <a:gd name="T36" fmla="*/ 35 w 220"/>
                    <a:gd name="T37" fmla="*/ 87 h 223"/>
                    <a:gd name="T38" fmla="*/ 33 w 220"/>
                    <a:gd name="T39" fmla="*/ 98 h 223"/>
                    <a:gd name="T40" fmla="*/ 19 w 220"/>
                    <a:gd name="T41" fmla="*/ 102 h 223"/>
                    <a:gd name="T42" fmla="*/ 0 w 220"/>
                    <a:gd name="T43" fmla="*/ 102 h 223"/>
                    <a:gd name="T44" fmla="*/ 32 w 220"/>
                    <a:gd name="T45" fmla="*/ 136 h 223"/>
                    <a:gd name="T46" fmla="*/ 50 w 220"/>
                    <a:gd name="T47" fmla="*/ 175 h 223"/>
                    <a:gd name="T48" fmla="*/ 80 w 220"/>
                    <a:gd name="T49" fmla="*/ 199 h 223"/>
                    <a:gd name="T50" fmla="*/ 92 w 220"/>
                    <a:gd name="T51" fmla="*/ 198 h 223"/>
                    <a:gd name="T52" fmla="*/ 92 w 220"/>
                    <a:gd name="T53" fmla="*/ 197 h 223"/>
                    <a:gd name="T54" fmla="*/ 81 w 220"/>
                    <a:gd name="T55" fmla="*/ 187 h 223"/>
                    <a:gd name="T56" fmla="*/ 95 w 220"/>
                    <a:gd name="T57" fmla="*/ 181 h 223"/>
                    <a:gd name="T58" fmla="*/ 90 w 220"/>
                    <a:gd name="T59" fmla="*/ 175 h 223"/>
                    <a:gd name="T60" fmla="*/ 79 w 220"/>
                    <a:gd name="T61" fmla="*/ 177 h 223"/>
                    <a:gd name="T62" fmla="*/ 79 w 220"/>
                    <a:gd name="T63" fmla="*/ 149 h 223"/>
                    <a:gd name="T64" fmla="*/ 123 w 220"/>
                    <a:gd name="T65" fmla="*/ 185 h 223"/>
                    <a:gd name="T66" fmla="*/ 128 w 220"/>
                    <a:gd name="T67" fmla="*/ 204 h 223"/>
                    <a:gd name="T68" fmla="*/ 132 w 220"/>
                    <a:gd name="T69" fmla="*/ 204 h 223"/>
                    <a:gd name="T70" fmla="*/ 150 w 220"/>
                    <a:gd name="T71" fmla="*/ 211 h 223"/>
                    <a:gd name="T72" fmla="*/ 162 w 220"/>
                    <a:gd name="T73" fmla="*/ 223 h 223"/>
                    <a:gd name="T74" fmla="*/ 183 w 220"/>
                    <a:gd name="T75" fmla="*/ 220 h 223"/>
                    <a:gd name="T76" fmla="*/ 170 w 220"/>
                    <a:gd name="T77" fmla="*/ 192 h 223"/>
                    <a:gd name="T78" fmla="*/ 182 w 220"/>
                    <a:gd name="T79" fmla="*/ 172 h 223"/>
                    <a:gd name="T80" fmla="*/ 177 w 220"/>
                    <a:gd name="T81" fmla="*/ 151 h 223"/>
                    <a:gd name="T82" fmla="*/ 181 w 220"/>
                    <a:gd name="T83" fmla="*/ 119 h 223"/>
                    <a:gd name="T84" fmla="*/ 191 w 220"/>
                    <a:gd name="T85" fmla="*/ 131 h 223"/>
                    <a:gd name="T86" fmla="*/ 194 w 220"/>
                    <a:gd name="T87" fmla="*/ 74 h 223"/>
                    <a:gd name="T88" fmla="*/ 209 w 220"/>
                    <a:gd name="T89" fmla="*/ 44 h 223"/>
                    <a:gd name="T90" fmla="*/ 218 w 220"/>
                    <a:gd name="T91" fmla="*/ 15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20" h="223">
                      <a:moveTo>
                        <a:pt x="128" y="204"/>
                      </a:moveTo>
                      <a:cubicBezTo>
                        <a:pt x="128" y="204"/>
                        <a:pt x="128" y="204"/>
                        <a:pt x="128" y="204"/>
                      </a:cubicBezTo>
                      <a:cubicBezTo>
                        <a:pt x="128" y="204"/>
                        <a:pt x="128" y="204"/>
                        <a:pt x="128" y="204"/>
                      </a:cubicBezTo>
                      <a:cubicBezTo>
                        <a:pt x="128" y="204"/>
                        <a:pt x="128" y="204"/>
                        <a:pt x="128" y="204"/>
                      </a:cubicBezTo>
                      <a:close/>
                      <a:moveTo>
                        <a:pt x="218" y="15"/>
                      </a:moveTo>
                      <a:cubicBezTo>
                        <a:pt x="216" y="10"/>
                        <a:pt x="210" y="5"/>
                        <a:pt x="211" y="1"/>
                      </a:cubicBezTo>
                      <a:cubicBezTo>
                        <a:pt x="192" y="2"/>
                        <a:pt x="192" y="2"/>
                        <a:pt x="192" y="2"/>
                      </a:cubicBezTo>
                      <a:cubicBezTo>
                        <a:pt x="192" y="2"/>
                        <a:pt x="185" y="2"/>
                        <a:pt x="181" y="2"/>
                      </a:cubicBezTo>
                      <a:cubicBezTo>
                        <a:pt x="177" y="2"/>
                        <a:pt x="178" y="11"/>
                        <a:pt x="168" y="12"/>
                      </a:cubicBezTo>
                      <a:cubicBezTo>
                        <a:pt x="158" y="13"/>
                        <a:pt x="152" y="2"/>
                        <a:pt x="143" y="1"/>
                      </a:cubicBezTo>
                      <a:cubicBezTo>
                        <a:pt x="134" y="0"/>
                        <a:pt x="133" y="20"/>
                        <a:pt x="133" y="20"/>
                      </a:cubicBezTo>
                      <a:cubicBezTo>
                        <a:pt x="120" y="21"/>
                        <a:pt x="120" y="21"/>
                        <a:pt x="120" y="21"/>
                      </a:cubicBezTo>
                      <a:cubicBezTo>
                        <a:pt x="119" y="31"/>
                        <a:pt x="119" y="31"/>
                        <a:pt x="119" y="31"/>
                      </a:cubicBezTo>
                      <a:cubicBezTo>
                        <a:pt x="119" y="31"/>
                        <a:pt x="107" y="54"/>
                        <a:pt x="92" y="54"/>
                      </a:cubicBezTo>
                      <a:cubicBezTo>
                        <a:pt x="77" y="54"/>
                        <a:pt x="86" y="46"/>
                        <a:pt x="78" y="45"/>
                      </a:cubicBezTo>
                      <a:cubicBezTo>
                        <a:pt x="70" y="44"/>
                        <a:pt x="65" y="59"/>
                        <a:pt x="65" y="59"/>
                      </a:cubicBezTo>
                      <a:cubicBezTo>
                        <a:pt x="65" y="59"/>
                        <a:pt x="60" y="58"/>
                        <a:pt x="45" y="58"/>
                      </a:cubicBezTo>
                      <a:cubicBezTo>
                        <a:pt x="30" y="58"/>
                        <a:pt x="44" y="85"/>
                        <a:pt x="44" y="85"/>
                      </a:cubicBezTo>
                      <a:cubicBezTo>
                        <a:pt x="35" y="87"/>
                        <a:pt x="35" y="87"/>
                        <a:pt x="35" y="87"/>
                      </a:cubicBezTo>
                      <a:cubicBezTo>
                        <a:pt x="35" y="87"/>
                        <a:pt x="39" y="96"/>
                        <a:pt x="33" y="98"/>
                      </a:cubicBezTo>
                      <a:cubicBezTo>
                        <a:pt x="27" y="100"/>
                        <a:pt x="19" y="102"/>
                        <a:pt x="19" y="102"/>
                      </a:cubicBez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32" y="136"/>
                        <a:pt x="32" y="136"/>
                        <a:pt x="32" y="136"/>
                      </a:cubicBezTo>
                      <a:cubicBezTo>
                        <a:pt x="32" y="136"/>
                        <a:pt x="40" y="167"/>
                        <a:pt x="50" y="175"/>
                      </a:cubicBezTo>
                      <a:cubicBezTo>
                        <a:pt x="59" y="182"/>
                        <a:pt x="77" y="196"/>
                        <a:pt x="80" y="199"/>
                      </a:cubicBezTo>
                      <a:cubicBezTo>
                        <a:pt x="83" y="198"/>
                        <a:pt x="89" y="197"/>
                        <a:pt x="92" y="198"/>
                      </a:cubicBezTo>
                      <a:cubicBezTo>
                        <a:pt x="92" y="197"/>
                        <a:pt x="92" y="197"/>
                        <a:pt x="92" y="197"/>
                      </a:cubicBezTo>
                      <a:cubicBezTo>
                        <a:pt x="89" y="195"/>
                        <a:pt x="78" y="191"/>
                        <a:pt x="81" y="187"/>
                      </a:cubicBezTo>
                      <a:cubicBezTo>
                        <a:pt x="84" y="183"/>
                        <a:pt x="99" y="188"/>
                        <a:pt x="95" y="181"/>
                      </a:cubicBezTo>
                      <a:cubicBezTo>
                        <a:pt x="91" y="175"/>
                        <a:pt x="90" y="175"/>
                        <a:pt x="90" y="175"/>
                      </a:cubicBezTo>
                      <a:cubicBezTo>
                        <a:pt x="90" y="175"/>
                        <a:pt x="79" y="179"/>
                        <a:pt x="79" y="177"/>
                      </a:cubicBezTo>
                      <a:cubicBezTo>
                        <a:pt x="78" y="175"/>
                        <a:pt x="72" y="147"/>
                        <a:pt x="79" y="149"/>
                      </a:cubicBezTo>
                      <a:cubicBezTo>
                        <a:pt x="86" y="151"/>
                        <a:pt x="119" y="177"/>
                        <a:pt x="123" y="185"/>
                      </a:cubicBezTo>
                      <a:cubicBezTo>
                        <a:pt x="126" y="189"/>
                        <a:pt x="127" y="197"/>
                        <a:pt x="128" y="204"/>
                      </a:cubicBezTo>
                      <a:cubicBezTo>
                        <a:pt x="129" y="204"/>
                        <a:pt x="131" y="204"/>
                        <a:pt x="132" y="204"/>
                      </a:cubicBezTo>
                      <a:cubicBezTo>
                        <a:pt x="145" y="205"/>
                        <a:pt x="150" y="211"/>
                        <a:pt x="150" y="211"/>
                      </a:cubicBezTo>
                      <a:cubicBezTo>
                        <a:pt x="150" y="211"/>
                        <a:pt x="150" y="223"/>
                        <a:pt x="162" y="223"/>
                      </a:cubicBezTo>
                      <a:cubicBezTo>
                        <a:pt x="168" y="223"/>
                        <a:pt x="176" y="222"/>
                        <a:pt x="183" y="220"/>
                      </a:cubicBezTo>
                      <a:cubicBezTo>
                        <a:pt x="180" y="218"/>
                        <a:pt x="170" y="205"/>
                        <a:pt x="170" y="192"/>
                      </a:cubicBezTo>
                      <a:cubicBezTo>
                        <a:pt x="170" y="177"/>
                        <a:pt x="182" y="181"/>
                        <a:pt x="182" y="172"/>
                      </a:cubicBezTo>
                      <a:cubicBezTo>
                        <a:pt x="182" y="163"/>
                        <a:pt x="177" y="151"/>
                        <a:pt x="177" y="151"/>
                      </a:cubicBezTo>
                      <a:cubicBezTo>
                        <a:pt x="181" y="119"/>
                        <a:pt x="181" y="119"/>
                        <a:pt x="181" y="119"/>
                      </a:cubicBezTo>
                      <a:cubicBezTo>
                        <a:pt x="191" y="131"/>
                        <a:pt x="191" y="131"/>
                        <a:pt x="191" y="131"/>
                      </a:cubicBezTo>
                      <a:cubicBezTo>
                        <a:pt x="194" y="74"/>
                        <a:pt x="194" y="74"/>
                        <a:pt x="194" y="74"/>
                      </a:cubicBezTo>
                      <a:cubicBezTo>
                        <a:pt x="194" y="74"/>
                        <a:pt x="200" y="53"/>
                        <a:pt x="209" y="44"/>
                      </a:cubicBezTo>
                      <a:cubicBezTo>
                        <a:pt x="218" y="35"/>
                        <a:pt x="220" y="20"/>
                        <a:pt x="218" y="15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7" name="Mexico">
                  <a:extLst>
                    <a:ext uri="{FF2B5EF4-FFF2-40B4-BE49-F238E27FC236}">
                      <a16:creationId xmlns:a16="http://schemas.microsoft.com/office/drawing/2014/main" id="{CE91D81C-CE93-8DA8-AE88-6F59F7643D8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64522" y="3101344"/>
                  <a:ext cx="697033" cy="545847"/>
                </a:xfrm>
                <a:custGeom>
                  <a:avLst/>
                  <a:gdLst>
                    <a:gd name="T0" fmla="*/ 968 w 1247"/>
                    <a:gd name="T1" fmla="*/ 891 h 976"/>
                    <a:gd name="T2" fmla="*/ 1036 w 1247"/>
                    <a:gd name="T3" fmla="*/ 874 h 976"/>
                    <a:gd name="T4" fmla="*/ 1008 w 1247"/>
                    <a:gd name="T5" fmla="*/ 851 h 976"/>
                    <a:gd name="T6" fmla="*/ 1015 w 1247"/>
                    <a:gd name="T7" fmla="*/ 825 h 976"/>
                    <a:gd name="T8" fmla="*/ 1108 w 1247"/>
                    <a:gd name="T9" fmla="*/ 786 h 976"/>
                    <a:gd name="T10" fmla="*/ 1139 w 1247"/>
                    <a:gd name="T11" fmla="*/ 771 h 976"/>
                    <a:gd name="T12" fmla="*/ 1162 w 1247"/>
                    <a:gd name="T13" fmla="*/ 767 h 976"/>
                    <a:gd name="T14" fmla="*/ 1182 w 1247"/>
                    <a:gd name="T15" fmla="*/ 717 h 976"/>
                    <a:gd name="T16" fmla="*/ 1184 w 1247"/>
                    <a:gd name="T17" fmla="*/ 701 h 976"/>
                    <a:gd name="T18" fmla="*/ 1234 w 1247"/>
                    <a:gd name="T19" fmla="*/ 632 h 976"/>
                    <a:gd name="T20" fmla="*/ 1172 w 1247"/>
                    <a:gd name="T21" fmla="*/ 594 h 976"/>
                    <a:gd name="T22" fmla="*/ 1060 w 1247"/>
                    <a:gd name="T23" fmla="*/ 655 h 976"/>
                    <a:gd name="T24" fmla="*/ 1043 w 1247"/>
                    <a:gd name="T25" fmla="*/ 716 h 976"/>
                    <a:gd name="T26" fmla="*/ 974 w 1247"/>
                    <a:gd name="T27" fmla="*/ 749 h 976"/>
                    <a:gd name="T28" fmla="*/ 836 w 1247"/>
                    <a:gd name="T29" fmla="*/ 753 h 976"/>
                    <a:gd name="T30" fmla="*/ 777 w 1247"/>
                    <a:gd name="T31" fmla="*/ 708 h 976"/>
                    <a:gd name="T32" fmla="*/ 750 w 1247"/>
                    <a:gd name="T33" fmla="*/ 616 h 976"/>
                    <a:gd name="T34" fmla="*/ 752 w 1247"/>
                    <a:gd name="T35" fmla="*/ 507 h 976"/>
                    <a:gd name="T36" fmla="*/ 768 w 1247"/>
                    <a:gd name="T37" fmla="*/ 434 h 976"/>
                    <a:gd name="T38" fmla="*/ 806 w 1247"/>
                    <a:gd name="T39" fmla="*/ 364 h 976"/>
                    <a:gd name="T40" fmla="*/ 780 w 1247"/>
                    <a:gd name="T41" fmla="*/ 355 h 976"/>
                    <a:gd name="T42" fmla="*/ 720 w 1247"/>
                    <a:gd name="T43" fmla="*/ 332 h 976"/>
                    <a:gd name="T44" fmla="*/ 714 w 1247"/>
                    <a:gd name="T45" fmla="*/ 280 h 976"/>
                    <a:gd name="T46" fmla="*/ 700 w 1247"/>
                    <a:gd name="T47" fmla="*/ 241 h 976"/>
                    <a:gd name="T48" fmla="*/ 661 w 1247"/>
                    <a:gd name="T49" fmla="*/ 154 h 976"/>
                    <a:gd name="T50" fmla="*/ 621 w 1247"/>
                    <a:gd name="T51" fmla="*/ 154 h 976"/>
                    <a:gd name="T52" fmla="*/ 519 w 1247"/>
                    <a:gd name="T53" fmla="*/ 161 h 976"/>
                    <a:gd name="T54" fmla="*/ 491 w 1247"/>
                    <a:gd name="T55" fmla="*/ 76 h 976"/>
                    <a:gd name="T56" fmla="*/ 390 w 1247"/>
                    <a:gd name="T57" fmla="*/ 45 h 976"/>
                    <a:gd name="T58" fmla="*/ 378 w 1247"/>
                    <a:gd name="T59" fmla="*/ 72 h 976"/>
                    <a:gd name="T60" fmla="*/ 106 w 1247"/>
                    <a:gd name="T61" fmla="*/ 0 h 976"/>
                    <a:gd name="T62" fmla="*/ 0 w 1247"/>
                    <a:gd name="T63" fmla="*/ 25 h 976"/>
                    <a:gd name="T64" fmla="*/ 10 w 1247"/>
                    <a:gd name="T65" fmla="*/ 76 h 976"/>
                    <a:gd name="T66" fmla="*/ 5 w 1247"/>
                    <a:gd name="T67" fmla="*/ 117 h 976"/>
                    <a:gd name="T68" fmla="*/ 42 w 1247"/>
                    <a:gd name="T69" fmla="*/ 176 h 976"/>
                    <a:gd name="T70" fmla="*/ 58 w 1247"/>
                    <a:gd name="T71" fmla="*/ 267 h 976"/>
                    <a:gd name="T72" fmla="*/ 7 w 1247"/>
                    <a:gd name="T73" fmla="*/ 261 h 976"/>
                    <a:gd name="T74" fmla="*/ 43 w 1247"/>
                    <a:gd name="T75" fmla="*/ 296 h 976"/>
                    <a:gd name="T76" fmla="*/ 91 w 1247"/>
                    <a:gd name="T77" fmla="*/ 337 h 976"/>
                    <a:gd name="T78" fmla="*/ 142 w 1247"/>
                    <a:gd name="T79" fmla="*/ 459 h 976"/>
                    <a:gd name="T80" fmla="*/ 210 w 1247"/>
                    <a:gd name="T81" fmla="*/ 506 h 976"/>
                    <a:gd name="T82" fmla="*/ 172 w 1247"/>
                    <a:gd name="T83" fmla="*/ 452 h 976"/>
                    <a:gd name="T84" fmla="*/ 162 w 1247"/>
                    <a:gd name="T85" fmla="*/ 387 h 976"/>
                    <a:gd name="T86" fmla="*/ 131 w 1247"/>
                    <a:gd name="T87" fmla="*/ 319 h 976"/>
                    <a:gd name="T88" fmla="*/ 116 w 1247"/>
                    <a:gd name="T89" fmla="*/ 227 h 976"/>
                    <a:gd name="T90" fmla="*/ 66 w 1247"/>
                    <a:gd name="T91" fmla="*/ 128 h 976"/>
                    <a:gd name="T92" fmla="*/ 84 w 1247"/>
                    <a:gd name="T93" fmla="*/ 42 h 976"/>
                    <a:gd name="T94" fmla="*/ 138 w 1247"/>
                    <a:gd name="T95" fmla="*/ 73 h 976"/>
                    <a:gd name="T96" fmla="*/ 160 w 1247"/>
                    <a:gd name="T97" fmla="*/ 180 h 976"/>
                    <a:gd name="T98" fmla="*/ 208 w 1247"/>
                    <a:gd name="T99" fmla="*/ 284 h 976"/>
                    <a:gd name="T100" fmla="*/ 257 w 1247"/>
                    <a:gd name="T101" fmla="*/ 318 h 976"/>
                    <a:gd name="T102" fmla="*/ 255 w 1247"/>
                    <a:gd name="T103" fmla="*/ 375 h 976"/>
                    <a:gd name="T104" fmla="*/ 294 w 1247"/>
                    <a:gd name="T105" fmla="*/ 418 h 976"/>
                    <a:gd name="T106" fmla="*/ 313 w 1247"/>
                    <a:gd name="T107" fmla="*/ 456 h 976"/>
                    <a:gd name="T108" fmla="*/ 371 w 1247"/>
                    <a:gd name="T109" fmla="*/ 575 h 976"/>
                    <a:gd name="T110" fmla="*/ 375 w 1247"/>
                    <a:gd name="T111" fmla="*/ 645 h 976"/>
                    <a:gd name="T112" fmla="*/ 423 w 1247"/>
                    <a:gd name="T113" fmla="*/ 740 h 976"/>
                    <a:gd name="T114" fmla="*/ 556 w 1247"/>
                    <a:gd name="T115" fmla="*/ 838 h 976"/>
                    <a:gd name="T116" fmla="*/ 677 w 1247"/>
                    <a:gd name="T117" fmla="*/ 899 h 976"/>
                    <a:gd name="T118" fmla="*/ 840 w 1247"/>
                    <a:gd name="T119" fmla="*/ 878 h 976"/>
                    <a:gd name="T120" fmla="*/ 947 w 1247"/>
                    <a:gd name="T121" fmla="*/ 960 h 9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47" h="976">
                      <a:moveTo>
                        <a:pt x="947" y="960"/>
                      </a:moveTo>
                      <a:cubicBezTo>
                        <a:pt x="947" y="944"/>
                        <a:pt x="947" y="922"/>
                        <a:pt x="947" y="922"/>
                      </a:cubicBezTo>
                      <a:cubicBezTo>
                        <a:pt x="968" y="891"/>
                        <a:pt x="968" y="891"/>
                        <a:pt x="968" y="891"/>
                      </a:cubicBezTo>
                      <a:cubicBezTo>
                        <a:pt x="1027" y="892"/>
                        <a:pt x="1027" y="892"/>
                        <a:pt x="1027" y="892"/>
                      </a:cubicBezTo>
                      <a:cubicBezTo>
                        <a:pt x="1027" y="881"/>
                        <a:pt x="1027" y="881"/>
                        <a:pt x="1027" y="881"/>
                      </a:cubicBezTo>
                      <a:cubicBezTo>
                        <a:pt x="1027" y="881"/>
                        <a:pt x="1036" y="884"/>
                        <a:pt x="1036" y="874"/>
                      </a:cubicBezTo>
                      <a:cubicBezTo>
                        <a:pt x="1036" y="864"/>
                        <a:pt x="1024" y="868"/>
                        <a:pt x="1024" y="868"/>
                      </a:cubicBezTo>
                      <a:cubicBezTo>
                        <a:pt x="1020" y="852"/>
                        <a:pt x="1020" y="852"/>
                        <a:pt x="1020" y="852"/>
                      </a:cubicBezTo>
                      <a:cubicBezTo>
                        <a:pt x="1020" y="852"/>
                        <a:pt x="1018" y="853"/>
                        <a:pt x="1008" y="851"/>
                      </a:cubicBezTo>
                      <a:cubicBezTo>
                        <a:pt x="998" y="849"/>
                        <a:pt x="997" y="833"/>
                        <a:pt x="997" y="833"/>
                      </a:cubicBezTo>
                      <a:cubicBezTo>
                        <a:pt x="987" y="829"/>
                        <a:pt x="987" y="829"/>
                        <a:pt x="987" y="829"/>
                      </a:cubicBezTo>
                      <a:cubicBezTo>
                        <a:pt x="987" y="829"/>
                        <a:pt x="1013" y="831"/>
                        <a:pt x="1015" y="825"/>
                      </a:cubicBezTo>
                      <a:cubicBezTo>
                        <a:pt x="1017" y="819"/>
                        <a:pt x="1014" y="795"/>
                        <a:pt x="1014" y="795"/>
                      </a:cubicBezTo>
                      <a:cubicBezTo>
                        <a:pt x="1101" y="796"/>
                        <a:pt x="1101" y="796"/>
                        <a:pt x="1101" y="796"/>
                      </a:cubicBezTo>
                      <a:cubicBezTo>
                        <a:pt x="1101" y="796"/>
                        <a:pt x="1103" y="786"/>
                        <a:pt x="1108" y="786"/>
                      </a:cubicBezTo>
                      <a:cubicBezTo>
                        <a:pt x="1113" y="786"/>
                        <a:pt x="1107" y="794"/>
                        <a:pt x="1118" y="793"/>
                      </a:cubicBezTo>
                      <a:cubicBezTo>
                        <a:pt x="1129" y="792"/>
                        <a:pt x="1136" y="760"/>
                        <a:pt x="1136" y="760"/>
                      </a:cubicBezTo>
                      <a:cubicBezTo>
                        <a:pt x="1139" y="771"/>
                        <a:pt x="1139" y="771"/>
                        <a:pt x="1139" y="771"/>
                      </a:cubicBezTo>
                      <a:cubicBezTo>
                        <a:pt x="1150" y="761"/>
                        <a:pt x="1150" y="761"/>
                        <a:pt x="1150" y="761"/>
                      </a:cubicBezTo>
                      <a:cubicBezTo>
                        <a:pt x="1164" y="745"/>
                        <a:pt x="1164" y="745"/>
                        <a:pt x="1164" y="745"/>
                      </a:cubicBezTo>
                      <a:cubicBezTo>
                        <a:pt x="1164" y="745"/>
                        <a:pt x="1158" y="764"/>
                        <a:pt x="1162" y="767"/>
                      </a:cubicBezTo>
                      <a:cubicBezTo>
                        <a:pt x="1166" y="770"/>
                        <a:pt x="1173" y="770"/>
                        <a:pt x="1173" y="770"/>
                      </a:cubicBezTo>
                      <a:cubicBezTo>
                        <a:pt x="1188" y="725"/>
                        <a:pt x="1188" y="725"/>
                        <a:pt x="1188" y="725"/>
                      </a:cubicBezTo>
                      <a:cubicBezTo>
                        <a:pt x="1182" y="717"/>
                        <a:pt x="1182" y="717"/>
                        <a:pt x="1182" y="717"/>
                      </a:cubicBezTo>
                      <a:cubicBezTo>
                        <a:pt x="1195" y="713"/>
                        <a:pt x="1195" y="713"/>
                        <a:pt x="1195" y="713"/>
                      </a:cubicBezTo>
                      <a:cubicBezTo>
                        <a:pt x="1196" y="705"/>
                        <a:pt x="1196" y="705"/>
                        <a:pt x="1196" y="705"/>
                      </a:cubicBezTo>
                      <a:cubicBezTo>
                        <a:pt x="1184" y="701"/>
                        <a:pt x="1184" y="701"/>
                        <a:pt x="1184" y="701"/>
                      </a:cubicBezTo>
                      <a:cubicBezTo>
                        <a:pt x="1196" y="688"/>
                        <a:pt x="1196" y="688"/>
                        <a:pt x="1196" y="688"/>
                      </a:cubicBezTo>
                      <a:cubicBezTo>
                        <a:pt x="1200" y="672"/>
                        <a:pt x="1200" y="672"/>
                        <a:pt x="1200" y="672"/>
                      </a:cubicBezTo>
                      <a:cubicBezTo>
                        <a:pt x="1200" y="672"/>
                        <a:pt x="1230" y="641"/>
                        <a:pt x="1234" y="632"/>
                      </a:cubicBezTo>
                      <a:cubicBezTo>
                        <a:pt x="1238" y="623"/>
                        <a:pt x="1247" y="600"/>
                        <a:pt x="1236" y="597"/>
                      </a:cubicBezTo>
                      <a:cubicBezTo>
                        <a:pt x="1225" y="594"/>
                        <a:pt x="1203" y="601"/>
                        <a:pt x="1203" y="601"/>
                      </a:cubicBezTo>
                      <a:cubicBezTo>
                        <a:pt x="1203" y="601"/>
                        <a:pt x="1179" y="594"/>
                        <a:pt x="1172" y="594"/>
                      </a:cubicBezTo>
                      <a:cubicBezTo>
                        <a:pt x="1165" y="594"/>
                        <a:pt x="1137" y="602"/>
                        <a:pt x="1123" y="606"/>
                      </a:cubicBezTo>
                      <a:cubicBezTo>
                        <a:pt x="1109" y="610"/>
                        <a:pt x="1084" y="606"/>
                        <a:pt x="1078" y="612"/>
                      </a:cubicBezTo>
                      <a:cubicBezTo>
                        <a:pt x="1072" y="618"/>
                        <a:pt x="1061" y="639"/>
                        <a:pt x="1060" y="655"/>
                      </a:cubicBezTo>
                      <a:cubicBezTo>
                        <a:pt x="1059" y="671"/>
                        <a:pt x="1059" y="686"/>
                        <a:pt x="1059" y="686"/>
                      </a:cubicBezTo>
                      <a:cubicBezTo>
                        <a:pt x="1049" y="690"/>
                        <a:pt x="1049" y="690"/>
                        <a:pt x="1049" y="690"/>
                      </a:cubicBezTo>
                      <a:cubicBezTo>
                        <a:pt x="1049" y="690"/>
                        <a:pt x="1049" y="710"/>
                        <a:pt x="1043" y="716"/>
                      </a:cubicBezTo>
                      <a:cubicBezTo>
                        <a:pt x="1037" y="722"/>
                        <a:pt x="1016" y="728"/>
                        <a:pt x="1011" y="737"/>
                      </a:cubicBezTo>
                      <a:cubicBezTo>
                        <a:pt x="1006" y="746"/>
                        <a:pt x="1009" y="765"/>
                        <a:pt x="996" y="766"/>
                      </a:cubicBezTo>
                      <a:cubicBezTo>
                        <a:pt x="983" y="767"/>
                        <a:pt x="990" y="749"/>
                        <a:pt x="974" y="749"/>
                      </a:cubicBezTo>
                      <a:cubicBezTo>
                        <a:pt x="958" y="749"/>
                        <a:pt x="932" y="761"/>
                        <a:pt x="912" y="761"/>
                      </a:cubicBezTo>
                      <a:cubicBezTo>
                        <a:pt x="892" y="761"/>
                        <a:pt x="864" y="784"/>
                        <a:pt x="855" y="780"/>
                      </a:cubicBezTo>
                      <a:cubicBezTo>
                        <a:pt x="846" y="776"/>
                        <a:pt x="847" y="755"/>
                        <a:pt x="836" y="753"/>
                      </a:cubicBezTo>
                      <a:cubicBezTo>
                        <a:pt x="825" y="751"/>
                        <a:pt x="797" y="748"/>
                        <a:pt x="797" y="748"/>
                      </a:cubicBezTo>
                      <a:cubicBezTo>
                        <a:pt x="797" y="748"/>
                        <a:pt x="795" y="731"/>
                        <a:pt x="790" y="724"/>
                      </a:cubicBezTo>
                      <a:cubicBezTo>
                        <a:pt x="785" y="717"/>
                        <a:pt x="777" y="708"/>
                        <a:pt x="777" y="708"/>
                      </a:cubicBezTo>
                      <a:cubicBezTo>
                        <a:pt x="777" y="685"/>
                        <a:pt x="777" y="685"/>
                        <a:pt x="777" y="685"/>
                      </a:cubicBezTo>
                      <a:cubicBezTo>
                        <a:pt x="751" y="644"/>
                        <a:pt x="751" y="644"/>
                        <a:pt x="751" y="644"/>
                      </a:cubicBezTo>
                      <a:cubicBezTo>
                        <a:pt x="750" y="616"/>
                        <a:pt x="750" y="616"/>
                        <a:pt x="750" y="616"/>
                      </a:cubicBezTo>
                      <a:cubicBezTo>
                        <a:pt x="739" y="596"/>
                        <a:pt x="739" y="596"/>
                        <a:pt x="739" y="596"/>
                      </a:cubicBezTo>
                      <a:cubicBezTo>
                        <a:pt x="736" y="539"/>
                        <a:pt x="736" y="539"/>
                        <a:pt x="736" y="539"/>
                      </a:cubicBezTo>
                      <a:cubicBezTo>
                        <a:pt x="736" y="539"/>
                        <a:pt x="752" y="518"/>
                        <a:pt x="752" y="507"/>
                      </a:cubicBezTo>
                      <a:cubicBezTo>
                        <a:pt x="752" y="496"/>
                        <a:pt x="754" y="466"/>
                        <a:pt x="754" y="466"/>
                      </a:cubicBezTo>
                      <a:cubicBezTo>
                        <a:pt x="752" y="439"/>
                        <a:pt x="752" y="439"/>
                        <a:pt x="752" y="439"/>
                      </a:cubicBezTo>
                      <a:cubicBezTo>
                        <a:pt x="768" y="434"/>
                        <a:pt x="768" y="434"/>
                        <a:pt x="768" y="434"/>
                      </a:cubicBezTo>
                      <a:cubicBezTo>
                        <a:pt x="768" y="434"/>
                        <a:pt x="767" y="394"/>
                        <a:pt x="775" y="392"/>
                      </a:cubicBezTo>
                      <a:cubicBezTo>
                        <a:pt x="783" y="390"/>
                        <a:pt x="791" y="401"/>
                        <a:pt x="793" y="392"/>
                      </a:cubicBezTo>
                      <a:cubicBezTo>
                        <a:pt x="795" y="383"/>
                        <a:pt x="806" y="364"/>
                        <a:pt x="806" y="364"/>
                      </a:cubicBezTo>
                      <a:cubicBezTo>
                        <a:pt x="806" y="363"/>
                        <a:pt x="806" y="363"/>
                        <a:pt x="806" y="363"/>
                      </a:cubicBezTo>
                      <a:cubicBezTo>
                        <a:pt x="803" y="364"/>
                        <a:pt x="799" y="365"/>
                        <a:pt x="794" y="365"/>
                      </a:cubicBezTo>
                      <a:cubicBezTo>
                        <a:pt x="783" y="365"/>
                        <a:pt x="785" y="355"/>
                        <a:pt x="780" y="355"/>
                      </a:cubicBezTo>
                      <a:cubicBezTo>
                        <a:pt x="775" y="355"/>
                        <a:pt x="756" y="355"/>
                        <a:pt x="756" y="355"/>
                      </a:cubicBezTo>
                      <a:cubicBezTo>
                        <a:pt x="750" y="344"/>
                        <a:pt x="750" y="344"/>
                        <a:pt x="750" y="344"/>
                      </a:cubicBezTo>
                      <a:cubicBezTo>
                        <a:pt x="750" y="344"/>
                        <a:pt x="720" y="343"/>
                        <a:pt x="720" y="332"/>
                      </a:cubicBezTo>
                      <a:cubicBezTo>
                        <a:pt x="720" y="321"/>
                        <a:pt x="722" y="313"/>
                        <a:pt x="722" y="313"/>
                      </a:cubicBezTo>
                      <a:cubicBezTo>
                        <a:pt x="714" y="307"/>
                        <a:pt x="714" y="307"/>
                        <a:pt x="714" y="307"/>
                      </a:cubicBezTo>
                      <a:cubicBezTo>
                        <a:pt x="714" y="280"/>
                        <a:pt x="714" y="280"/>
                        <a:pt x="714" y="280"/>
                      </a:cubicBezTo>
                      <a:cubicBezTo>
                        <a:pt x="714" y="280"/>
                        <a:pt x="724" y="277"/>
                        <a:pt x="717" y="270"/>
                      </a:cubicBezTo>
                      <a:cubicBezTo>
                        <a:pt x="710" y="263"/>
                        <a:pt x="701" y="262"/>
                        <a:pt x="701" y="254"/>
                      </a:cubicBezTo>
                      <a:cubicBezTo>
                        <a:pt x="701" y="247"/>
                        <a:pt x="700" y="241"/>
                        <a:pt x="700" y="241"/>
                      </a:cubicBezTo>
                      <a:cubicBezTo>
                        <a:pt x="700" y="241"/>
                        <a:pt x="689" y="234"/>
                        <a:pt x="689" y="225"/>
                      </a:cubicBezTo>
                      <a:cubicBezTo>
                        <a:pt x="689" y="216"/>
                        <a:pt x="697" y="201"/>
                        <a:pt x="689" y="193"/>
                      </a:cubicBezTo>
                      <a:cubicBezTo>
                        <a:pt x="681" y="185"/>
                        <a:pt x="661" y="154"/>
                        <a:pt x="661" y="154"/>
                      </a:cubicBezTo>
                      <a:cubicBezTo>
                        <a:pt x="632" y="153"/>
                        <a:pt x="632" y="153"/>
                        <a:pt x="632" y="153"/>
                      </a:cubicBezTo>
                      <a:cubicBezTo>
                        <a:pt x="622" y="148"/>
                        <a:pt x="622" y="148"/>
                        <a:pt x="622" y="148"/>
                      </a:cubicBezTo>
                      <a:cubicBezTo>
                        <a:pt x="621" y="154"/>
                        <a:pt x="621" y="154"/>
                        <a:pt x="621" y="154"/>
                      </a:cubicBezTo>
                      <a:cubicBezTo>
                        <a:pt x="621" y="154"/>
                        <a:pt x="609" y="153"/>
                        <a:pt x="605" y="157"/>
                      </a:cubicBezTo>
                      <a:cubicBezTo>
                        <a:pt x="601" y="161"/>
                        <a:pt x="588" y="195"/>
                        <a:pt x="569" y="195"/>
                      </a:cubicBezTo>
                      <a:cubicBezTo>
                        <a:pt x="550" y="195"/>
                        <a:pt x="519" y="161"/>
                        <a:pt x="519" y="161"/>
                      </a:cubicBezTo>
                      <a:cubicBezTo>
                        <a:pt x="519" y="161"/>
                        <a:pt x="529" y="119"/>
                        <a:pt x="519" y="109"/>
                      </a:cubicBezTo>
                      <a:cubicBezTo>
                        <a:pt x="508" y="98"/>
                        <a:pt x="497" y="97"/>
                        <a:pt x="497" y="97"/>
                      </a:cubicBezTo>
                      <a:cubicBezTo>
                        <a:pt x="491" y="76"/>
                        <a:pt x="491" y="76"/>
                        <a:pt x="491" y="76"/>
                      </a:cubicBezTo>
                      <a:cubicBezTo>
                        <a:pt x="473" y="68"/>
                        <a:pt x="473" y="68"/>
                        <a:pt x="473" y="68"/>
                      </a:cubicBezTo>
                      <a:cubicBezTo>
                        <a:pt x="473" y="68"/>
                        <a:pt x="478" y="60"/>
                        <a:pt x="463" y="45"/>
                      </a:cubicBezTo>
                      <a:cubicBezTo>
                        <a:pt x="390" y="45"/>
                        <a:pt x="390" y="45"/>
                        <a:pt x="390" y="45"/>
                      </a:cubicBezTo>
                      <a:cubicBezTo>
                        <a:pt x="390" y="45"/>
                        <a:pt x="383" y="49"/>
                        <a:pt x="383" y="55"/>
                      </a:cubicBezTo>
                      <a:cubicBezTo>
                        <a:pt x="383" y="61"/>
                        <a:pt x="385" y="65"/>
                        <a:pt x="382" y="69"/>
                      </a:cubicBezTo>
                      <a:cubicBezTo>
                        <a:pt x="378" y="72"/>
                        <a:pt x="378" y="72"/>
                        <a:pt x="378" y="72"/>
                      </a:cubicBezTo>
                      <a:cubicBezTo>
                        <a:pt x="246" y="74"/>
                        <a:pt x="246" y="74"/>
                        <a:pt x="246" y="74"/>
                      </a:cubicBezTo>
                      <a:cubicBezTo>
                        <a:pt x="106" y="10"/>
                        <a:pt x="106" y="10"/>
                        <a:pt x="106" y="10"/>
                      </a:cubicBezTo>
                      <a:cubicBezTo>
                        <a:pt x="106" y="10"/>
                        <a:pt x="96" y="10"/>
                        <a:pt x="106" y="0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2" y="12"/>
                        <a:pt x="0" y="20"/>
                        <a:pt x="0" y="25"/>
                      </a:cubicBezTo>
                      <a:cubicBezTo>
                        <a:pt x="0" y="36"/>
                        <a:pt x="13" y="54"/>
                        <a:pt x="13" y="54"/>
                      </a:cubicBezTo>
                      <a:cubicBezTo>
                        <a:pt x="2" y="61"/>
                        <a:pt x="2" y="61"/>
                        <a:pt x="2" y="61"/>
                      </a:cubicBezTo>
                      <a:cubicBezTo>
                        <a:pt x="10" y="76"/>
                        <a:pt x="10" y="76"/>
                        <a:pt x="10" y="76"/>
                      </a:cubicBezTo>
                      <a:cubicBezTo>
                        <a:pt x="3" y="86"/>
                        <a:pt x="3" y="86"/>
                        <a:pt x="3" y="86"/>
                      </a:cubicBezTo>
                      <a:cubicBezTo>
                        <a:pt x="16" y="97"/>
                        <a:pt x="16" y="97"/>
                        <a:pt x="16" y="97"/>
                      </a:cubicBezTo>
                      <a:cubicBezTo>
                        <a:pt x="5" y="117"/>
                        <a:pt x="5" y="117"/>
                        <a:pt x="5" y="117"/>
                      </a:cubicBezTo>
                      <a:cubicBezTo>
                        <a:pt x="14" y="121"/>
                        <a:pt x="14" y="121"/>
                        <a:pt x="14" y="121"/>
                      </a:cubicBezTo>
                      <a:cubicBezTo>
                        <a:pt x="14" y="121"/>
                        <a:pt x="11" y="162"/>
                        <a:pt x="20" y="171"/>
                      </a:cubicBezTo>
                      <a:cubicBezTo>
                        <a:pt x="29" y="180"/>
                        <a:pt x="42" y="176"/>
                        <a:pt x="42" y="176"/>
                      </a:cubicBezTo>
                      <a:cubicBezTo>
                        <a:pt x="42" y="176"/>
                        <a:pt x="66" y="219"/>
                        <a:pt x="66" y="227"/>
                      </a:cubicBezTo>
                      <a:cubicBezTo>
                        <a:pt x="66" y="235"/>
                        <a:pt x="47" y="260"/>
                        <a:pt x="47" y="260"/>
                      </a:cubicBezTo>
                      <a:cubicBezTo>
                        <a:pt x="58" y="267"/>
                        <a:pt x="58" y="267"/>
                        <a:pt x="58" y="267"/>
                      </a:cubicBezTo>
                      <a:cubicBezTo>
                        <a:pt x="50" y="276"/>
                        <a:pt x="50" y="276"/>
                        <a:pt x="50" y="276"/>
                      </a:cubicBezTo>
                      <a:cubicBezTo>
                        <a:pt x="41" y="264"/>
                        <a:pt x="41" y="264"/>
                        <a:pt x="41" y="264"/>
                      </a:cubicBezTo>
                      <a:cubicBezTo>
                        <a:pt x="7" y="261"/>
                        <a:pt x="7" y="261"/>
                        <a:pt x="7" y="261"/>
                      </a:cubicBezTo>
                      <a:cubicBezTo>
                        <a:pt x="23" y="279"/>
                        <a:pt x="23" y="279"/>
                        <a:pt x="23" y="279"/>
                      </a:cubicBezTo>
                      <a:cubicBezTo>
                        <a:pt x="29" y="295"/>
                        <a:pt x="29" y="295"/>
                        <a:pt x="29" y="295"/>
                      </a:cubicBezTo>
                      <a:cubicBezTo>
                        <a:pt x="43" y="296"/>
                        <a:pt x="43" y="296"/>
                        <a:pt x="43" y="296"/>
                      </a:cubicBezTo>
                      <a:cubicBezTo>
                        <a:pt x="43" y="296"/>
                        <a:pt x="60" y="319"/>
                        <a:pt x="65" y="317"/>
                      </a:cubicBezTo>
                      <a:cubicBezTo>
                        <a:pt x="70" y="315"/>
                        <a:pt x="85" y="305"/>
                        <a:pt x="85" y="305"/>
                      </a:cubicBezTo>
                      <a:cubicBezTo>
                        <a:pt x="85" y="305"/>
                        <a:pt x="84" y="328"/>
                        <a:pt x="91" y="337"/>
                      </a:cubicBezTo>
                      <a:cubicBezTo>
                        <a:pt x="98" y="346"/>
                        <a:pt x="113" y="358"/>
                        <a:pt x="113" y="368"/>
                      </a:cubicBezTo>
                      <a:cubicBezTo>
                        <a:pt x="113" y="378"/>
                        <a:pt x="96" y="398"/>
                        <a:pt x="102" y="412"/>
                      </a:cubicBezTo>
                      <a:cubicBezTo>
                        <a:pt x="108" y="426"/>
                        <a:pt x="128" y="442"/>
                        <a:pt x="142" y="459"/>
                      </a:cubicBezTo>
                      <a:cubicBezTo>
                        <a:pt x="156" y="476"/>
                        <a:pt x="175" y="497"/>
                        <a:pt x="175" y="497"/>
                      </a:cubicBezTo>
                      <a:cubicBezTo>
                        <a:pt x="175" y="497"/>
                        <a:pt x="162" y="524"/>
                        <a:pt x="178" y="525"/>
                      </a:cubicBezTo>
                      <a:cubicBezTo>
                        <a:pt x="194" y="526"/>
                        <a:pt x="210" y="506"/>
                        <a:pt x="210" y="506"/>
                      </a:cubicBezTo>
                      <a:cubicBezTo>
                        <a:pt x="206" y="493"/>
                        <a:pt x="206" y="493"/>
                        <a:pt x="206" y="493"/>
                      </a:cubicBezTo>
                      <a:cubicBezTo>
                        <a:pt x="206" y="493"/>
                        <a:pt x="198" y="457"/>
                        <a:pt x="190" y="453"/>
                      </a:cubicBezTo>
                      <a:cubicBezTo>
                        <a:pt x="182" y="449"/>
                        <a:pt x="172" y="452"/>
                        <a:pt x="172" y="452"/>
                      </a:cubicBezTo>
                      <a:cubicBezTo>
                        <a:pt x="160" y="435"/>
                        <a:pt x="160" y="435"/>
                        <a:pt x="160" y="435"/>
                      </a:cubicBezTo>
                      <a:cubicBezTo>
                        <a:pt x="160" y="435"/>
                        <a:pt x="164" y="422"/>
                        <a:pt x="162" y="414"/>
                      </a:cubicBezTo>
                      <a:cubicBezTo>
                        <a:pt x="160" y="406"/>
                        <a:pt x="162" y="387"/>
                        <a:pt x="162" y="387"/>
                      </a:cubicBezTo>
                      <a:cubicBezTo>
                        <a:pt x="150" y="365"/>
                        <a:pt x="150" y="365"/>
                        <a:pt x="150" y="365"/>
                      </a:cubicBezTo>
                      <a:cubicBezTo>
                        <a:pt x="150" y="365"/>
                        <a:pt x="160" y="341"/>
                        <a:pt x="156" y="329"/>
                      </a:cubicBezTo>
                      <a:cubicBezTo>
                        <a:pt x="152" y="317"/>
                        <a:pt x="131" y="319"/>
                        <a:pt x="131" y="319"/>
                      </a:cubicBezTo>
                      <a:cubicBezTo>
                        <a:pt x="131" y="288"/>
                        <a:pt x="131" y="288"/>
                        <a:pt x="131" y="288"/>
                      </a:cubicBezTo>
                      <a:cubicBezTo>
                        <a:pt x="114" y="267"/>
                        <a:pt x="114" y="267"/>
                        <a:pt x="114" y="267"/>
                      </a:cubicBezTo>
                      <a:cubicBezTo>
                        <a:pt x="116" y="227"/>
                        <a:pt x="116" y="227"/>
                        <a:pt x="116" y="227"/>
                      </a:cubicBezTo>
                      <a:cubicBezTo>
                        <a:pt x="116" y="227"/>
                        <a:pt x="102" y="207"/>
                        <a:pt x="97" y="201"/>
                      </a:cubicBezTo>
                      <a:cubicBezTo>
                        <a:pt x="92" y="195"/>
                        <a:pt x="89" y="170"/>
                        <a:pt x="89" y="170"/>
                      </a:cubicBezTo>
                      <a:cubicBezTo>
                        <a:pt x="89" y="170"/>
                        <a:pt x="63" y="132"/>
                        <a:pt x="66" y="128"/>
                      </a:cubicBezTo>
                      <a:cubicBezTo>
                        <a:pt x="69" y="124"/>
                        <a:pt x="79" y="107"/>
                        <a:pt x="75" y="95"/>
                      </a:cubicBezTo>
                      <a:cubicBezTo>
                        <a:pt x="71" y="83"/>
                        <a:pt x="85" y="67"/>
                        <a:pt x="85" y="67"/>
                      </a:cubicBezTo>
                      <a:cubicBezTo>
                        <a:pt x="84" y="42"/>
                        <a:pt x="84" y="42"/>
                        <a:pt x="84" y="42"/>
                      </a:cubicBezTo>
                      <a:cubicBezTo>
                        <a:pt x="84" y="42"/>
                        <a:pt x="104" y="62"/>
                        <a:pt x="113" y="62"/>
                      </a:cubicBezTo>
                      <a:cubicBezTo>
                        <a:pt x="122" y="62"/>
                        <a:pt x="134" y="58"/>
                        <a:pt x="134" y="58"/>
                      </a:cubicBezTo>
                      <a:cubicBezTo>
                        <a:pt x="134" y="58"/>
                        <a:pt x="131" y="69"/>
                        <a:pt x="138" y="73"/>
                      </a:cubicBezTo>
                      <a:cubicBezTo>
                        <a:pt x="145" y="77"/>
                        <a:pt x="155" y="77"/>
                        <a:pt x="155" y="77"/>
                      </a:cubicBezTo>
                      <a:cubicBezTo>
                        <a:pt x="155" y="77"/>
                        <a:pt x="152" y="88"/>
                        <a:pt x="152" y="106"/>
                      </a:cubicBezTo>
                      <a:cubicBezTo>
                        <a:pt x="152" y="124"/>
                        <a:pt x="160" y="180"/>
                        <a:pt x="160" y="180"/>
                      </a:cubicBezTo>
                      <a:cubicBezTo>
                        <a:pt x="160" y="180"/>
                        <a:pt x="181" y="255"/>
                        <a:pt x="189" y="257"/>
                      </a:cubicBezTo>
                      <a:cubicBezTo>
                        <a:pt x="197" y="259"/>
                        <a:pt x="217" y="257"/>
                        <a:pt x="217" y="257"/>
                      </a:cubicBezTo>
                      <a:cubicBezTo>
                        <a:pt x="217" y="257"/>
                        <a:pt x="199" y="268"/>
                        <a:pt x="208" y="284"/>
                      </a:cubicBezTo>
                      <a:cubicBezTo>
                        <a:pt x="217" y="300"/>
                        <a:pt x="234" y="302"/>
                        <a:pt x="234" y="302"/>
                      </a:cubicBezTo>
                      <a:cubicBezTo>
                        <a:pt x="236" y="317"/>
                        <a:pt x="236" y="317"/>
                        <a:pt x="236" y="317"/>
                      </a:cubicBezTo>
                      <a:cubicBezTo>
                        <a:pt x="257" y="318"/>
                        <a:pt x="257" y="318"/>
                        <a:pt x="257" y="318"/>
                      </a:cubicBezTo>
                      <a:cubicBezTo>
                        <a:pt x="260" y="346"/>
                        <a:pt x="260" y="346"/>
                        <a:pt x="260" y="346"/>
                      </a:cubicBezTo>
                      <a:cubicBezTo>
                        <a:pt x="260" y="346"/>
                        <a:pt x="228" y="359"/>
                        <a:pt x="238" y="374"/>
                      </a:cubicBezTo>
                      <a:cubicBezTo>
                        <a:pt x="248" y="389"/>
                        <a:pt x="255" y="375"/>
                        <a:pt x="255" y="375"/>
                      </a:cubicBezTo>
                      <a:cubicBezTo>
                        <a:pt x="255" y="375"/>
                        <a:pt x="264" y="395"/>
                        <a:pt x="270" y="397"/>
                      </a:cubicBezTo>
                      <a:cubicBezTo>
                        <a:pt x="276" y="399"/>
                        <a:pt x="294" y="401"/>
                        <a:pt x="294" y="404"/>
                      </a:cubicBezTo>
                      <a:cubicBezTo>
                        <a:pt x="294" y="407"/>
                        <a:pt x="294" y="418"/>
                        <a:pt x="294" y="418"/>
                      </a:cubicBezTo>
                      <a:cubicBezTo>
                        <a:pt x="294" y="418"/>
                        <a:pt x="279" y="437"/>
                        <a:pt x="290" y="438"/>
                      </a:cubicBezTo>
                      <a:cubicBezTo>
                        <a:pt x="301" y="439"/>
                        <a:pt x="313" y="437"/>
                        <a:pt x="313" y="437"/>
                      </a:cubicBezTo>
                      <a:cubicBezTo>
                        <a:pt x="313" y="456"/>
                        <a:pt x="313" y="456"/>
                        <a:pt x="313" y="456"/>
                      </a:cubicBezTo>
                      <a:cubicBezTo>
                        <a:pt x="313" y="456"/>
                        <a:pt x="335" y="481"/>
                        <a:pt x="345" y="495"/>
                      </a:cubicBezTo>
                      <a:cubicBezTo>
                        <a:pt x="355" y="509"/>
                        <a:pt x="373" y="538"/>
                        <a:pt x="373" y="547"/>
                      </a:cubicBezTo>
                      <a:cubicBezTo>
                        <a:pt x="373" y="556"/>
                        <a:pt x="370" y="562"/>
                        <a:pt x="371" y="575"/>
                      </a:cubicBezTo>
                      <a:cubicBezTo>
                        <a:pt x="372" y="588"/>
                        <a:pt x="386" y="595"/>
                        <a:pt x="384" y="606"/>
                      </a:cubicBezTo>
                      <a:cubicBezTo>
                        <a:pt x="382" y="617"/>
                        <a:pt x="364" y="625"/>
                        <a:pt x="364" y="632"/>
                      </a:cubicBezTo>
                      <a:cubicBezTo>
                        <a:pt x="364" y="639"/>
                        <a:pt x="375" y="645"/>
                        <a:pt x="375" y="645"/>
                      </a:cubicBezTo>
                      <a:cubicBezTo>
                        <a:pt x="375" y="645"/>
                        <a:pt x="351" y="642"/>
                        <a:pt x="351" y="659"/>
                      </a:cubicBezTo>
                      <a:cubicBezTo>
                        <a:pt x="351" y="676"/>
                        <a:pt x="350" y="717"/>
                        <a:pt x="373" y="719"/>
                      </a:cubicBezTo>
                      <a:cubicBezTo>
                        <a:pt x="396" y="721"/>
                        <a:pt x="416" y="727"/>
                        <a:pt x="423" y="740"/>
                      </a:cubicBezTo>
                      <a:cubicBezTo>
                        <a:pt x="430" y="753"/>
                        <a:pt x="437" y="779"/>
                        <a:pt x="453" y="781"/>
                      </a:cubicBezTo>
                      <a:cubicBezTo>
                        <a:pt x="469" y="783"/>
                        <a:pt x="496" y="777"/>
                        <a:pt x="507" y="788"/>
                      </a:cubicBezTo>
                      <a:cubicBezTo>
                        <a:pt x="518" y="799"/>
                        <a:pt x="525" y="825"/>
                        <a:pt x="556" y="838"/>
                      </a:cubicBezTo>
                      <a:cubicBezTo>
                        <a:pt x="587" y="851"/>
                        <a:pt x="632" y="851"/>
                        <a:pt x="639" y="861"/>
                      </a:cubicBezTo>
                      <a:cubicBezTo>
                        <a:pt x="646" y="871"/>
                        <a:pt x="649" y="881"/>
                        <a:pt x="659" y="881"/>
                      </a:cubicBezTo>
                      <a:cubicBezTo>
                        <a:pt x="669" y="881"/>
                        <a:pt x="677" y="899"/>
                        <a:pt x="677" y="899"/>
                      </a:cubicBezTo>
                      <a:cubicBezTo>
                        <a:pt x="677" y="899"/>
                        <a:pt x="720" y="894"/>
                        <a:pt x="722" y="897"/>
                      </a:cubicBezTo>
                      <a:cubicBezTo>
                        <a:pt x="724" y="900"/>
                        <a:pt x="731" y="921"/>
                        <a:pt x="745" y="917"/>
                      </a:cubicBezTo>
                      <a:cubicBezTo>
                        <a:pt x="759" y="913"/>
                        <a:pt x="829" y="875"/>
                        <a:pt x="840" y="878"/>
                      </a:cubicBezTo>
                      <a:cubicBezTo>
                        <a:pt x="851" y="881"/>
                        <a:pt x="921" y="938"/>
                        <a:pt x="924" y="946"/>
                      </a:cubicBezTo>
                      <a:cubicBezTo>
                        <a:pt x="926" y="951"/>
                        <a:pt x="927" y="964"/>
                        <a:pt x="933" y="974"/>
                      </a:cubicBezTo>
                      <a:cubicBezTo>
                        <a:pt x="933" y="974"/>
                        <a:pt x="947" y="976"/>
                        <a:pt x="947" y="960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8" name="Jamaica">
                  <a:extLst>
                    <a:ext uri="{FF2B5EF4-FFF2-40B4-BE49-F238E27FC236}">
                      <a16:creationId xmlns:a16="http://schemas.microsoft.com/office/drawing/2014/main" id="{B7545958-CD78-CAD4-4FA7-D72CAD236F1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61614" y="3526597"/>
                  <a:ext cx="60335" cy="23802"/>
                </a:xfrm>
                <a:custGeom>
                  <a:avLst/>
                  <a:gdLst>
                    <a:gd name="T0" fmla="*/ 72 w 108"/>
                    <a:gd name="T1" fmla="*/ 42 h 42"/>
                    <a:gd name="T2" fmla="*/ 79 w 108"/>
                    <a:gd name="T3" fmla="*/ 28 h 42"/>
                    <a:gd name="T4" fmla="*/ 108 w 108"/>
                    <a:gd name="T5" fmla="*/ 34 h 42"/>
                    <a:gd name="T6" fmla="*/ 85 w 108"/>
                    <a:gd name="T7" fmla="*/ 9 h 42"/>
                    <a:gd name="T8" fmla="*/ 48 w 108"/>
                    <a:gd name="T9" fmla="*/ 6 h 42"/>
                    <a:gd name="T10" fmla="*/ 19 w 108"/>
                    <a:gd name="T11" fmla="*/ 4 h 42"/>
                    <a:gd name="T12" fmla="*/ 0 w 108"/>
                    <a:gd name="T13" fmla="*/ 9 h 42"/>
                    <a:gd name="T14" fmla="*/ 17 w 108"/>
                    <a:gd name="T15" fmla="*/ 26 h 42"/>
                    <a:gd name="T16" fmla="*/ 43 w 108"/>
                    <a:gd name="T17" fmla="*/ 32 h 42"/>
                    <a:gd name="T18" fmla="*/ 54 w 108"/>
                    <a:gd name="T19" fmla="*/ 38 h 42"/>
                    <a:gd name="T20" fmla="*/ 72 w 108"/>
                    <a:gd name="T21" fmla="*/ 4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8" h="42">
                      <a:moveTo>
                        <a:pt x="72" y="42"/>
                      </a:moveTo>
                      <a:cubicBezTo>
                        <a:pt x="79" y="28"/>
                        <a:pt x="79" y="28"/>
                        <a:pt x="79" y="28"/>
                      </a:cubicBezTo>
                      <a:cubicBezTo>
                        <a:pt x="108" y="34"/>
                        <a:pt x="108" y="34"/>
                        <a:pt x="108" y="34"/>
                      </a:cubicBezTo>
                      <a:cubicBezTo>
                        <a:pt x="108" y="34"/>
                        <a:pt x="95" y="9"/>
                        <a:pt x="85" y="9"/>
                      </a:cubicBezTo>
                      <a:cubicBezTo>
                        <a:pt x="75" y="9"/>
                        <a:pt x="58" y="7"/>
                        <a:pt x="48" y="6"/>
                      </a:cubicBezTo>
                      <a:cubicBezTo>
                        <a:pt x="37" y="4"/>
                        <a:pt x="27" y="0"/>
                        <a:pt x="19" y="4"/>
                      </a:cubicBezTo>
                      <a:cubicBezTo>
                        <a:pt x="11" y="7"/>
                        <a:pt x="0" y="9"/>
                        <a:pt x="0" y="9"/>
                      </a:cubicBezTo>
                      <a:cubicBezTo>
                        <a:pt x="0" y="9"/>
                        <a:pt x="8" y="20"/>
                        <a:pt x="17" y="26"/>
                      </a:cubicBezTo>
                      <a:cubicBezTo>
                        <a:pt x="25" y="32"/>
                        <a:pt x="43" y="32"/>
                        <a:pt x="43" y="32"/>
                      </a:cubicBezTo>
                      <a:cubicBezTo>
                        <a:pt x="54" y="38"/>
                        <a:pt x="54" y="38"/>
                        <a:pt x="54" y="38"/>
                      </a:cubicBezTo>
                      <a:lnTo>
                        <a:pt x="72" y="42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9" name="Honduras">
                  <a:extLst>
                    <a:ext uri="{FF2B5EF4-FFF2-40B4-BE49-F238E27FC236}">
                      <a16:creationId xmlns:a16="http://schemas.microsoft.com/office/drawing/2014/main" id="{12C27307-9201-4894-2260-4D1A8F40B54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64701" y="3599588"/>
                  <a:ext cx="165129" cy="93620"/>
                </a:xfrm>
                <a:custGeom>
                  <a:avLst/>
                  <a:gdLst>
                    <a:gd name="T0" fmla="*/ 103 w 296"/>
                    <a:gd name="T1" fmla="*/ 162 h 166"/>
                    <a:gd name="T2" fmla="*/ 105 w 296"/>
                    <a:gd name="T3" fmla="*/ 151 h 166"/>
                    <a:gd name="T4" fmla="*/ 114 w 296"/>
                    <a:gd name="T5" fmla="*/ 149 h 166"/>
                    <a:gd name="T6" fmla="*/ 115 w 296"/>
                    <a:gd name="T7" fmla="*/ 122 h 166"/>
                    <a:gd name="T8" fmla="*/ 135 w 296"/>
                    <a:gd name="T9" fmla="*/ 123 h 166"/>
                    <a:gd name="T10" fmla="*/ 148 w 296"/>
                    <a:gd name="T11" fmla="*/ 109 h 166"/>
                    <a:gd name="T12" fmla="*/ 162 w 296"/>
                    <a:gd name="T13" fmla="*/ 118 h 166"/>
                    <a:gd name="T14" fmla="*/ 189 w 296"/>
                    <a:gd name="T15" fmla="*/ 95 h 166"/>
                    <a:gd name="T16" fmla="*/ 190 w 296"/>
                    <a:gd name="T17" fmla="*/ 85 h 166"/>
                    <a:gd name="T18" fmla="*/ 203 w 296"/>
                    <a:gd name="T19" fmla="*/ 84 h 166"/>
                    <a:gd name="T20" fmla="*/ 213 w 296"/>
                    <a:gd name="T21" fmla="*/ 65 h 166"/>
                    <a:gd name="T22" fmla="*/ 238 w 296"/>
                    <a:gd name="T23" fmla="*/ 76 h 166"/>
                    <a:gd name="T24" fmla="*/ 251 w 296"/>
                    <a:gd name="T25" fmla="*/ 66 h 166"/>
                    <a:gd name="T26" fmla="*/ 262 w 296"/>
                    <a:gd name="T27" fmla="*/ 66 h 166"/>
                    <a:gd name="T28" fmla="*/ 281 w 296"/>
                    <a:gd name="T29" fmla="*/ 65 h 166"/>
                    <a:gd name="T30" fmla="*/ 294 w 296"/>
                    <a:gd name="T31" fmla="*/ 55 h 166"/>
                    <a:gd name="T32" fmla="*/ 283 w 296"/>
                    <a:gd name="T33" fmla="*/ 41 h 166"/>
                    <a:gd name="T34" fmla="*/ 268 w 296"/>
                    <a:gd name="T35" fmla="*/ 35 h 166"/>
                    <a:gd name="T36" fmla="*/ 248 w 296"/>
                    <a:gd name="T37" fmla="*/ 18 h 166"/>
                    <a:gd name="T38" fmla="*/ 230 w 296"/>
                    <a:gd name="T39" fmla="*/ 13 h 166"/>
                    <a:gd name="T40" fmla="*/ 214 w 296"/>
                    <a:gd name="T41" fmla="*/ 1 h 166"/>
                    <a:gd name="T42" fmla="*/ 192 w 296"/>
                    <a:gd name="T43" fmla="*/ 9 h 166"/>
                    <a:gd name="T44" fmla="*/ 171 w 296"/>
                    <a:gd name="T45" fmla="*/ 0 h 166"/>
                    <a:gd name="T46" fmla="*/ 148 w 296"/>
                    <a:gd name="T47" fmla="*/ 18 h 166"/>
                    <a:gd name="T48" fmla="*/ 125 w 296"/>
                    <a:gd name="T49" fmla="*/ 17 h 166"/>
                    <a:gd name="T50" fmla="*/ 109 w 296"/>
                    <a:gd name="T51" fmla="*/ 11 h 166"/>
                    <a:gd name="T52" fmla="*/ 89 w 296"/>
                    <a:gd name="T53" fmla="*/ 16 h 166"/>
                    <a:gd name="T54" fmla="*/ 81 w 296"/>
                    <a:gd name="T55" fmla="*/ 2 h 166"/>
                    <a:gd name="T56" fmla="*/ 59 w 296"/>
                    <a:gd name="T57" fmla="*/ 15 h 166"/>
                    <a:gd name="T58" fmla="*/ 39 w 296"/>
                    <a:gd name="T59" fmla="*/ 34 h 166"/>
                    <a:gd name="T60" fmla="*/ 11 w 296"/>
                    <a:gd name="T61" fmla="*/ 58 h 166"/>
                    <a:gd name="T62" fmla="*/ 9 w 296"/>
                    <a:gd name="T63" fmla="*/ 79 h 166"/>
                    <a:gd name="T64" fmla="*/ 0 w 296"/>
                    <a:gd name="T65" fmla="*/ 86 h 166"/>
                    <a:gd name="T66" fmla="*/ 13 w 296"/>
                    <a:gd name="T67" fmla="*/ 102 h 166"/>
                    <a:gd name="T68" fmla="*/ 28 w 296"/>
                    <a:gd name="T69" fmla="*/ 102 h 166"/>
                    <a:gd name="T70" fmla="*/ 36 w 296"/>
                    <a:gd name="T71" fmla="*/ 118 h 166"/>
                    <a:gd name="T72" fmla="*/ 52 w 296"/>
                    <a:gd name="T73" fmla="*/ 112 h 166"/>
                    <a:gd name="T74" fmla="*/ 67 w 296"/>
                    <a:gd name="T75" fmla="*/ 114 h 166"/>
                    <a:gd name="T76" fmla="*/ 68 w 296"/>
                    <a:gd name="T77" fmla="*/ 143 h 166"/>
                    <a:gd name="T78" fmla="*/ 85 w 296"/>
                    <a:gd name="T79" fmla="*/ 148 h 166"/>
                    <a:gd name="T80" fmla="*/ 89 w 296"/>
                    <a:gd name="T81" fmla="*/ 166 h 166"/>
                    <a:gd name="T82" fmla="*/ 103 w 296"/>
                    <a:gd name="T83" fmla="*/ 162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96" h="166">
                      <a:moveTo>
                        <a:pt x="103" y="162"/>
                      </a:moveTo>
                      <a:cubicBezTo>
                        <a:pt x="109" y="160"/>
                        <a:pt x="105" y="151"/>
                        <a:pt x="105" y="151"/>
                      </a:cubicBezTo>
                      <a:cubicBezTo>
                        <a:pt x="114" y="149"/>
                        <a:pt x="114" y="149"/>
                        <a:pt x="114" y="149"/>
                      </a:cubicBezTo>
                      <a:cubicBezTo>
                        <a:pt x="114" y="149"/>
                        <a:pt x="100" y="122"/>
                        <a:pt x="115" y="122"/>
                      </a:cubicBezTo>
                      <a:cubicBezTo>
                        <a:pt x="130" y="122"/>
                        <a:pt x="135" y="123"/>
                        <a:pt x="135" y="123"/>
                      </a:cubicBezTo>
                      <a:cubicBezTo>
                        <a:pt x="135" y="123"/>
                        <a:pt x="140" y="108"/>
                        <a:pt x="148" y="109"/>
                      </a:cubicBezTo>
                      <a:cubicBezTo>
                        <a:pt x="156" y="110"/>
                        <a:pt x="147" y="118"/>
                        <a:pt x="162" y="118"/>
                      </a:cubicBezTo>
                      <a:cubicBezTo>
                        <a:pt x="177" y="118"/>
                        <a:pt x="189" y="95"/>
                        <a:pt x="189" y="95"/>
                      </a:cubicBezTo>
                      <a:cubicBezTo>
                        <a:pt x="190" y="85"/>
                        <a:pt x="190" y="85"/>
                        <a:pt x="190" y="85"/>
                      </a:cubicBezTo>
                      <a:cubicBezTo>
                        <a:pt x="203" y="84"/>
                        <a:pt x="203" y="84"/>
                        <a:pt x="203" y="84"/>
                      </a:cubicBezTo>
                      <a:cubicBezTo>
                        <a:pt x="203" y="84"/>
                        <a:pt x="204" y="64"/>
                        <a:pt x="213" y="65"/>
                      </a:cubicBezTo>
                      <a:cubicBezTo>
                        <a:pt x="222" y="66"/>
                        <a:pt x="228" y="77"/>
                        <a:pt x="238" y="76"/>
                      </a:cubicBezTo>
                      <a:cubicBezTo>
                        <a:pt x="248" y="75"/>
                        <a:pt x="247" y="66"/>
                        <a:pt x="251" y="66"/>
                      </a:cubicBezTo>
                      <a:cubicBezTo>
                        <a:pt x="255" y="66"/>
                        <a:pt x="262" y="66"/>
                        <a:pt x="262" y="66"/>
                      </a:cubicBezTo>
                      <a:cubicBezTo>
                        <a:pt x="281" y="65"/>
                        <a:pt x="281" y="65"/>
                        <a:pt x="281" y="65"/>
                      </a:cubicBezTo>
                      <a:cubicBezTo>
                        <a:pt x="282" y="61"/>
                        <a:pt x="296" y="62"/>
                        <a:pt x="294" y="55"/>
                      </a:cubicBezTo>
                      <a:cubicBezTo>
                        <a:pt x="292" y="48"/>
                        <a:pt x="283" y="41"/>
                        <a:pt x="283" y="41"/>
                      </a:cubicBezTo>
                      <a:cubicBezTo>
                        <a:pt x="268" y="35"/>
                        <a:pt x="268" y="35"/>
                        <a:pt x="268" y="35"/>
                      </a:cubicBezTo>
                      <a:cubicBezTo>
                        <a:pt x="268" y="35"/>
                        <a:pt x="257" y="27"/>
                        <a:pt x="248" y="18"/>
                      </a:cubicBezTo>
                      <a:cubicBezTo>
                        <a:pt x="239" y="9"/>
                        <a:pt x="230" y="13"/>
                        <a:pt x="230" y="13"/>
                      </a:cubicBezTo>
                      <a:cubicBezTo>
                        <a:pt x="230" y="13"/>
                        <a:pt x="226" y="1"/>
                        <a:pt x="214" y="1"/>
                      </a:cubicBezTo>
                      <a:cubicBezTo>
                        <a:pt x="202" y="1"/>
                        <a:pt x="192" y="9"/>
                        <a:pt x="192" y="9"/>
                      </a:cubicBezTo>
                      <a:cubicBezTo>
                        <a:pt x="192" y="9"/>
                        <a:pt x="178" y="0"/>
                        <a:pt x="171" y="0"/>
                      </a:cubicBezTo>
                      <a:cubicBezTo>
                        <a:pt x="164" y="0"/>
                        <a:pt x="148" y="18"/>
                        <a:pt x="148" y="18"/>
                      </a:cubicBezTo>
                      <a:cubicBezTo>
                        <a:pt x="125" y="17"/>
                        <a:pt x="125" y="17"/>
                        <a:pt x="125" y="17"/>
                      </a:cubicBezTo>
                      <a:cubicBezTo>
                        <a:pt x="125" y="17"/>
                        <a:pt x="112" y="11"/>
                        <a:pt x="109" y="11"/>
                      </a:cubicBezTo>
                      <a:cubicBezTo>
                        <a:pt x="106" y="11"/>
                        <a:pt x="89" y="16"/>
                        <a:pt x="89" y="16"/>
                      </a:cubicBezTo>
                      <a:cubicBezTo>
                        <a:pt x="89" y="16"/>
                        <a:pt x="84" y="2"/>
                        <a:pt x="81" y="2"/>
                      </a:cubicBezTo>
                      <a:cubicBezTo>
                        <a:pt x="78" y="2"/>
                        <a:pt x="59" y="15"/>
                        <a:pt x="59" y="15"/>
                      </a:cubicBezTo>
                      <a:cubicBezTo>
                        <a:pt x="59" y="15"/>
                        <a:pt x="54" y="26"/>
                        <a:pt x="39" y="34"/>
                      </a:cubicBezTo>
                      <a:cubicBezTo>
                        <a:pt x="24" y="42"/>
                        <a:pt x="11" y="58"/>
                        <a:pt x="11" y="58"/>
                      </a:cubicBezTo>
                      <a:cubicBezTo>
                        <a:pt x="11" y="58"/>
                        <a:pt x="12" y="70"/>
                        <a:pt x="9" y="79"/>
                      </a:cubicBezTo>
                      <a:cubicBezTo>
                        <a:pt x="8" y="82"/>
                        <a:pt x="4" y="85"/>
                        <a:pt x="0" y="86"/>
                      </a:cubicBezTo>
                      <a:cubicBezTo>
                        <a:pt x="2" y="91"/>
                        <a:pt x="6" y="102"/>
                        <a:pt x="13" y="102"/>
                      </a:cubicBezTo>
                      <a:cubicBezTo>
                        <a:pt x="22" y="102"/>
                        <a:pt x="28" y="102"/>
                        <a:pt x="28" y="102"/>
                      </a:cubicBezTo>
                      <a:cubicBezTo>
                        <a:pt x="28" y="102"/>
                        <a:pt x="27" y="120"/>
                        <a:pt x="36" y="118"/>
                      </a:cubicBezTo>
                      <a:cubicBezTo>
                        <a:pt x="45" y="116"/>
                        <a:pt x="47" y="111"/>
                        <a:pt x="52" y="112"/>
                      </a:cubicBezTo>
                      <a:cubicBezTo>
                        <a:pt x="57" y="113"/>
                        <a:pt x="67" y="114"/>
                        <a:pt x="67" y="114"/>
                      </a:cubicBezTo>
                      <a:cubicBezTo>
                        <a:pt x="68" y="143"/>
                        <a:pt x="68" y="143"/>
                        <a:pt x="68" y="143"/>
                      </a:cubicBezTo>
                      <a:cubicBezTo>
                        <a:pt x="85" y="148"/>
                        <a:pt x="85" y="148"/>
                        <a:pt x="85" y="148"/>
                      </a:cubicBezTo>
                      <a:cubicBezTo>
                        <a:pt x="92" y="158"/>
                        <a:pt x="89" y="166"/>
                        <a:pt x="89" y="166"/>
                      </a:cubicBezTo>
                      <a:cubicBezTo>
                        <a:pt x="89" y="166"/>
                        <a:pt x="97" y="164"/>
                        <a:pt x="103" y="16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0" name="Haiti">
                  <a:extLst>
                    <a:ext uri="{FF2B5EF4-FFF2-40B4-BE49-F238E27FC236}">
                      <a16:creationId xmlns:a16="http://schemas.microsoft.com/office/drawing/2014/main" id="{7FE0AD4A-E693-D4B2-A97B-64D24F72C05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71170" y="3483756"/>
                  <a:ext cx="74625" cy="60297"/>
                </a:xfrm>
                <a:custGeom>
                  <a:avLst/>
                  <a:gdLst>
                    <a:gd name="T0" fmla="*/ 114 w 132"/>
                    <a:gd name="T1" fmla="*/ 74 h 106"/>
                    <a:gd name="T2" fmla="*/ 125 w 132"/>
                    <a:gd name="T3" fmla="*/ 49 h 106"/>
                    <a:gd name="T4" fmla="*/ 132 w 132"/>
                    <a:gd name="T5" fmla="*/ 27 h 106"/>
                    <a:gd name="T6" fmla="*/ 126 w 132"/>
                    <a:gd name="T7" fmla="*/ 5 h 106"/>
                    <a:gd name="T8" fmla="*/ 120 w 132"/>
                    <a:gd name="T9" fmla="*/ 12 h 106"/>
                    <a:gd name="T10" fmla="*/ 70 w 132"/>
                    <a:gd name="T11" fmla="*/ 0 h 106"/>
                    <a:gd name="T12" fmla="*/ 43 w 132"/>
                    <a:gd name="T13" fmla="*/ 10 h 106"/>
                    <a:gd name="T14" fmla="*/ 68 w 132"/>
                    <a:gd name="T15" fmla="*/ 17 h 106"/>
                    <a:gd name="T16" fmla="*/ 87 w 132"/>
                    <a:gd name="T17" fmla="*/ 31 h 106"/>
                    <a:gd name="T18" fmla="*/ 74 w 132"/>
                    <a:gd name="T19" fmla="*/ 49 h 106"/>
                    <a:gd name="T20" fmla="*/ 72 w 132"/>
                    <a:gd name="T21" fmla="*/ 70 h 106"/>
                    <a:gd name="T22" fmla="*/ 31 w 132"/>
                    <a:gd name="T23" fmla="*/ 64 h 106"/>
                    <a:gd name="T24" fmla="*/ 0 w 132"/>
                    <a:gd name="T25" fmla="*/ 72 h 106"/>
                    <a:gd name="T26" fmla="*/ 26 w 132"/>
                    <a:gd name="T27" fmla="*/ 102 h 106"/>
                    <a:gd name="T28" fmla="*/ 43 w 132"/>
                    <a:gd name="T29" fmla="*/ 87 h 106"/>
                    <a:gd name="T30" fmla="*/ 74 w 132"/>
                    <a:gd name="T31" fmla="*/ 89 h 106"/>
                    <a:gd name="T32" fmla="*/ 111 w 132"/>
                    <a:gd name="T33" fmla="*/ 85 h 106"/>
                    <a:gd name="T34" fmla="*/ 121 w 132"/>
                    <a:gd name="T35" fmla="*/ 98 h 106"/>
                    <a:gd name="T36" fmla="*/ 114 w 132"/>
                    <a:gd name="T37" fmla="*/ 7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32" h="106">
                      <a:moveTo>
                        <a:pt x="114" y="74"/>
                      </a:moveTo>
                      <a:cubicBezTo>
                        <a:pt x="114" y="74"/>
                        <a:pt x="122" y="58"/>
                        <a:pt x="125" y="49"/>
                      </a:cubicBezTo>
                      <a:cubicBezTo>
                        <a:pt x="127" y="40"/>
                        <a:pt x="131" y="37"/>
                        <a:pt x="132" y="27"/>
                      </a:cubicBezTo>
                      <a:cubicBezTo>
                        <a:pt x="132" y="21"/>
                        <a:pt x="128" y="11"/>
                        <a:pt x="126" y="5"/>
                      </a:cubicBezTo>
                      <a:cubicBezTo>
                        <a:pt x="121" y="8"/>
                        <a:pt x="120" y="12"/>
                        <a:pt x="120" y="12"/>
                      </a:cubicBezTo>
                      <a:cubicBezTo>
                        <a:pt x="120" y="12"/>
                        <a:pt x="85" y="0"/>
                        <a:pt x="70" y="0"/>
                      </a:cubicBezTo>
                      <a:cubicBezTo>
                        <a:pt x="56" y="0"/>
                        <a:pt x="49" y="2"/>
                        <a:pt x="43" y="10"/>
                      </a:cubicBezTo>
                      <a:cubicBezTo>
                        <a:pt x="37" y="17"/>
                        <a:pt x="62" y="17"/>
                        <a:pt x="68" y="17"/>
                      </a:cubicBezTo>
                      <a:cubicBezTo>
                        <a:pt x="74" y="17"/>
                        <a:pt x="87" y="31"/>
                        <a:pt x="87" y="31"/>
                      </a:cubicBezTo>
                      <a:cubicBezTo>
                        <a:pt x="87" y="31"/>
                        <a:pt x="72" y="34"/>
                        <a:pt x="74" y="49"/>
                      </a:cubicBezTo>
                      <a:cubicBezTo>
                        <a:pt x="76" y="65"/>
                        <a:pt x="84" y="70"/>
                        <a:pt x="72" y="70"/>
                      </a:cubicBezTo>
                      <a:cubicBezTo>
                        <a:pt x="59" y="70"/>
                        <a:pt x="39" y="63"/>
                        <a:pt x="31" y="64"/>
                      </a:cubicBezTo>
                      <a:cubicBezTo>
                        <a:pt x="22" y="66"/>
                        <a:pt x="6" y="62"/>
                        <a:pt x="0" y="72"/>
                      </a:cubicBezTo>
                      <a:cubicBezTo>
                        <a:pt x="0" y="72"/>
                        <a:pt x="18" y="98"/>
                        <a:pt x="26" y="102"/>
                      </a:cubicBezTo>
                      <a:cubicBezTo>
                        <a:pt x="35" y="106"/>
                        <a:pt x="43" y="87"/>
                        <a:pt x="43" y="87"/>
                      </a:cubicBezTo>
                      <a:cubicBezTo>
                        <a:pt x="43" y="87"/>
                        <a:pt x="57" y="89"/>
                        <a:pt x="74" y="89"/>
                      </a:cubicBezTo>
                      <a:cubicBezTo>
                        <a:pt x="90" y="89"/>
                        <a:pt x="111" y="85"/>
                        <a:pt x="111" y="85"/>
                      </a:cubicBezTo>
                      <a:cubicBezTo>
                        <a:pt x="121" y="98"/>
                        <a:pt x="121" y="98"/>
                        <a:pt x="121" y="98"/>
                      </a:cubicBezTo>
                      <a:lnTo>
                        <a:pt x="114" y="74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1" name="Guatemala">
                  <a:extLst>
                    <a:ext uri="{FF2B5EF4-FFF2-40B4-BE49-F238E27FC236}">
                      <a16:creationId xmlns:a16="http://schemas.microsoft.com/office/drawing/2014/main" id="{6DFD9228-DC7E-04D5-CAE6-97914E56AFA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86900" y="3545639"/>
                  <a:ext cx="111144" cy="123768"/>
                </a:xfrm>
                <a:custGeom>
                  <a:avLst/>
                  <a:gdLst>
                    <a:gd name="T0" fmla="*/ 190 w 199"/>
                    <a:gd name="T1" fmla="*/ 103 h 222"/>
                    <a:gd name="T2" fmla="*/ 179 w 199"/>
                    <a:gd name="T3" fmla="*/ 110 h 222"/>
                    <a:gd name="T4" fmla="*/ 170 w 199"/>
                    <a:gd name="T5" fmla="*/ 105 h 222"/>
                    <a:gd name="T6" fmla="*/ 152 w 199"/>
                    <a:gd name="T7" fmla="*/ 105 h 222"/>
                    <a:gd name="T8" fmla="*/ 168 w 199"/>
                    <a:gd name="T9" fmla="*/ 1 h 222"/>
                    <a:gd name="T10" fmla="*/ 81 w 199"/>
                    <a:gd name="T11" fmla="*/ 0 h 222"/>
                    <a:gd name="T12" fmla="*/ 82 w 199"/>
                    <a:gd name="T13" fmla="*/ 30 h 222"/>
                    <a:gd name="T14" fmla="*/ 54 w 199"/>
                    <a:gd name="T15" fmla="*/ 34 h 222"/>
                    <a:gd name="T16" fmla="*/ 64 w 199"/>
                    <a:gd name="T17" fmla="*/ 38 h 222"/>
                    <a:gd name="T18" fmla="*/ 75 w 199"/>
                    <a:gd name="T19" fmla="*/ 56 h 222"/>
                    <a:gd name="T20" fmla="*/ 87 w 199"/>
                    <a:gd name="T21" fmla="*/ 57 h 222"/>
                    <a:gd name="T22" fmla="*/ 91 w 199"/>
                    <a:gd name="T23" fmla="*/ 73 h 222"/>
                    <a:gd name="T24" fmla="*/ 103 w 199"/>
                    <a:gd name="T25" fmla="*/ 79 h 222"/>
                    <a:gd name="T26" fmla="*/ 94 w 199"/>
                    <a:gd name="T27" fmla="*/ 86 h 222"/>
                    <a:gd name="T28" fmla="*/ 94 w 199"/>
                    <a:gd name="T29" fmla="*/ 97 h 222"/>
                    <a:gd name="T30" fmla="*/ 35 w 199"/>
                    <a:gd name="T31" fmla="*/ 96 h 222"/>
                    <a:gd name="T32" fmla="*/ 14 w 199"/>
                    <a:gd name="T33" fmla="*/ 127 h 222"/>
                    <a:gd name="T34" fmla="*/ 14 w 199"/>
                    <a:gd name="T35" fmla="*/ 165 h 222"/>
                    <a:gd name="T36" fmla="*/ 0 w 199"/>
                    <a:gd name="T37" fmla="*/ 179 h 222"/>
                    <a:gd name="T38" fmla="*/ 14 w 199"/>
                    <a:gd name="T39" fmla="*/ 192 h 222"/>
                    <a:gd name="T40" fmla="*/ 47 w 199"/>
                    <a:gd name="T41" fmla="*/ 213 h 222"/>
                    <a:gd name="T42" fmla="*/ 80 w 199"/>
                    <a:gd name="T43" fmla="*/ 213 h 222"/>
                    <a:gd name="T44" fmla="*/ 92 w 199"/>
                    <a:gd name="T45" fmla="*/ 222 h 222"/>
                    <a:gd name="T46" fmla="*/ 111 w 199"/>
                    <a:gd name="T47" fmla="*/ 207 h 222"/>
                    <a:gd name="T48" fmla="*/ 124 w 199"/>
                    <a:gd name="T49" fmla="*/ 195 h 222"/>
                    <a:gd name="T50" fmla="*/ 125 w 199"/>
                    <a:gd name="T51" fmla="*/ 187 h 222"/>
                    <a:gd name="T52" fmla="*/ 149 w 199"/>
                    <a:gd name="T53" fmla="*/ 176 h 222"/>
                    <a:gd name="T54" fmla="*/ 151 w 199"/>
                    <a:gd name="T55" fmla="*/ 155 h 222"/>
                    <a:gd name="T56" fmla="*/ 179 w 199"/>
                    <a:gd name="T57" fmla="*/ 131 h 222"/>
                    <a:gd name="T58" fmla="*/ 199 w 199"/>
                    <a:gd name="T59" fmla="*/ 112 h 222"/>
                    <a:gd name="T60" fmla="*/ 190 w 199"/>
                    <a:gd name="T61" fmla="*/ 103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99" h="222">
                      <a:moveTo>
                        <a:pt x="190" y="103"/>
                      </a:moveTo>
                      <a:cubicBezTo>
                        <a:pt x="179" y="110"/>
                        <a:pt x="179" y="110"/>
                        <a:pt x="179" y="110"/>
                      </a:cubicBezTo>
                      <a:cubicBezTo>
                        <a:pt x="170" y="105"/>
                        <a:pt x="170" y="105"/>
                        <a:pt x="170" y="105"/>
                      </a:cubicBezTo>
                      <a:cubicBezTo>
                        <a:pt x="152" y="105"/>
                        <a:pt x="152" y="105"/>
                        <a:pt x="152" y="105"/>
                      </a:cubicBezTo>
                      <a:cubicBezTo>
                        <a:pt x="168" y="1"/>
                        <a:pt x="168" y="1"/>
                        <a:pt x="168" y="1"/>
                      </a:cubicBezTo>
                      <a:cubicBezTo>
                        <a:pt x="81" y="0"/>
                        <a:pt x="81" y="0"/>
                        <a:pt x="81" y="0"/>
                      </a:cubicBezTo>
                      <a:cubicBezTo>
                        <a:pt x="81" y="0"/>
                        <a:pt x="84" y="24"/>
                        <a:pt x="82" y="30"/>
                      </a:cubicBezTo>
                      <a:cubicBezTo>
                        <a:pt x="80" y="36"/>
                        <a:pt x="54" y="34"/>
                        <a:pt x="54" y="34"/>
                      </a:cubicBezTo>
                      <a:cubicBezTo>
                        <a:pt x="64" y="38"/>
                        <a:pt x="64" y="38"/>
                        <a:pt x="64" y="38"/>
                      </a:cubicBezTo>
                      <a:cubicBezTo>
                        <a:pt x="64" y="38"/>
                        <a:pt x="65" y="54"/>
                        <a:pt x="75" y="56"/>
                      </a:cubicBezTo>
                      <a:cubicBezTo>
                        <a:pt x="85" y="58"/>
                        <a:pt x="87" y="57"/>
                        <a:pt x="87" y="57"/>
                      </a:cubicBezTo>
                      <a:cubicBezTo>
                        <a:pt x="91" y="73"/>
                        <a:pt x="91" y="73"/>
                        <a:pt x="91" y="73"/>
                      </a:cubicBezTo>
                      <a:cubicBezTo>
                        <a:pt x="91" y="73"/>
                        <a:pt x="103" y="69"/>
                        <a:pt x="103" y="79"/>
                      </a:cubicBezTo>
                      <a:cubicBezTo>
                        <a:pt x="103" y="89"/>
                        <a:pt x="94" y="86"/>
                        <a:pt x="94" y="86"/>
                      </a:cubicBezTo>
                      <a:cubicBezTo>
                        <a:pt x="94" y="97"/>
                        <a:pt x="94" y="97"/>
                        <a:pt x="94" y="97"/>
                      </a:cubicBezTo>
                      <a:cubicBezTo>
                        <a:pt x="35" y="96"/>
                        <a:pt x="35" y="96"/>
                        <a:pt x="35" y="96"/>
                      </a:cubicBezTo>
                      <a:cubicBezTo>
                        <a:pt x="14" y="127"/>
                        <a:pt x="14" y="127"/>
                        <a:pt x="14" y="127"/>
                      </a:cubicBezTo>
                      <a:cubicBezTo>
                        <a:pt x="14" y="127"/>
                        <a:pt x="14" y="149"/>
                        <a:pt x="14" y="165"/>
                      </a:cubicBezTo>
                      <a:cubicBezTo>
                        <a:pt x="14" y="181"/>
                        <a:pt x="0" y="179"/>
                        <a:pt x="0" y="179"/>
                      </a:cubicBezTo>
                      <a:cubicBezTo>
                        <a:pt x="3" y="185"/>
                        <a:pt x="7" y="189"/>
                        <a:pt x="14" y="192"/>
                      </a:cubicBezTo>
                      <a:cubicBezTo>
                        <a:pt x="33" y="199"/>
                        <a:pt x="36" y="209"/>
                        <a:pt x="47" y="213"/>
                      </a:cubicBezTo>
                      <a:cubicBezTo>
                        <a:pt x="58" y="217"/>
                        <a:pt x="80" y="213"/>
                        <a:pt x="80" y="213"/>
                      </a:cubicBezTo>
                      <a:cubicBezTo>
                        <a:pt x="80" y="213"/>
                        <a:pt x="86" y="217"/>
                        <a:pt x="92" y="222"/>
                      </a:cubicBezTo>
                      <a:cubicBezTo>
                        <a:pt x="97" y="217"/>
                        <a:pt x="105" y="208"/>
                        <a:pt x="111" y="207"/>
                      </a:cubicBezTo>
                      <a:cubicBezTo>
                        <a:pt x="119" y="205"/>
                        <a:pt x="124" y="195"/>
                        <a:pt x="124" y="195"/>
                      </a:cubicBezTo>
                      <a:cubicBezTo>
                        <a:pt x="125" y="187"/>
                        <a:pt x="125" y="187"/>
                        <a:pt x="125" y="187"/>
                      </a:cubicBezTo>
                      <a:cubicBezTo>
                        <a:pt x="125" y="187"/>
                        <a:pt x="146" y="185"/>
                        <a:pt x="149" y="176"/>
                      </a:cubicBezTo>
                      <a:cubicBezTo>
                        <a:pt x="152" y="167"/>
                        <a:pt x="151" y="155"/>
                        <a:pt x="151" y="155"/>
                      </a:cubicBezTo>
                      <a:cubicBezTo>
                        <a:pt x="151" y="155"/>
                        <a:pt x="164" y="139"/>
                        <a:pt x="179" y="131"/>
                      </a:cubicBezTo>
                      <a:cubicBezTo>
                        <a:pt x="194" y="123"/>
                        <a:pt x="199" y="112"/>
                        <a:pt x="199" y="112"/>
                      </a:cubicBezTo>
                      <a:lnTo>
                        <a:pt x="190" y="103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2" name="El Salvador">
                  <a:extLst>
                    <a:ext uri="{FF2B5EF4-FFF2-40B4-BE49-F238E27FC236}">
                      <a16:creationId xmlns:a16="http://schemas.microsoft.com/office/drawing/2014/main" id="{0E898AEA-B781-D623-E0AF-C537587E89F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37709" y="3648778"/>
                  <a:ext cx="65098" cy="41256"/>
                </a:xfrm>
                <a:custGeom>
                  <a:avLst/>
                  <a:gdLst>
                    <a:gd name="T0" fmla="*/ 116 w 117"/>
                    <a:gd name="T1" fmla="*/ 57 h 74"/>
                    <a:gd name="T2" fmla="*/ 115 w 117"/>
                    <a:gd name="T3" fmla="*/ 28 h 74"/>
                    <a:gd name="T4" fmla="*/ 100 w 117"/>
                    <a:gd name="T5" fmla="*/ 26 h 74"/>
                    <a:gd name="T6" fmla="*/ 84 w 117"/>
                    <a:gd name="T7" fmla="*/ 32 h 74"/>
                    <a:gd name="T8" fmla="*/ 76 w 117"/>
                    <a:gd name="T9" fmla="*/ 16 h 74"/>
                    <a:gd name="T10" fmla="*/ 61 w 117"/>
                    <a:gd name="T11" fmla="*/ 16 h 74"/>
                    <a:gd name="T12" fmla="*/ 48 w 117"/>
                    <a:gd name="T13" fmla="*/ 0 h 74"/>
                    <a:gd name="T14" fmla="*/ 33 w 117"/>
                    <a:gd name="T15" fmla="*/ 4 h 74"/>
                    <a:gd name="T16" fmla="*/ 32 w 117"/>
                    <a:gd name="T17" fmla="*/ 12 h 74"/>
                    <a:gd name="T18" fmla="*/ 19 w 117"/>
                    <a:gd name="T19" fmla="*/ 24 h 74"/>
                    <a:gd name="T20" fmla="*/ 0 w 117"/>
                    <a:gd name="T21" fmla="*/ 39 h 74"/>
                    <a:gd name="T22" fmla="*/ 20 w 117"/>
                    <a:gd name="T23" fmla="*/ 52 h 74"/>
                    <a:gd name="T24" fmla="*/ 48 w 117"/>
                    <a:gd name="T25" fmla="*/ 53 h 74"/>
                    <a:gd name="T26" fmla="*/ 64 w 117"/>
                    <a:gd name="T27" fmla="*/ 66 h 74"/>
                    <a:gd name="T28" fmla="*/ 86 w 117"/>
                    <a:gd name="T29" fmla="*/ 64 h 74"/>
                    <a:gd name="T30" fmla="*/ 98 w 117"/>
                    <a:gd name="T31" fmla="*/ 74 h 74"/>
                    <a:gd name="T32" fmla="*/ 110 w 117"/>
                    <a:gd name="T33" fmla="*/ 55 h 74"/>
                    <a:gd name="T34" fmla="*/ 117 w 117"/>
                    <a:gd name="T35" fmla="*/ 57 h 74"/>
                    <a:gd name="T36" fmla="*/ 116 w 117"/>
                    <a:gd name="T37" fmla="*/ 57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7" h="74">
                      <a:moveTo>
                        <a:pt x="116" y="57"/>
                      </a:moveTo>
                      <a:cubicBezTo>
                        <a:pt x="115" y="28"/>
                        <a:pt x="115" y="28"/>
                        <a:pt x="115" y="28"/>
                      </a:cubicBezTo>
                      <a:cubicBezTo>
                        <a:pt x="115" y="28"/>
                        <a:pt x="105" y="27"/>
                        <a:pt x="100" y="26"/>
                      </a:cubicBezTo>
                      <a:cubicBezTo>
                        <a:pt x="95" y="25"/>
                        <a:pt x="93" y="30"/>
                        <a:pt x="84" y="32"/>
                      </a:cubicBezTo>
                      <a:cubicBezTo>
                        <a:pt x="75" y="34"/>
                        <a:pt x="76" y="16"/>
                        <a:pt x="76" y="16"/>
                      </a:cubicBezTo>
                      <a:cubicBezTo>
                        <a:pt x="76" y="16"/>
                        <a:pt x="70" y="16"/>
                        <a:pt x="61" y="16"/>
                      </a:cubicBezTo>
                      <a:cubicBezTo>
                        <a:pt x="54" y="16"/>
                        <a:pt x="50" y="5"/>
                        <a:pt x="48" y="0"/>
                      </a:cubicBezTo>
                      <a:cubicBezTo>
                        <a:pt x="41" y="3"/>
                        <a:pt x="33" y="4"/>
                        <a:pt x="33" y="4"/>
                      </a:cubicBezTo>
                      <a:cubicBezTo>
                        <a:pt x="32" y="12"/>
                        <a:pt x="32" y="12"/>
                        <a:pt x="32" y="12"/>
                      </a:cubicBezTo>
                      <a:cubicBezTo>
                        <a:pt x="32" y="12"/>
                        <a:pt x="27" y="22"/>
                        <a:pt x="19" y="24"/>
                      </a:cubicBezTo>
                      <a:cubicBezTo>
                        <a:pt x="13" y="25"/>
                        <a:pt x="5" y="34"/>
                        <a:pt x="0" y="39"/>
                      </a:cubicBezTo>
                      <a:cubicBezTo>
                        <a:pt x="7" y="44"/>
                        <a:pt x="16" y="50"/>
                        <a:pt x="20" y="52"/>
                      </a:cubicBezTo>
                      <a:cubicBezTo>
                        <a:pt x="28" y="55"/>
                        <a:pt x="48" y="53"/>
                        <a:pt x="48" y="53"/>
                      </a:cubicBezTo>
                      <a:cubicBezTo>
                        <a:pt x="64" y="66"/>
                        <a:pt x="64" y="66"/>
                        <a:pt x="64" y="66"/>
                      </a:cubicBezTo>
                      <a:cubicBezTo>
                        <a:pt x="86" y="64"/>
                        <a:pt x="86" y="64"/>
                        <a:pt x="86" y="64"/>
                      </a:cubicBezTo>
                      <a:cubicBezTo>
                        <a:pt x="98" y="74"/>
                        <a:pt x="98" y="74"/>
                        <a:pt x="98" y="74"/>
                      </a:cubicBezTo>
                      <a:cubicBezTo>
                        <a:pt x="110" y="55"/>
                        <a:pt x="110" y="55"/>
                        <a:pt x="110" y="55"/>
                      </a:cubicBezTo>
                      <a:cubicBezTo>
                        <a:pt x="117" y="57"/>
                        <a:pt x="117" y="57"/>
                        <a:pt x="117" y="57"/>
                      </a:cubicBezTo>
                      <a:lnTo>
                        <a:pt x="116" y="57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3" name="Dominican Republic">
                  <a:extLst>
                    <a:ext uri="{FF2B5EF4-FFF2-40B4-BE49-F238E27FC236}">
                      <a16:creationId xmlns:a16="http://schemas.microsoft.com/office/drawing/2014/main" id="{4BD8FDB4-BBA2-FED9-8778-D99D633A258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733094" y="3485342"/>
                  <a:ext cx="96854" cy="61884"/>
                </a:xfrm>
                <a:custGeom>
                  <a:avLst/>
                  <a:gdLst>
                    <a:gd name="T0" fmla="*/ 165 w 172"/>
                    <a:gd name="T1" fmla="*/ 68 h 111"/>
                    <a:gd name="T2" fmla="*/ 128 w 172"/>
                    <a:gd name="T3" fmla="*/ 43 h 111"/>
                    <a:gd name="T4" fmla="*/ 97 w 172"/>
                    <a:gd name="T5" fmla="*/ 32 h 111"/>
                    <a:gd name="T6" fmla="*/ 75 w 172"/>
                    <a:gd name="T7" fmla="*/ 5 h 111"/>
                    <a:gd name="T8" fmla="*/ 29 w 172"/>
                    <a:gd name="T9" fmla="*/ 0 h 111"/>
                    <a:gd name="T10" fmla="*/ 15 w 172"/>
                    <a:gd name="T11" fmla="*/ 4 h 111"/>
                    <a:gd name="T12" fmla="*/ 21 w 172"/>
                    <a:gd name="T13" fmla="*/ 26 h 111"/>
                    <a:gd name="T14" fmla="*/ 14 w 172"/>
                    <a:gd name="T15" fmla="*/ 48 h 111"/>
                    <a:gd name="T16" fmla="*/ 3 w 172"/>
                    <a:gd name="T17" fmla="*/ 73 h 111"/>
                    <a:gd name="T18" fmla="*/ 10 w 172"/>
                    <a:gd name="T19" fmla="*/ 97 h 111"/>
                    <a:gd name="T20" fmla="*/ 0 w 172"/>
                    <a:gd name="T21" fmla="*/ 84 h 111"/>
                    <a:gd name="T22" fmla="*/ 23 w 172"/>
                    <a:gd name="T23" fmla="*/ 111 h 111"/>
                    <a:gd name="T24" fmla="*/ 56 w 172"/>
                    <a:gd name="T25" fmla="*/ 87 h 111"/>
                    <a:gd name="T26" fmla="*/ 118 w 172"/>
                    <a:gd name="T27" fmla="*/ 89 h 111"/>
                    <a:gd name="T28" fmla="*/ 161 w 172"/>
                    <a:gd name="T29" fmla="*/ 89 h 111"/>
                    <a:gd name="T30" fmla="*/ 165 w 172"/>
                    <a:gd name="T31" fmla="*/ 68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72" h="111">
                      <a:moveTo>
                        <a:pt x="165" y="68"/>
                      </a:moveTo>
                      <a:cubicBezTo>
                        <a:pt x="165" y="68"/>
                        <a:pt x="143" y="49"/>
                        <a:pt x="128" y="43"/>
                      </a:cubicBezTo>
                      <a:cubicBezTo>
                        <a:pt x="114" y="38"/>
                        <a:pt x="108" y="36"/>
                        <a:pt x="97" y="32"/>
                      </a:cubicBezTo>
                      <a:cubicBezTo>
                        <a:pt x="87" y="28"/>
                        <a:pt x="81" y="9"/>
                        <a:pt x="75" y="5"/>
                      </a:cubicBezTo>
                      <a:cubicBezTo>
                        <a:pt x="69" y="2"/>
                        <a:pt x="46" y="0"/>
                        <a:pt x="29" y="0"/>
                      </a:cubicBezTo>
                      <a:cubicBezTo>
                        <a:pt x="22" y="0"/>
                        <a:pt x="18" y="2"/>
                        <a:pt x="15" y="4"/>
                      </a:cubicBezTo>
                      <a:cubicBezTo>
                        <a:pt x="17" y="10"/>
                        <a:pt x="21" y="20"/>
                        <a:pt x="21" y="26"/>
                      </a:cubicBezTo>
                      <a:cubicBezTo>
                        <a:pt x="20" y="36"/>
                        <a:pt x="16" y="39"/>
                        <a:pt x="14" y="48"/>
                      </a:cubicBezTo>
                      <a:cubicBezTo>
                        <a:pt x="11" y="57"/>
                        <a:pt x="3" y="73"/>
                        <a:pt x="3" y="73"/>
                      </a:cubicBezTo>
                      <a:cubicBezTo>
                        <a:pt x="10" y="97"/>
                        <a:pt x="10" y="97"/>
                        <a:pt x="10" y="97"/>
                      </a:cubicBezTo>
                      <a:cubicBezTo>
                        <a:pt x="0" y="84"/>
                        <a:pt x="0" y="84"/>
                        <a:pt x="0" y="84"/>
                      </a:cubicBezTo>
                      <a:cubicBezTo>
                        <a:pt x="23" y="111"/>
                        <a:pt x="23" y="111"/>
                        <a:pt x="23" y="111"/>
                      </a:cubicBezTo>
                      <a:cubicBezTo>
                        <a:pt x="56" y="87"/>
                        <a:pt x="56" y="87"/>
                        <a:pt x="56" y="87"/>
                      </a:cubicBezTo>
                      <a:cubicBezTo>
                        <a:pt x="56" y="87"/>
                        <a:pt x="85" y="87"/>
                        <a:pt x="118" y="89"/>
                      </a:cubicBezTo>
                      <a:cubicBezTo>
                        <a:pt x="131" y="90"/>
                        <a:pt x="153" y="93"/>
                        <a:pt x="161" y="89"/>
                      </a:cubicBezTo>
                      <a:cubicBezTo>
                        <a:pt x="172" y="83"/>
                        <a:pt x="165" y="68"/>
                        <a:pt x="165" y="68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4" name="Cuba">
                  <a:extLst>
                    <a:ext uri="{FF2B5EF4-FFF2-40B4-BE49-F238E27FC236}">
                      <a16:creationId xmlns:a16="http://schemas.microsoft.com/office/drawing/2014/main" id="{899973C7-9825-1227-EABA-ECF845E0D3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409189" y="3383788"/>
                  <a:ext cx="276273" cy="103140"/>
                </a:xfrm>
                <a:custGeom>
                  <a:avLst/>
                  <a:gdLst>
                    <a:gd name="T0" fmla="*/ 475 w 493"/>
                    <a:gd name="T1" fmla="*/ 151 h 185"/>
                    <a:gd name="T2" fmla="*/ 445 w 493"/>
                    <a:gd name="T3" fmla="*/ 148 h 185"/>
                    <a:gd name="T4" fmla="*/ 434 w 493"/>
                    <a:gd name="T5" fmla="*/ 129 h 185"/>
                    <a:gd name="T6" fmla="*/ 399 w 493"/>
                    <a:gd name="T7" fmla="*/ 128 h 185"/>
                    <a:gd name="T8" fmla="*/ 416 w 493"/>
                    <a:gd name="T9" fmla="*/ 114 h 185"/>
                    <a:gd name="T10" fmla="*/ 378 w 493"/>
                    <a:gd name="T11" fmla="*/ 106 h 185"/>
                    <a:gd name="T12" fmla="*/ 349 w 493"/>
                    <a:gd name="T13" fmla="*/ 96 h 185"/>
                    <a:gd name="T14" fmla="*/ 351 w 493"/>
                    <a:gd name="T15" fmla="*/ 79 h 185"/>
                    <a:gd name="T16" fmla="*/ 338 w 493"/>
                    <a:gd name="T17" fmla="*/ 77 h 185"/>
                    <a:gd name="T18" fmla="*/ 290 w 493"/>
                    <a:gd name="T19" fmla="*/ 45 h 185"/>
                    <a:gd name="T20" fmla="*/ 300 w 493"/>
                    <a:gd name="T21" fmla="*/ 64 h 185"/>
                    <a:gd name="T22" fmla="*/ 255 w 493"/>
                    <a:gd name="T23" fmla="*/ 42 h 185"/>
                    <a:gd name="T24" fmla="*/ 220 w 493"/>
                    <a:gd name="T25" fmla="*/ 12 h 185"/>
                    <a:gd name="T26" fmla="*/ 180 w 493"/>
                    <a:gd name="T27" fmla="*/ 12 h 185"/>
                    <a:gd name="T28" fmla="*/ 118 w 493"/>
                    <a:gd name="T29" fmla="*/ 0 h 185"/>
                    <a:gd name="T30" fmla="*/ 48 w 493"/>
                    <a:gd name="T31" fmla="*/ 26 h 185"/>
                    <a:gd name="T32" fmla="*/ 0 w 493"/>
                    <a:gd name="T33" fmla="*/ 51 h 185"/>
                    <a:gd name="T34" fmla="*/ 51 w 493"/>
                    <a:gd name="T35" fmla="*/ 49 h 185"/>
                    <a:gd name="T36" fmla="*/ 51 w 493"/>
                    <a:gd name="T37" fmla="*/ 39 h 185"/>
                    <a:gd name="T38" fmla="*/ 102 w 493"/>
                    <a:gd name="T39" fmla="*/ 36 h 185"/>
                    <a:gd name="T40" fmla="*/ 115 w 493"/>
                    <a:gd name="T41" fmla="*/ 29 h 185"/>
                    <a:gd name="T42" fmla="*/ 150 w 493"/>
                    <a:gd name="T43" fmla="*/ 34 h 185"/>
                    <a:gd name="T44" fmla="*/ 126 w 493"/>
                    <a:gd name="T45" fmla="*/ 46 h 185"/>
                    <a:gd name="T46" fmla="*/ 137 w 493"/>
                    <a:gd name="T47" fmla="*/ 54 h 185"/>
                    <a:gd name="T48" fmla="*/ 172 w 493"/>
                    <a:gd name="T49" fmla="*/ 66 h 185"/>
                    <a:gd name="T50" fmla="*/ 188 w 493"/>
                    <a:gd name="T51" fmla="*/ 61 h 185"/>
                    <a:gd name="T52" fmla="*/ 220 w 493"/>
                    <a:gd name="T53" fmla="*/ 81 h 185"/>
                    <a:gd name="T54" fmla="*/ 268 w 493"/>
                    <a:gd name="T55" fmla="*/ 79 h 185"/>
                    <a:gd name="T56" fmla="*/ 263 w 493"/>
                    <a:gd name="T57" fmla="*/ 96 h 185"/>
                    <a:gd name="T58" fmla="*/ 303 w 493"/>
                    <a:gd name="T59" fmla="*/ 113 h 185"/>
                    <a:gd name="T60" fmla="*/ 319 w 493"/>
                    <a:gd name="T61" fmla="*/ 136 h 185"/>
                    <a:gd name="T62" fmla="*/ 335 w 493"/>
                    <a:gd name="T63" fmla="*/ 150 h 185"/>
                    <a:gd name="T64" fmla="*/ 316 w 493"/>
                    <a:gd name="T65" fmla="*/ 172 h 185"/>
                    <a:gd name="T66" fmla="*/ 356 w 493"/>
                    <a:gd name="T67" fmla="*/ 163 h 185"/>
                    <a:gd name="T68" fmla="*/ 367 w 493"/>
                    <a:gd name="T69" fmla="*/ 168 h 185"/>
                    <a:gd name="T70" fmla="*/ 375 w 493"/>
                    <a:gd name="T71" fmla="*/ 180 h 185"/>
                    <a:gd name="T72" fmla="*/ 426 w 493"/>
                    <a:gd name="T73" fmla="*/ 178 h 185"/>
                    <a:gd name="T74" fmla="*/ 493 w 493"/>
                    <a:gd name="T75" fmla="*/ 163 h 185"/>
                    <a:gd name="T76" fmla="*/ 475 w 493"/>
                    <a:gd name="T77" fmla="*/ 151 h 185"/>
                    <a:gd name="T78" fmla="*/ 78 w 493"/>
                    <a:gd name="T79" fmla="*/ 84 h 185"/>
                    <a:gd name="T80" fmla="*/ 104 w 493"/>
                    <a:gd name="T81" fmla="*/ 84 h 185"/>
                    <a:gd name="T82" fmla="*/ 78 w 493"/>
                    <a:gd name="T83" fmla="*/ 84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93" h="185">
                      <a:moveTo>
                        <a:pt x="475" y="151"/>
                      </a:moveTo>
                      <a:cubicBezTo>
                        <a:pt x="456" y="148"/>
                        <a:pt x="445" y="148"/>
                        <a:pt x="445" y="148"/>
                      </a:cubicBezTo>
                      <a:cubicBezTo>
                        <a:pt x="445" y="148"/>
                        <a:pt x="453" y="131"/>
                        <a:pt x="434" y="129"/>
                      </a:cubicBezTo>
                      <a:cubicBezTo>
                        <a:pt x="416" y="126"/>
                        <a:pt x="399" y="128"/>
                        <a:pt x="399" y="128"/>
                      </a:cubicBezTo>
                      <a:cubicBezTo>
                        <a:pt x="416" y="114"/>
                        <a:pt x="416" y="114"/>
                        <a:pt x="416" y="114"/>
                      </a:cubicBezTo>
                      <a:cubicBezTo>
                        <a:pt x="416" y="114"/>
                        <a:pt x="386" y="106"/>
                        <a:pt x="378" y="106"/>
                      </a:cubicBezTo>
                      <a:cubicBezTo>
                        <a:pt x="370" y="106"/>
                        <a:pt x="349" y="96"/>
                        <a:pt x="349" y="96"/>
                      </a:cubicBezTo>
                      <a:cubicBezTo>
                        <a:pt x="349" y="96"/>
                        <a:pt x="359" y="79"/>
                        <a:pt x="351" y="79"/>
                      </a:cubicBezTo>
                      <a:cubicBezTo>
                        <a:pt x="343" y="79"/>
                        <a:pt x="338" y="77"/>
                        <a:pt x="338" y="77"/>
                      </a:cubicBezTo>
                      <a:cubicBezTo>
                        <a:pt x="338" y="77"/>
                        <a:pt x="298" y="37"/>
                        <a:pt x="290" y="45"/>
                      </a:cubicBezTo>
                      <a:cubicBezTo>
                        <a:pt x="282" y="52"/>
                        <a:pt x="300" y="64"/>
                        <a:pt x="300" y="64"/>
                      </a:cubicBezTo>
                      <a:cubicBezTo>
                        <a:pt x="255" y="42"/>
                        <a:pt x="255" y="42"/>
                        <a:pt x="255" y="42"/>
                      </a:cubicBezTo>
                      <a:cubicBezTo>
                        <a:pt x="255" y="42"/>
                        <a:pt x="231" y="17"/>
                        <a:pt x="220" y="12"/>
                      </a:cubicBezTo>
                      <a:cubicBezTo>
                        <a:pt x="209" y="7"/>
                        <a:pt x="180" y="12"/>
                        <a:pt x="180" y="12"/>
                      </a:cubicBezTo>
                      <a:cubicBezTo>
                        <a:pt x="180" y="12"/>
                        <a:pt x="156" y="0"/>
                        <a:pt x="118" y="0"/>
                      </a:cubicBezTo>
                      <a:cubicBezTo>
                        <a:pt x="81" y="0"/>
                        <a:pt x="64" y="12"/>
                        <a:pt x="48" y="26"/>
                      </a:cubicBezTo>
                      <a:cubicBezTo>
                        <a:pt x="32" y="41"/>
                        <a:pt x="0" y="51"/>
                        <a:pt x="0" y="51"/>
                      </a:cubicBezTo>
                      <a:cubicBezTo>
                        <a:pt x="51" y="49"/>
                        <a:pt x="51" y="49"/>
                        <a:pt x="51" y="49"/>
                      </a:cubicBezTo>
                      <a:cubicBezTo>
                        <a:pt x="51" y="39"/>
                        <a:pt x="51" y="39"/>
                        <a:pt x="51" y="39"/>
                      </a:cubicBezTo>
                      <a:cubicBezTo>
                        <a:pt x="102" y="36"/>
                        <a:pt x="102" y="36"/>
                        <a:pt x="102" y="36"/>
                      </a:cubicBezTo>
                      <a:cubicBezTo>
                        <a:pt x="115" y="29"/>
                        <a:pt x="115" y="29"/>
                        <a:pt x="115" y="29"/>
                      </a:cubicBezTo>
                      <a:cubicBezTo>
                        <a:pt x="115" y="29"/>
                        <a:pt x="142" y="27"/>
                        <a:pt x="150" y="34"/>
                      </a:cubicBezTo>
                      <a:cubicBezTo>
                        <a:pt x="158" y="42"/>
                        <a:pt x="126" y="46"/>
                        <a:pt x="126" y="46"/>
                      </a:cubicBezTo>
                      <a:cubicBezTo>
                        <a:pt x="137" y="54"/>
                        <a:pt x="137" y="54"/>
                        <a:pt x="137" y="54"/>
                      </a:cubicBezTo>
                      <a:cubicBezTo>
                        <a:pt x="137" y="54"/>
                        <a:pt x="155" y="61"/>
                        <a:pt x="172" y="66"/>
                      </a:cubicBezTo>
                      <a:cubicBezTo>
                        <a:pt x="188" y="71"/>
                        <a:pt x="188" y="61"/>
                        <a:pt x="188" y="61"/>
                      </a:cubicBezTo>
                      <a:cubicBezTo>
                        <a:pt x="188" y="61"/>
                        <a:pt x="204" y="74"/>
                        <a:pt x="220" y="81"/>
                      </a:cubicBezTo>
                      <a:cubicBezTo>
                        <a:pt x="236" y="89"/>
                        <a:pt x="268" y="79"/>
                        <a:pt x="268" y="79"/>
                      </a:cubicBezTo>
                      <a:cubicBezTo>
                        <a:pt x="263" y="96"/>
                        <a:pt x="263" y="96"/>
                        <a:pt x="263" y="96"/>
                      </a:cubicBezTo>
                      <a:cubicBezTo>
                        <a:pt x="303" y="113"/>
                        <a:pt x="303" y="113"/>
                        <a:pt x="303" y="113"/>
                      </a:cubicBezTo>
                      <a:cubicBezTo>
                        <a:pt x="319" y="136"/>
                        <a:pt x="319" y="136"/>
                        <a:pt x="319" y="136"/>
                      </a:cubicBezTo>
                      <a:cubicBezTo>
                        <a:pt x="319" y="136"/>
                        <a:pt x="335" y="143"/>
                        <a:pt x="335" y="150"/>
                      </a:cubicBezTo>
                      <a:cubicBezTo>
                        <a:pt x="335" y="158"/>
                        <a:pt x="308" y="165"/>
                        <a:pt x="316" y="172"/>
                      </a:cubicBezTo>
                      <a:cubicBezTo>
                        <a:pt x="324" y="180"/>
                        <a:pt x="348" y="163"/>
                        <a:pt x="356" y="163"/>
                      </a:cubicBezTo>
                      <a:cubicBezTo>
                        <a:pt x="364" y="163"/>
                        <a:pt x="381" y="165"/>
                        <a:pt x="367" y="168"/>
                      </a:cubicBezTo>
                      <a:cubicBezTo>
                        <a:pt x="354" y="170"/>
                        <a:pt x="375" y="180"/>
                        <a:pt x="375" y="180"/>
                      </a:cubicBezTo>
                      <a:cubicBezTo>
                        <a:pt x="375" y="180"/>
                        <a:pt x="397" y="185"/>
                        <a:pt x="426" y="178"/>
                      </a:cubicBezTo>
                      <a:cubicBezTo>
                        <a:pt x="456" y="170"/>
                        <a:pt x="493" y="163"/>
                        <a:pt x="493" y="163"/>
                      </a:cubicBezTo>
                      <a:cubicBezTo>
                        <a:pt x="493" y="163"/>
                        <a:pt x="493" y="153"/>
                        <a:pt x="475" y="151"/>
                      </a:cubicBezTo>
                      <a:close/>
                      <a:moveTo>
                        <a:pt x="78" y="84"/>
                      </a:moveTo>
                      <a:cubicBezTo>
                        <a:pt x="75" y="97"/>
                        <a:pt x="102" y="99"/>
                        <a:pt x="104" y="84"/>
                      </a:cubicBezTo>
                      <a:cubicBezTo>
                        <a:pt x="107" y="70"/>
                        <a:pt x="78" y="84"/>
                        <a:pt x="78" y="8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5" name="Costa Rica">
                  <a:extLst>
                    <a:ext uri="{FF2B5EF4-FFF2-40B4-BE49-F238E27FC236}">
                      <a16:creationId xmlns:a16="http://schemas.microsoft.com/office/drawing/2014/main" id="{C57200F9-54E5-5D47-B5B4-2D45C9A3066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37739" y="3745570"/>
                  <a:ext cx="90503" cy="85685"/>
                </a:xfrm>
                <a:custGeom>
                  <a:avLst/>
                  <a:gdLst>
                    <a:gd name="T0" fmla="*/ 146 w 162"/>
                    <a:gd name="T1" fmla="*/ 133 h 152"/>
                    <a:gd name="T2" fmla="*/ 159 w 162"/>
                    <a:gd name="T3" fmla="*/ 122 h 152"/>
                    <a:gd name="T4" fmla="*/ 145 w 162"/>
                    <a:gd name="T5" fmla="*/ 115 h 152"/>
                    <a:gd name="T6" fmla="*/ 145 w 162"/>
                    <a:gd name="T7" fmla="*/ 93 h 152"/>
                    <a:gd name="T8" fmla="*/ 162 w 162"/>
                    <a:gd name="T9" fmla="*/ 87 h 152"/>
                    <a:gd name="T10" fmla="*/ 140 w 162"/>
                    <a:gd name="T11" fmla="*/ 66 h 152"/>
                    <a:gd name="T12" fmla="*/ 124 w 162"/>
                    <a:gd name="T13" fmla="*/ 39 h 152"/>
                    <a:gd name="T14" fmla="*/ 122 w 162"/>
                    <a:gd name="T15" fmla="*/ 24 h 152"/>
                    <a:gd name="T16" fmla="*/ 122 w 162"/>
                    <a:gd name="T17" fmla="*/ 23 h 152"/>
                    <a:gd name="T18" fmla="*/ 122 w 162"/>
                    <a:gd name="T19" fmla="*/ 23 h 152"/>
                    <a:gd name="T20" fmla="*/ 101 w 162"/>
                    <a:gd name="T21" fmla="*/ 26 h 152"/>
                    <a:gd name="T22" fmla="*/ 89 w 162"/>
                    <a:gd name="T23" fmla="*/ 14 h 152"/>
                    <a:gd name="T24" fmla="*/ 71 w 162"/>
                    <a:gd name="T25" fmla="*/ 7 h 152"/>
                    <a:gd name="T26" fmla="*/ 59 w 162"/>
                    <a:gd name="T27" fmla="*/ 12 h 152"/>
                    <a:gd name="T28" fmla="*/ 33 w 162"/>
                    <a:gd name="T29" fmla="*/ 1 h 152"/>
                    <a:gd name="T30" fmla="*/ 19 w 162"/>
                    <a:gd name="T31" fmla="*/ 2 h 152"/>
                    <a:gd name="T32" fmla="*/ 19 w 162"/>
                    <a:gd name="T33" fmla="*/ 2 h 152"/>
                    <a:gd name="T34" fmla="*/ 10 w 162"/>
                    <a:gd name="T35" fmla="*/ 19 h 152"/>
                    <a:gd name="T36" fmla="*/ 20 w 162"/>
                    <a:gd name="T37" fmla="*/ 32 h 152"/>
                    <a:gd name="T38" fmla="*/ 9 w 162"/>
                    <a:gd name="T39" fmla="*/ 60 h 152"/>
                    <a:gd name="T40" fmla="*/ 33 w 162"/>
                    <a:gd name="T41" fmla="*/ 72 h 152"/>
                    <a:gd name="T42" fmla="*/ 53 w 162"/>
                    <a:gd name="T43" fmla="*/ 85 h 152"/>
                    <a:gd name="T44" fmla="*/ 51 w 162"/>
                    <a:gd name="T45" fmla="*/ 67 h 152"/>
                    <a:gd name="T46" fmla="*/ 33 w 162"/>
                    <a:gd name="T47" fmla="*/ 49 h 152"/>
                    <a:gd name="T48" fmla="*/ 67 w 162"/>
                    <a:gd name="T49" fmla="*/ 70 h 152"/>
                    <a:gd name="T50" fmla="*/ 68 w 162"/>
                    <a:gd name="T51" fmla="*/ 89 h 152"/>
                    <a:gd name="T52" fmla="*/ 95 w 162"/>
                    <a:gd name="T53" fmla="*/ 94 h 152"/>
                    <a:gd name="T54" fmla="*/ 108 w 162"/>
                    <a:gd name="T55" fmla="*/ 121 h 152"/>
                    <a:gd name="T56" fmla="*/ 108 w 162"/>
                    <a:gd name="T57" fmla="*/ 138 h 152"/>
                    <a:gd name="T58" fmla="*/ 131 w 162"/>
                    <a:gd name="T59" fmla="*/ 150 h 152"/>
                    <a:gd name="T60" fmla="*/ 122 w 162"/>
                    <a:gd name="T61" fmla="*/ 133 h 152"/>
                    <a:gd name="T62" fmla="*/ 141 w 162"/>
                    <a:gd name="T63" fmla="*/ 152 h 152"/>
                    <a:gd name="T64" fmla="*/ 145 w 162"/>
                    <a:gd name="T65" fmla="*/ 147 h 152"/>
                    <a:gd name="T66" fmla="*/ 146 w 162"/>
                    <a:gd name="T67" fmla="*/ 133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62" h="152">
                      <a:moveTo>
                        <a:pt x="146" y="133"/>
                      </a:moveTo>
                      <a:cubicBezTo>
                        <a:pt x="146" y="133"/>
                        <a:pt x="159" y="127"/>
                        <a:pt x="159" y="122"/>
                      </a:cubicBezTo>
                      <a:cubicBezTo>
                        <a:pt x="159" y="117"/>
                        <a:pt x="145" y="115"/>
                        <a:pt x="145" y="115"/>
                      </a:cubicBezTo>
                      <a:cubicBezTo>
                        <a:pt x="145" y="115"/>
                        <a:pt x="135" y="96"/>
                        <a:pt x="145" y="93"/>
                      </a:cubicBezTo>
                      <a:cubicBezTo>
                        <a:pt x="151" y="91"/>
                        <a:pt x="158" y="88"/>
                        <a:pt x="162" y="87"/>
                      </a:cubicBezTo>
                      <a:cubicBezTo>
                        <a:pt x="154" y="82"/>
                        <a:pt x="143" y="75"/>
                        <a:pt x="140" y="66"/>
                      </a:cubicBezTo>
                      <a:cubicBezTo>
                        <a:pt x="136" y="53"/>
                        <a:pt x="124" y="39"/>
                        <a:pt x="124" y="39"/>
                      </a:cubicBezTo>
                      <a:cubicBezTo>
                        <a:pt x="122" y="24"/>
                        <a:pt x="122" y="24"/>
                        <a:pt x="122" y="24"/>
                      </a:cubicBezTo>
                      <a:cubicBezTo>
                        <a:pt x="122" y="24"/>
                        <a:pt x="122" y="24"/>
                        <a:pt x="122" y="23"/>
                      </a:cubicBezTo>
                      <a:cubicBezTo>
                        <a:pt x="122" y="23"/>
                        <a:pt x="122" y="23"/>
                        <a:pt x="122" y="23"/>
                      </a:cubicBezTo>
                      <a:cubicBezTo>
                        <a:pt x="115" y="25"/>
                        <a:pt x="107" y="26"/>
                        <a:pt x="101" y="26"/>
                      </a:cubicBezTo>
                      <a:cubicBezTo>
                        <a:pt x="89" y="26"/>
                        <a:pt x="89" y="14"/>
                        <a:pt x="89" y="14"/>
                      </a:cubicBezTo>
                      <a:cubicBezTo>
                        <a:pt x="89" y="14"/>
                        <a:pt x="84" y="8"/>
                        <a:pt x="71" y="7"/>
                      </a:cubicBezTo>
                      <a:cubicBezTo>
                        <a:pt x="58" y="6"/>
                        <a:pt x="59" y="12"/>
                        <a:pt x="59" y="12"/>
                      </a:cubicBezTo>
                      <a:cubicBezTo>
                        <a:pt x="59" y="12"/>
                        <a:pt x="39" y="3"/>
                        <a:pt x="33" y="1"/>
                      </a:cubicBezTo>
                      <a:cubicBezTo>
                        <a:pt x="29" y="0"/>
                        <a:pt x="23" y="1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26" y="28"/>
                        <a:pt x="20" y="32"/>
                      </a:cubicBezTo>
                      <a:cubicBezTo>
                        <a:pt x="14" y="36"/>
                        <a:pt x="0" y="46"/>
                        <a:pt x="9" y="60"/>
                      </a:cubicBezTo>
                      <a:cubicBezTo>
                        <a:pt x="18" y="74"/>
                        <a:pt x="33" y="72"/>
                        <a:pt x="33" y="72"/>
                      </a:cubicBezTo>
                      <a:cubicBezTo>
                        <a:pt x="33" y="72"/>
                        <a:pt x="50" y="92"/>
                        <a:pt x="53" y="85"/>
                      </a:cubicBezTo>
                      <a:cubicBezTo>
                        <a:pt x="56" y="78"/>
                        <a:pt x="51" y="67"/>
                        <a:pt x="51" y="67"/>
                      </a:cubicBezTo>
                      <a:cubicBezTo>
                        <a:pt x="51" y="67"/>
                        <a:pt x="24" y="49"/>
                        <a:pt x="33" y="49"/>
                      </a:cubicBezTo>
                      <a:cubicBezTo>
                        <a:pt x="42" y="49"/>
                        <a:pt x="67" y="70"/>
                        <a:pt x="67" y="70"/>
                      </a:cubicBezTo>
                      <a:cubicBezTo>
                        <a:pt x="67" y="70"/>
                        <a:pt x="64" y="89"/>
                        <a:pt x="68" y="89"/>
                      </a:cubicBezTo>
                      <a:cubicBezTo>
                        <a:pt x="72" y="89"/>
                        <a:pt x="95" y="94"/>
                        <a:pt x="95" y="94"/>
                      </a:cubicBezTo>
                      <a:cubicBezTo>
                        <a:pt x="108" y="121"/>
                        <a:pt x="108" y="121"/>
                        <a:pt x="108" y="121"/>
                      </a:cubicBezTo>
                      <a:cubicBezTo>
                        <a:pt x="108" y="121"/>
                        <a:pt x="99" y="129"/>
                        <a:pt x="108" y="138"/>
                      </a:cubicBezTo>
                      <a:cubicBezTo>
                        <a:pt x="117" y="147"/>
                        <a:pt x="131" y="150"/>
                        <a:pt x="131" y="150"/>
                      </a:cubicBezTo>
                      <a:cubicBezTo>
                        <a:pt x="122" y="133"/>
                        <a:pt x="122" y="133"/>
                        <a:pt x="122" y="133"/>
                      </a:cubicBezTo>
                      <a:cubicBezTo>
                        <a:pt x="141" y="152"/>
                        <a:pt x="141" y="152"/>
                        <a:pt x="141" y="152"/>
                      </a:cubicBezTo>
                      <a:cubicBezTo>
                        <a:pt x="145" y="147"/>
                        <a:pt x="145" y="147"/>
                        <a:pt x="145" y="147"/>
                      </a:cubicBezTo>
                      <a:lnTo>
                        <a:pt x="146" y="133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6" name="Canada">
                  <a:extLst>
                    <a:ext uri="{FF2B5EF4-FFF2-40B4-BE49-F238E27FC236}">
                      <a16:creationId xmlns:a16="http://schemas.microsoft.com/office/drawing/2014/main" id="{9A1F93BD-445B-6F9F-C372-D30E74EE45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2667696" y="1744659"/>
                  <a:ext cx="2081574" cy="1077413"/>
                </a:xfrm>
                <a:custGeom>
                  <a:avLst/>
                  <a:gdLst>
                    <a:gd name="T0" fmla="*/ 1824 w 3718"/>
                    <a:gd name="T1" fmla="*/ 304 h 1928"/>
                    <a:gd name="T2" fmla="*/ 1868 w 3718"/>
                    <a:gd name="T3" fmla="*/ 216 h 1928"/>
                    <a:gd name="T4" fmla="*/ 141 w 3718"/>
                    <a:gd name="T5" fmla="*/ 1354 h 1928"/>
                    <a:gd name="T6" fmla="*/ 138 w 3718"/>
                    <a:gd name="T7" fmla="*/ 1561 h 1928"/>
                    <a:gd name="T8" fmla="*/ 1554 w 3718"/>
                    <a:gd name="T9" fmla="*/ 213 h 1928"/>
                    <a:gd name="T10" fmla="*/ 34 w 3718"/>
                    <a:gd name="T11" fmla="*/ 1340 h 1928"/>
                    <a:gd name="T12" fmla="*/ 1227 w 3718"/>
                    <a:gd name="T13" fmla="*/ 437 h 1928"/>
                    <a:gd name="T14" fmla="*/ 2245 w 3718"/>
                    <a:gd name="T15" fmla="*/ 414 h 1928"/>
                    <a:gd name="T16" fmla="*/ 2627 w 3718"/>
                    <a:gd name="T17" fmla="*/ 171 h 1928"/>
                    <a:gd name="T18" fmla="*/ 2592 w 3718"/>
                    <a:gd name="T19" fmla="*/ 114 h 1928"/>
                    <a:gd name="T20" fmla="*/ 2731 w 3718"/>
                    <a:gd name="T21" fmla="*/ 327 h 1928"/>
                    <a:gd name="T22" fmla="*/ 2578 w 3718"/>
                    <a:gd name="T23" fmla="*/ 240 h 1928"/>
                    <a:gd name="T24" fmla="*/ 2488 w 3718"/>
                    <a:gd name="T25" fmla="*/ 156 h 1928"/>
                    <a:gd name="T26" fmla="*/ 1744 w 3718"/>
                    <a:gd name="T27" fmla="*/ 405 h 1928"/>
                    <a:gd name="T28" fmla="*/ 1851 w 3718"/>
                    <a:gd name="T29" fmla="*/ 586 h 1928"/>
                    <a:gd name="T30" fmla="*/ 2278 w 3718"/>
                    <a:gd name="T31" fmla="*/ 144 h 1928"/>
                    <a:gd name="T32" fmla="*/ 3024 w 3718"/>
                    <a:gd name="T33" fmla="*/ 564 h 1928"/>
                    <a:gd name="T34" fmla="*/ 2988 w 3718"/>
                    <a:gd name="T35" fmla="*/ 474 h 1928"/>
                    <a:gd name="T36" fmla="*/ 2753 w 3718"/>
                    <a:gd name="T37" fmla="*/ 381 h 1928"/>
                    <a:gd name="T38" fmla="*/ 2565 w 3718"/>
                    <a:gd name="T39" fmla="*/ 358 h 1928"/>
                    <a:gd name="T40" fmla="*/ 2816 w 3718"/>
                    <a:gd name="T41" fmla="*/ 590 h 1928"/>
                    <a:gd name="T42" fmla="*/ 2732 w 3718"/>
                    <a:gd name="T43" fmla="*/ 829 h 1928"/>
                    <a:gd name="T44" fmla="*/ 2995 w 3718"/>
                    <a:gd name="T45" fmla="*/ 792 h 1928"/>
                    <a:gd name="T46" fmla="*/ 3152 w 3718"/>
                    <a:gd name="T47" fmla="*/ 694 h 1928"/>
                    <a:gd name="T48" fmla="*/ 2821 w 3718"/>
                    <a:gd name="T49" fmla="*/ 613 h 1928"/>
                    <a:gd name="T50" fmla="*/ 3034 w 3718"/>
                    <a:gd name="T51" fmla="*/ 25 h 1928"/>
                    <a:gd name="T52" fmla="*/ 3027 w 3718"/>
                    <a:gd name="T53" fmla="*/ 92 h 1928"/>
                    <a:gd name="T54" fmla="*/ 2737 w 3718"/>
                    <a:gd name="T55" fmla="*/ 191 h 1928"/>
                    <a:gd name="T56" fmla="*/ 2975 w 3718"/>
                    <a:gd name="T57" fmla="*/ 248 h 1928"/>
                    <a:gd name="T58" fmla="*/ 3379 w 3718"/>
                    <a:gd name="T59" fmla="*/ 91 h 1928"/>
                    <a:gd name="T60" fmla="*/ 2747 w 3718"/>
                    <a:gd name="T61" fmla="*/ 549 h 1928"/>
                    <a:gd name="T62" fmla="*/ 2686 w 3718"/>
                    <a:gd name="T63" fmla="*/ 1536 h 1928"/>
                    <a:gd name="T64" fmla="*/ 2958 w 3718"/>
                    <a:gd name="T65" fmla="*/ 1304 h 1928"/>
                    <a:gd name="T66" fmla="*/ 2899 w 3718"/>
                    <a:gd name="T67" fmla="*/ 1093 h 1928"/>
                    <a:gd name="T68" fmla="*/ 2744 w 3718"/>
                    <a:gd name="T69" fmla="*/ 1079 h 1928"/>
                    <a:gd name="T70" fmla="*/ 2677 w 3718"/>
                    <a:gd name="T71" fmla="*/ 900 h 1928"/>
                    <a:gd name="T72" fmla="*/ 2180 w 3718"/>
                    <a:gd name="T73" fmla="*/ 1298 h 1928"/>
                    <a:gd name="T74" fmla="*/ 1908 w 3718"/>
                    <a:gd name="T75" fmla="*/ 1200 h 1928"/>
                    <a:gd name="T76" fmla="*/ 1986 w 3718"/>
                    <a:gd name="T77" fmla="*/ 814 h 1928"/>
                    <a:gd name="T78" fmla="*/ 2401 w 3718"/>
                    <a:gd name="T79" fmla="*/ 658 h 1928"/>
                    <a:gd name="T80" fmla="*/ 2262 w 3718"/>
                    <a:gd name="T81" fmla="*/ 563 h 1928"/>
                    <a:gd name="T82" fmla="*/ 2163 w 3718"/>
                    <a:gd name="T83" fmla="*/ 561 h 1928"/>
                    <a:gd name="T84" fmla="*/ 1863 w 3718"/>
                    <a:gd name="T85" fmla="*/ 625 h 1928"/>
                    <a:gd name="T86" fmla="*/ 1155 w 3718"/>
                    <a:gd name="T87" fmla="*/ 554 h 1928"/>
                    <a:gd name="T88" fmla="*/ 983 w 3718"/>
                    <a:gd name="T89" fmla="*/ 514 h 1928"/>
                    <a:gd name="T90" fmla="*/ 52 w 3718"/>
                    <a:gd name="T91" fmla="*/ 964 h 1928"/>
                    <a:gd name="T92" fmla="*/ 225 w 3718"/>
                    <a:gd name="T93" fmla="*/ 1187 h 1928"/>
                    <a:gd name="T94" fmla="*/ 184 w 3718"/>
                    <a:gd name="T95" fmla="*/ 1387 h 1928"/>
                    <a:gd name="T96" fmla="*/ 1394 w 3718"/>
                    <a:gd name="T97" fmla="*/ 1537 h 1928"/>
                    <a:gd name="T98" fmla="*/ 1727 w 3718"/>
                    <a:gd name="T99" fmla="*/ 1604 h 1928"/>
                    <a:gd name="T100" fmla="*/ 1868 w 3718"/>
                    <a:gd name="T101" fmla="*/ 1783 h 1928"/>
                    <a:gd name="T102" fmla="*/ 1928 w 3718"/>
                    <a:gd name="T103" fmla="*/ 1826 h 1928"/>
                    <a:gd name="T104" fmla="*/ 2453 w 3718"/>
                    <a:gd name="T105" fmla="*/ 1735 h 1928"/>
                    <a:gd name="T106" fmla="*/ 2655 w 3718"/>
                    <a:gd name="T107" fmla="*/ 1772 h 1928"/>
                    <a:gd name="T108" fmla="*/ 2574 w 3718"/>
                    <a:gd name="T109" fmla="*/ 1597 h 1928"/>
                    <a:gd name="T110" fmla="*/ 2967 w 3718"/>
                    <a:gd name="T111" fmla="*/ 1436 h 1928"/>
                    <a:gd name="T112" fmla="*/ 1119 w 3718"/>
                    <a:gd name="T113" fmla="*/ 664 h 1928"/>
                    <a:gd name="T114" fmla="*/ 990 w 3718"/>
                    <a:gd name="T115" fmla="*/ 760 h 1928"/>
                    <a:gd name="T116" fmla="*/ 985 w 3718"/>
                    <a:gd name="T117" fmla="*/ 939 h 1928"/>
                    <a:gd name="T118" fmla="*/ 1403 w 3718"/>
                    <a:gd name="T119" fmla="*/ 1433 h 1928"/>
                    <a:gd name="T120" fmla="*/ 2456 w 3718"/>
                    <a:gd name="T121" fmla="*/ 825 h 1928"/>
                    <a:gd name="T122" fmla="*/ 2386 w 3718"/>
                    <a:gd name="T123" fmla="*/ 823 h 19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718" h="1928">
                      <a:moveTo>
                        <a:pt x="2074" y="170"/>
                      </a:moveTo>
                      <a:cubicBezTo>
                        <a:pt x="2084" y="169"/>
                        <a:pt x="2113" y="177"/>
                        <a:pt x="2115" y="169"/>
                      </a:cubicBezTo>
                      <a:cubicBezTo>
                        <a:pt x="2117" y="160"/>
                        <a:pt x="2107" y="154"/>
                        <a:pt x="2091" y="154"/>
                      </a:cubicBezTo>
                      <a:cubicBezTo>
                        <a:pt x="2074" y="154"/>
                        <a:pt x="2009" y="165"/>
                        <a:pt x="2009" y="165"/>
                      </a:cubicBezTo>
                      <a:cubicBezTo>
                        <a:pt x="2009" y="165"/>
                        <a:pt x="2065" y="171"/>
                        <a:pt x="2074" y="170"/>
                      </a:cubicBezTo>
                      <a:close/>
                      <a:moveTo>
                        <a:pt x="1990" y="214"/>
                      </a:moveTo>
                      <a:cubicBezTo>
                        <a:pt x="2052" y="218"/>
                        <a:pt x="2047" y="199"/>
                        <a:pt x="2047" y="199"/>
                      </a:cubicBezTo>
                      <a:cubicBezTo>
                        <a:pt x="2043" y="189"/>
                        <a:pt x="2043" y="189"/>
                        <a:pt x="2043" y="189"/>
                      </a:cubicBezTo>
                      <a:cubicBezTo>
                        <a:pt x="2089" y="184"/>
                        <a:pt x="2089" y="184"/>
                        <a:pt x="2089" y="184"/>
                      </a:cubicBezTo>
                      <a:cubicBezTo>
                        <a:pt x="2078" y="176"/>
                        <a:pt x="2078" y="176"/>
                        <a:pt x="2078" y="176"/>
                      </a:cubicBezTo>
                      <a:cubicBezTo>
                        <a:pt x="2033" y="178"/>
                        <a:pt x="2033" y="178"/>
                        <a:pt x="2033" y="178"/>
                      </a:cubicBezTo>
                      <a:cubicBezTo>
                        <a:pt x="2025" y="186"/>
                        <a:pt x="2025" y="186"/>
                        <a:pt x="2025" y="186"/>
                      </a:cubicBezTo>
                      <a:cubicBezTo>
                        <a:pt x="2025" y="186"/>
                        <a:pt x="1966" y="173"/>
                        <a:pt x="1959" y="189"/>
                      </a:cubicBezTo>
                      <a:cubicBezTo>
                        <a:pt x="1953" y="205"/>
                        <a:pt x="1990" y="214"/>
                        <a:pt x="1990" y="214"/>
                      </a:cubicBezTo>
                      <a:close/>
                      <a:moveTo>
                        <a:pt x="1785" y="257"/>
                      </a:moveTo>
                      <a:cubicBezTo>
                        <a:pt x="1749" y="275"/>
                        <a:pt x="1749" y="275"/>
                        <a:pt x="1749" y="275"/>
                      </a:cubicBezTo>
                      <a:cubicBezTo>
                        <a:pt x="1749" y="275"/>
                        <a:pt x="1784" y="281"/>
                        <a:pt x="1768" y="284"/>
                      </a:cubicBezTo>
                      <a:cubicBezTo>
                        <a:pt x="1752" y="288"/>
                        <a:pt x="1694" y="292"/>
                        <a:pt x="1694" y="292"/>
                      </a:cubicBezTo>
                      <a:cubicBezTo>
                        <a:pt x="1680" y="308"/>
                        <a:pt x="1680" y="308"/>
                        <a:pt x="1680" y="308"/>
                      </a:cubicBezTo>
                      <a:cubicBezTo>
                        <a:pt x="1717" y="303"/>
                        <a:pt x="1717" y="303"/>
                        <a:pt x="1717" y="303"/>
                      </a:cubicBezTo>
                      <a:cubicBezTo>
                        <a:pt x="1717" y="303"/>
                        <a:pt x="1732" y="308"/>
                        <a:pt x="1751" y="311"/>
                      </a:cubicBezTo>
                      <a:cubicBezTo>
                        <a:pt x="1770" y="314"/>
                        <a:pt x="1826" y="295"/>
                        <a:pt x="1826" y="295"/>
                      </a:cubicBezTo>
                      <a:cubicBezTo>
                        <a:pt x="1824" y="304"/>
                        <a:pt x="1824" y="304"/>
                        <a:pt x="1824" y="304"/>
                      </a:cubicBezTo>
                      <a:cubicBezTo>
                        <a:pt x="1824" y="304"/>
                        <a:pt x="1862" y="299"/>
                        <a:pt x="1892" y="297"/>
                      </a:cubicBezTo>
                      <a:cubicBezTo>
                        <a:pt x="1920" y="295"/>
                        <a:pt x="1895" y="302"/>
                        <a:pt x="1885" y="304"/>
                      </a:cubicBezTo>
                      <a:cubicBezTo>
                        <a:pt x="1875" y="305"/>
                        <a:pt x="1841" y="309"/>
                        <a:pt x="1816" y="312"/>
                      </a:cubicBezTo>
                      <a:cubicBezTo>
                        <a:pt x="1791" y="315"/>
                        <a:pt x="1760" y="326"/>
                        <a:pt x="1760" y="326"/>
                      </a:cubicBezTo>
                      <a:cubicBezTo>
                        <a:pt x="1760" y="326"/>
                        <a:pt x="1788" y="331"/>
                        <a:pt x="1838" y="333"/>
                      </a:cubicBezTo>
                      <a:cubicBezTo>
                        <a:pt x="1886" y="334"/>
                        <a:pt x="1920" y="313"/>
                        <a:pt x="1920" y="313"/>
                      </a:cubicBezTo>
                      <a:cubicBezTo>
                        <a:pt x="1970" y="300"/>
                        <a:pt x="1970" y="300"/>
                        <a:pt x="1970" y="300"/>
                      </a:cubicBezTo>
                      <a:cubicBezTo>
                        <a:pt x="1970" y="300"/>
                        <a:pt x="1987" y="306"/>
                        <a:pt x="2035" y="300"/>
                      </a:cubicBezTo>
                      <a:cubicBezTo>
                        <a:pt x="2081" y="294"/>
                        <a:pt x="2084" y="284"/>
                        <a:pt x="2103" y="279"/>
                      </a:cubicBezTo>
                      <a:cubicBezTo>
                        <a:pt x="2121" y="274"/>
                        <a:pt x="2106" y="254"/>
                        <a:pt x="2086" y="254"/>
                      </a:cubicBezTo>
                      <a:cubicBezTo>
                        <a:pt x="2066" y="255"/>
                        <a:pt x="2072" y="268"/>
                        <a:pt x="2072" y="268"/>
                      </a:cubicBezTo>
                      <a:cubicBezTo>
                        <a:pt x="2045" y="267"/>
                        <a:pt x="2045" y="267"/>
                        <a:pt x="2045" y="267"/>
                      </a:cubicBezTo>
                      <a:cubicBezTo>
                        <a:pt x="2045" y="267"/>
                        <a:pt x="2050" y="260"/>
                        <a:pt x="2055" y="252"/>
                      </a:cubicBezTo>
                      <a:cubicBezTo>
                        <a:pt x="2060" y="244"/>
                        <a:pt x="2073" y="229"/>
                        <a:pt x="2061" y="229"/>
                      </a:cubicBezTo>
                      <a:cubicBezTo>
                        <a:pt x="2049" y="228"/>
                        <a:pt x="2024" y="239"/>
                        <a:pt x="1991" y="249"/>
                      </a:cubicBezTo>
                      <a:cubicBezTo>
                        <a:pt x="1957" y="259"/>
                        <a:pt x="2012" y="256"/>
                        <a:pt x="2012" y="256"/>
                      </a:cubicBezTo>
                      <a:cubicBezTo>
                        <a:pt x="2009" y="272"/>
                        <a:pt x="2009" y="272"/>
                        <a:pt x="2009" y="272"/>
                      </a:cubicBezTo>
                      <a:cubicBezTo>
                        <a:pt x="1929" y="282"/>
                        <a:pt x="1929" y="282"/>
                        <a:pt x="1929" y="282"/>
                      </a:cubicBezTo>
                      <a:cubicBezTo>
                        <a:pt x="1929" y="282"/>
                        <a:pt x="1923" y="262"/>
                        <a:pt x="1928" y="253"/>
                      </a:cubicBezTo>
                      <a:cubicBezTo>
                        <a:pt x="1932" y="244"/>
                        <a:pt x="1875" y="240"/>
                        <a:pt x="1875" y="240"/>
                      </a:cubicBezTo>
                      <a:lnTo>
                        <a:pt x="1785" y="257"/>
                      </a:lnTo>
                      <a:close/>
                      <a:moveTo>
                        <a:pt x="1887" y="230"/>
                      </a:moveTo>
                      <a:cubicBezTo>
                        <a:pt x="1905" y="215"/>
                        <a:pt x="1886" y="206"/>
                        <a:pt x="1868" y="216"/>
                      </a:cubicBezTo>
                      <a:cubicBezTo>
                        <a:pt x="1849" y="226"/>
                        <a:pt x="1887" y="230"/>
                        <a:pt x="1887" y="230"/>
                      </a:cubicBezTo>
                      <a:close/>
                      <a:moveTo>
                        <a:pt x="2008" y="377"/>
                      </a:moveTo>
                      <a:cubicBezTo>
                        <a:pt x="1988" y="361"/>
                        <a:pt x="1988" y="361"/>
                        <a:pt x="1988" y="361"/>
                      </a:cubicBezTo>
                      <a:cubicBezTo>
                        <a:pt x="1969" y="363"/>
                        <a:pt x="1969" y="363"/>
                        <a:pt x="1969" y="363"/>
                      </a:cubicBezTo>
                      <a:cubicBezTo>
                        <a:pt x="1969" y="363"/>
                        <a:pt x="1957" y="348"/>
                        <a:pt x="1932" y="357"/>
                      </a:cubicBezTo>
                      <a:cubicBezTo>
                        <a:pt x="1906" y="365"/>
                        <a:pt x="1964" y="389"/>
                        <a:pt x="1964" y="389"/>
                      </a:cubicBezTo>
                      <a:lnTo>
                        <a:pt x="2008" y="377"/>
                      </a:lnTo>
                      <a:close/>
                      <a:moveTo>
                        <a:pt x="1638" y="280"/>
                      </a:moveTo>
                      <a:cubicBezTo>
                        <a:pt x="1598" y="290"/>
                        <a:pt x="1626" y="295"/>
                        <a:pt x="1626" y="295"/>
                      </a:cubicBezTo>
                      <a:cubicBezTo>
                        <a:pt x="1683" y="281"/>
                        <a:pt x="1679" y="269"/>
                        <a:pt x="1638" y="280"/>
                      </a:cubicBezTo>
                      <a:close/>
                      <a:moveTo>
                        <a:pt x="1978" y="572"/>
                      </a:moveTo>
                      <a:cubicBezTo>
                        <a:pt x="1997" y="574"/>
                        <a:pt x="2006" y="580"/>
                        <a:pt x="2022" y="588"/>
                      </a:cubicBezTo>
                      <a:cubicBezTo>
                        <a:pt x="2038" y="596"/>
                        <a:pt x="2092" y="587"/>
                        <a:pt x="2092" y="587"/>
                      </a:cubicBezTo>
                      <a:cubicBezTo>
                        <a:pt x="2078" y="542"/>
                        <a:pt x="2078" y="542"/>
                        <a:pt x="2078" y="542"/>
                      </a:cubicBezTo>
                      <a:cubicBezTo>
                        <a:pt x="2012" y="528"/>
                        <a:pt x="2012" y="528"/>
                        <a:pt x="2012" y="528"/>
                      </a:cubicBezTo>
                      <a:cubicBezTo>
                        <a:pt x="1990" y="553"/>
                        <a:pt x="1990" y="553"/>
                        <a:pt x="1990" y="553"/>
                      </a:cubicBezTo>
                      <a:cubicBezTo>
                        <a:pt x="1968" y="555"/>
                        <a:pt x="1968" y="555"/>
                        <a:pt x="1968" y="555"/>
                      </a:cubicBezTo>
                      <a:cubicBezTo>
                        <a:pt x="1968" y="555"/>
                        <a:pt x="1959" y="571"/>
                        <a:pt x="1978" y="572"/>
                      </a:cubicBezTo>
                      <a:close/>
                      <a:moveTo>
                        <a:pt x="109" y="1360"/>
                      </a:moveTo>
                      <a:cubicBezTo>
                        <a:pt x="109" y="1369"/>
                        <a:pt x="126" y="1366"/>
                        <a:pt x="126" y="1366"/>
                      </a:cubicBezTo>
                      <a:cubicBezTo>
                        <a:pt x="124" y="1383"/>
                        <a:pt x="124" y="1383"/>
                        <a:pt x="124" y="1383"/>
                      </a:cubicBezTo>
                      <a:cubicBezTo>
                        <a:pt x="143" y="1371"/>
                        <a:pt x="143" y="1371"/>
                        <a:pt x="143" y="1371"/>
                      </a:cubicBezTo>
                      <a:cubicBezTo>
                        <a:pt x="141" y="1354"/>
                        <a:pt x="141" y="1354"/>
                        <a:pt x="141" y="1354"/>
                      </a:cubicBezTo>
                      <a:cubicBezTo>
                        <a:pt x="141" y="1354"/>
                        <a:pt x="109" y="1351"/>
                        <a:pt x="109" y="1360"/>
                      </a:cubicBezTo>
                      <a:close/>
                      <a:moveTo>
                        <a:pt x="166" y="1535"/>
                      </a:moveTo>
                      <a:cubicBezTo>
                        <a:pt x="166" y="1535"/>
                        <a:pt x="163" y="1521"/>
                        <a:pt x="164" y="1514"/>
                      </a:cubicBezTo>
                      <a:cubicBezTo>
                        <a:pt x="165" y="1507"/>
                        <a:pt x="170" y="1495"/>
                        <a:pt x="162" y="1485"/>
                      </a:cubicBezTo>
                      <a:cubicBezTo>
                        <a:pt x="162" y="1485"/>
                        <a:pt x="136" y="1481"/>
                        <a:pt x="127" y="1479"/>
                      </a:cubicBezTo>
                      <a:cubicBezTo>
                        <a:pt x="118" y="1477"/>
                        <a:pt x="103" y="1453"/>
                        <a:pt x="91" y="1452"/>
                      </a:cubicBezTo>
                      <a:cubicBezTo>
                        <a:pt x="79" y="1451"/>
                        <a:pt x="59" y="1463"/>
                        <a:pt x="64" y="1471"/>
                      </a:cubicBezTo>
                      <a:cubicBezTo>
                        <a:pt x="69" y="1479"/>
                        <a:pt x="78" y="1477"/>
                        <a:pt x="78" y="1477"/>
                      </a:cubicBezTo>
                      <a:cubicBezTo>
                        <a:pt x="87" y="1471"/>
                        <a:pt x="87" y="1471"/>
                        <a:pt x="87" y="1471"/>
                      </a:cubicBezTo>
                      <a:cubicBezTo>
                        <a:pt x="94" y="1476"/>
                        <a:pt x="94" y="1476"/>
                        <a:pt x="94" y="1476"/>
                      </a:cubicBezTo>
                      <a:cubicBezTo>
                        <a:pt x="88" y="1483"/>
                        <a:pt x="88" y="1483"/>
                        <a:pt x="88" y="1483"/>
                      </a:cubicBezTo>
                      <a:cubicBezTo>
                        <a:pt x="88" y="1483"/>
                        <a:pt x="59" y="1488"/>
                        <a:pt x="67" y="1497"/>
                      </a:cubicBezTo>
                      <a:cubicBezTo>
                        <a:pt x="75" y="1506"/>
                        <a:pt x="90" y="1497"/>
                        <a:pt x="90" y="1497"/>
                      </a:cubicBezTo>
                      <a:cubicBezTo>
                        <a:pt x="85" y="1512"/>
                        <a:pt x="85" y="1512"/>
                        <a:pt x="85" y="1512"/>
                      </a:cubicBezTo>
                      <a:cubicBezTo>
                        <a:pt x="100" y="1511"/>
                        <a:pt x="100" y="1511"/>
                        <a:pt x="100" y="1511"/>
                      </a:cubicBezTo>
                      <a:cubicBezTo>
                        <a:pt x="86" y="1522"/>
                        <a:pt x="86" y="1522"/>
                        <a:pt x="86" y="1522"/>
                      </a:cubicBezTo>
                      <a:cubicBezTo>
                        <a:pt x="112" y="1520"/>
                        <a:pt x="112" y="1520"/>
                        <a:pt x="112" y="1520"/>
                      </a:cubicBezTo>
                      <a:cubicBezTo>
                        <a:pt x="112" y="1520"/>
                        <a:pt x="85" y="1531"/>
                        <a:pt x="91" y="1536"/>
                      </a:cubicBezTo>
                      <a:cubicBezTo>
                        <a:pt x="97" y="1541"/>
                        <a:pt x="109" y="1520"/>
                        <a:pt x="115" y="1531"/>
                      </a:cubicBezTo>
                      <a:cubicBezTo>
                        <a:pt x="121" y="1542"/>
                        <a:pt x="99" y="1546"/>
                        <a:pt x="105" y="1553"/>
                      </a:cubicBezTo>
                      <a:cubicBezTo>
                        <a:pt x="111" y="1560"/>
                        <a:pt x="137" y="1555"/>
                        <a:pt x="137" y="1555"/>
                      </a:cubicBezTo>
                      <a:cubicBezTo>
                        <a:pt x="150" y="1547"/>
                        <a:pt x="150" y="1547"/>
                        <a:pt x="150" y="1547"/>
                      </a:cubicBezTo>
                      <a:cubicBezTo>
                        <a:pt x="138" y="1561"/>
                        <a:pt x="138" y="1561"/>
                        <a:pt x="138" y="1561"/>
                      </a:cubicBezTo>
                      <a:cubicBezTo>
                        <a:pt x="138" y="1561"/>
                        <a:pt x="113" y="1561"/>
                        <a:pt x="124" y="1570"/>
                      </a:cubicBezTo>
                      <a:cubicBezTo>
                        <a:pt x="135" y="1579"/>
                        <a:pt x="144" y="1579"/>
                        <a:pt x="144" y="1579"/>
                      </a:cubicBezTo>
                      <a:cubicBezTo>
                        <a:pt x="144" y="1579"/>
                        <a:pt x="168" y="1596"/>
                        <a:pt x="180" y="1586"/>
                      </a:cubicBezTo>
                      <a:cubicBezTo>
                        <a:pt x="192" y="1576"/>
                        <a:pt x="201" y="1568"/>
                        <a:pt x="192" y="1557"/>
                      </a:cubicBezTo>
                      <a:cubicBezTo>
                        <a:pt x="183" y="1546"/>
                        <a:pt x="166" y="1535"/>
                        <a:pt x="166" y="1535"/>
                      </a:cubicBezTo>
                      <a:close/>
                      <a:moveTo>
                        <a:pt x="1536" y="249"/>
                      </a:moveTo>
                      <a:cubicBezTo>
                        <a:pt x="1536" y="249"/>
                        <a:pt x="1574" y="242"/>
                        <a:pt x="1583" y="248"/>
                      </a:cubicBezTo>
                      <a:cubicBezTo>
                        <a:pt x="1593" y="254"/>
                        <a:pt x="1587" y="264"/>
                        <a:pt x="1599" y="264"/>
                      </a:cubicBezTo>
                      <a:cubicBezTo>
                        <a:pt x="1612" y="264"/>
                        <a:pt x="1634" y="259"/>
                        <a:pt x="1634" y="259"/>
                      </a:cubicBezTo>
                      <a:cubicBezTo>
                        <a:pt x="1634" y="259"/>
                        <a:pt x="1650" y="268"/>
                        <a:pt x="1665" y="261"/>
                      </a:cubicBezTo>
                      <a:cubicBezTo>
                        <a:pt x="1681" y="255"/>
                        <a:pt x="1678" y="238"/>
                        <a:pt x="1678" y="238"/>
                      </a:cubicBezTo>
                      <a:cubicBezTo>
                        <a:pt x="1700" y="238"/>
                        <a:pt x="1700" y="238"/>
                        <a:pt x="1700" y="238"/>
                      </a:cubicBezTo>
                      <a:cubicBezTo>
                        <a:pt x="1744" y="224"/>
                        <a:pt x="1744" y="224"/>
                        <a:pt x="1744" y="224"/>
                      </a:cubicBezTo>
                      <a:cubicBezTo>
                        <a:pt x="1719" y="247"/>
                        <a:pt x="1719" y="247"/>
                        <a:pt x="1719" y="247"/>
                      </a:cubicBezTo>
                      <a:cubicBezTo>
                        <a:pt x="1754" y="253"/>
                        <a:pt x="1754" y="253"/>
                        <a:pt x="1754" y="253"/>
                      </a:cubicBezTo>
                      <a:cubicBezTo>
                        <a:pt x="1791" y="238"/>
                        <a:pt x="1791" y="238"/>
                        <a:pt x="1791" y="238"/>
                      </a:cubicBezTo>
                      <a:cubicBezTo>
                        <a:pt x="1854" y="209"/>
                        <a:pt x="1854" y="209"/>
                        <a:pt x="1854" y="209"/>
                      </a:cubicBezTo>
                      <a:cubicBezTo>
                        <a:pt x="1854" y="209"/>
                        <a:pt x="1806" y="194"/>
                        <a:pt x="1797" y="194"/>
                      </a:cubicBezTo>
                      <a:cubicBezTo>
                        <a:pt x="1787" y="194"/>
                        <a:pt x="1734" y="190"/>
                        <a:pt x="1734" y="190"/>
                      </a:cubicBezTo>
                      <a:cubicBezTo>
                        <a:pt x="1683" y="198"/>
                        <a:pt x="1683" y="198"/>
                        <a:pt x="1683" y="198"/>
                      </a:cubicBezTo>
                      <a:cubicBezTo>
                        <a:pt x="1680" y="212"/>
                        <a:pt x="1680" y="212"/>
                        <a:pt x="1680" y="212"/>
                      </a:cubicBezTo>
                      <a:cubicBezTo>
                        <a:pt x="1602" y="218"/>
                        <a:pt x="1602" y="218"/>
                        <a:pt x="1602" y="218"/>
                      </a:cubicBezTo>
                      <a:cubicBezTo>
                        <a:pt x="1602" y="218"/>
                        <a:pt x="1576" y="209"/>
                        <a:pt x="1554" y="213"/>
                      </a:cubicBezTo>
                      <a:cubicBezTo>
                        <a:pt x="1532" y="216"/>
                        <a:pt x="1535" y="224"/>
                        <a:pt x="1535" y="224"/>
                      </a:cubicBezTo>
                      <a:cubicBezTo>
                        <a:pt x="1535" y="229"/>
                        <a:pt x="1536" y="249"/>
                        <a:pt x="1536" y="249"/>
                      </a:cubicBezTo>
                      <a:close/>
                      <a:moveTo>
                        <a:pt x="100" y="1323"/>
                      </a:moveTo>
                      <a:cubicBezTo>
                        <a:pt x="102" y="1338"/>
                        <a:pt x="113" y="1344"/>
                        <a:pt x="113" y="1344"/>
                      </a:cubicBezTo>
                      <a:cubicBezTo>
                        <a:pt x="121" y="1323"/>
                        <a:pt x="121" y="1323"/>
                        <a:pt x="121" y="1323"/>
                      </a:cubicBezTo>
                      <a:cubicBezTo>
                        <a:pt x="121" y="1323"/>
                        <a:pt x="98" y="1308"/>
                        <a:pt x="100" y="1323"/>
                      </a:cubicBezTo>
                      <a:close/>
                      <a:moveTo>
                        <a:pt x="82" y="1291"/>
                      </a:moveTo>
                      <a:cubicBezTo>
                        <a:pt x="78" y="1290"/>
                        <a:pt x="62" y="1294"/>
                        <a:pt x="56" y="1297"/>
                      </a:cubicBezTo>
                      <a:cubicBezTo>
                        <a:pt x="50" y="1300"/>
                        <a:pt x="45" y="1315"/>
                        <a:pt x="35" y="1315"/>
                      </a:cubicBezTo>
                      <a:cubicBezTo>
                        <a:pt x="25" y="1315"/>
                        <a:pt x="24" y="1307"/>
                        <a:pt x="34" y="1307"/>
                      </a:cubicBezTo>
                      <a:cubicBezTo>
                        <a:pt x="44" y="1307"/>
                        <a:pt x="62" y="1294"/>
                        <a:pt x="48" y="1295"/>
                      </a:cubicBezTo>
                      <a:cubicBezTo>
                        <a:pt x="34" y="1296"/>
                        <a:pt x="32" y="1299"/>
                        <a:pt x="32" y="1299"/>
                      </a:cubicBezTo>
                      <a:cubicBezTo>
                        <a:pt x="32" y="1299"/>
                        <a:pt x="35" y="1285"/>
                        <a:pt x="24" y="1289"/>
                      </a:cubicBezTo>
                      <a:cubicBezTo>
                        <a:pt x="13" y="1293"/>
                        <a:pt x="11" y="1306"/>
                        <a:pt x="11" y="1306"/>
                      </a:cubicBezTo>
                      <a:cubicBezTo>
                        <a:pt x="3" y="1324"/>
                        <a:pt x="3" y="1324"/>
                        <a:pt x="3" y="1324"/>
                      </a:cubicBezTo>
                      <a:cubicBezTo>
                        <a:pt x="3" y="1324"/>
                        <a:pt x="0" y="1336"/>
                        <a:pt x="3" y="1337"/>
                      </a:cubicBezTo>
                      <a:cubicBezTo>
                        <a:pt x="6" y="1338"/>
                        <a:pt x="9" y="1347"/>
                        <a:pt x="9" y="1347"/>
                      </a:cubicBezTo>
                      <a:cubicBezTo>
                        <a:pt x="0" y="1351"/>
                        <a:pt x="0" y="1351"/>
                        <a:pt x="0" y="1351"/>
                      </a:cubicBezTo>
                      <a:cubicBezTo>
                        <a:pt x="5" y="1386"/>
                        <a:pt x="5" y="1386"/>
                        <a:pt x="5" y="1386"/>
                      </a:cubicBezTo>
                      <a:cubicBezTo>
                        <a:pt x="5" y="1386"/>
                        <a:pt x="0" y="1398"/>
                        <a:pt x="16" y="1397"/>
                      </a:cubicBezTo>
                      <a:cubicBezTo>
                        <a:pt x="27" y="1396"/>
                        <a:pt x="16" y="1379"/>
                        <a:pt x="13" y="1372"/>
                      </a:cubicBezTo>
                      <a:cubicBezTo>
                        <a:pt x="10" y="1365"/>
                        <a:pt x="18" y="1359"/>
                        <a:pt x="23" y="1356"/>
                      </a:cubicBezTo>
                      <a:cubicBezTo>
                        <a:pt x="28" y="1353"/>
                        <a:pt x="36" y="1344"/>
                        <a:pt x="34" y="1340"/>
                      </a:cubicBezTo>
                      <a:cubicBezTo>
                        <a:pt x="34" y="1340"/>
                        <a:pt x="32" y="1329"/>
                        <a:pt x="38" y="1324"/>
                      </a:cubicBezTo>
                      <a:cubicBezTo>
                        <a:pt x="44" y="1319"/>
                        <a:pt x="55" y="1308"/>
                        <a:pt x="64" y="1303"/>
                      </a:cubicBezTo>
                      <a:cubicBezTo>
                        <a:pt x="73" y="1298"/>
                        <a:pt x="86" y="1292"/>
                        <a:pt x="82" y="1291"/>
                      </a:cubicBezTo>
                      <a:close/>
                      <a:moveTo>
                        <a:pt x="1263" y="454"/>
                      </a:moveTo>
                      <a:cubicBezTo>
                        <a:pt x="1268" y="466"/>
                        <a:pt x="1238" y="482"/>
                        <a:pt x="1266" y="478"/>
                      </a:cubicBezTo>
                      <a:cubicBezTo>
                        <a:pt x="1294" y="474"/>
                        <a:pt x="1328" y="462"/>
                        <a:pt x="1328" y="462"/>
                      </a:cubicBezTo>
                      <a:cubicBezTo>
                        <a:pt x="1354" y="468"/>
                        <a:pt x="1354" y="468"/>
                        <a:pt x="1354" y="468"/>
                      </a:cubicBezTo>
                      <a:cubicBezTo>
                        <a:pt x="1405" y="430"/>
                        <a:pt x="1405" y="430"/>
                        <a:pt x="1405" y="430"/>
                      </a:cubicBezTo>
                      <a:cubicBezTo>
                        <a:pt x="1493" y="402"/>
                        <a:pt x="1493" y="402"/>
                        <a:pt x="1493" y="402"/>
                      </a:cubicBezTo>
                      <a:cubicBezTo>
                        <a:pt x="1576" y="379"/>
                        <a:pt x="1576" y="379"/>
                        <a:pt x="1576" y="379"/>
                      </a:cubicBezTo>
                      <a:cubicBezTo>
                        <a:pt x="1642" y="366"/>
                        <a:pt x="1642" y="366"/>
                        <a:pt x="1642" y="366"/>
                      </a:cubicBezTo>
                      <a:cubicBezTo>
                        <a:pt x="1642" y="366"/>
                        <a:pt x="1603" y="334"/>
                        <a:pt x="1600" y="330"/>
                      </a:cubicBezTo>
                      <a:cubicBezTo>
                        <a:pt x="1596" y="327"/>
                        <a:pt x="1549" y="333"/>
                        <a:pt x="1549" y="333"/>
                      </a:cubicBezTo>
                      <a:cubicBezTo>
                        <a:pt x="1505" y="339"/>
                        <a:pt x="1505" y="339"/>
                        <a:pt x="1505" y="339"/>
                      </a:cubicBezTo>
                      <a:cubicBezTo>
                        <a:pt x="1481" y="321"/>
                        <a:pt x="1481" y="321"/>
                        <a:pt x="1481" y="321"/>
                      </a:cubicBezTo>
                      <a:cubicBezTo>
                        <a:pt x="1427" y="328"/>
                        <a:pt x="1427" y="328"/>
                        <a:pt x="1427" y="328"/>
                      </a:cubicBezTo>
                      <a:cubicBezTo>
                        <a:pt x="1393" y="338"/>
                        <a:pt x="1393" y="338"/>
                        <a:pt x="1393" y="338"/>
                      </a:cubicBezTo>
                      <a:cubicBezTo>
                        <a:pt x="1383" y="351"/>
                        <a:pt x="1383" y="351"/>
                        <a:pt x="1383" y="351"/>
                      </a:cubicBezTo>
                      <a:cubicBezTo>
                        <a:pt x="1372" y="371"/>
                        <a:pt x="1372" y="371"/>
                        <a:pt x="1372" y="371"/>
                      </a:cubicBezTo>
                      <a:cubicBezTo>
                        <a:pt x="1340" y="380"/>
                        <a:pt x="1340" y="380"/>
                        <a:pt x="1340" y="380"/>
                      </a:cubicBezTo>
                      <a:cubicBezTo>
                        <a:pt x="1294" y="393"/>
                        <a:pt x="1294" y="393"/>
                        <a:pt x="1294" y="393"/>
                      </a:cubicBezTo>
                      <a:cubicBezTo>
                        <a:pt x="1307" y="401"/>
                        <a:pt x="1307" y="401"/>
                        <a:pt x="1307" y="401"/>
                      </a:cubicBezTo>
                      <a:cubicBezTo>
                        <a:pt x="1227" y="437"/>
                        <a:pt x="1227" y="437"/>
                        <a:pt x="1227" y="437"/>
                      </a:cubicBezTo>
                      <a:cubicBezTo>
                        <a:pt x="1227" y="437"/>
                        <a:pt x="1259" y="442"/>
                        <a:pt x="1263" y="454"/>
                      </a:cubicBezTo>
                      <a:close/>
                      <a:moveTo>
                        <a:pt x="132" y="1313"/>
                      </a:moveTo>
                      <a:cubicBezTo>
                        <a:pt x="125" y="1331"/>
                        <a:pt x="125" y="1331"/>
                        <a:pt x="125" y="1331"/>
                      </a:cubicBezTo>
                      <a:cubicBezTo>
                        <a:pt x="127" y="1343"/>
                        <a:pt x="127" y="1343"/>
                        <a:pt x="127" y="1343"/>
                      </a:cubicBezTo>
                      <a:cubicBezTo>
                        <a:pt x="143" y="1333"/>
                        <a:pt x="143" y="1333"/>
                        <a:pt x="143" y="1333"/>
                      </a:cubicBezTo>
                      <a:lnTo>
                        <a:pt x="132" y="1313"/>
                      </a:lnTo>
                      <a:close/>
                      <a:moveTo>
                        <a:pt x="2786" y="403"/>
                      </a:moveTo>
                      <a:cubicBezTo>
                        <a:pt x="2802" y="409"/>
                        <a:pt x="2824" y="395"/>
                        <a:pt x="2824" y="395"/>
                      </a:cubicBezTo>
                      <a:cubicBezTo>
                        <a:pt x="2865" y="394"/>
                        <a:pt x="2865" y="394"/>
                        <a:pt x="2865" y="394"/>
                      </a:cubicBezTo>
                      <a:cubicBezTo>
                        <a:pt x="2865" y="394"/>
                        <a:pt x="2891" y="404"/>
                        <a:pt x="2899" y="398"/>
                      </a:cubicBezTo>
                      <a:cubicBezTo>
                        <a:pt x="2906" y="393"/>
                        <a:pt x="2900" y="370"/>
                        <a:pt x="2883" y="366"/>
                      </a:cubicBezTo>
                      <a:cubicBezTo>
                        <a:pt x="2865" y="362"/>
                        <a:pt x="2849" y="367"/>
                        <a:pt x="2849" y="367"/>
                      </a:cubicBezTo>
                      <a:cubicBezTo>
                        <a:pt x="2823" y="367"/>
                        <a:pt x="2823" y="367"/>
                        <a:pt x="2823" y="367"/>
                      </a:cubicBezTo>
                      <a:cubicBezTo>
                        <a:pt x="2823" y="367"/>
                        <a:pt x="2793" y="355"/>
                        <a:pt x="2782" y="364"/>
                      </a:cubicBezTo>
                      <a:cubicBezTo>
                        <a:pt x="2772" y="372"/>
                        <a:pt x="2768" y="378"/>
                        <a:pt x="2768" y="378"/>
                      </a:cubicBezTo>
                      <a:cubicBezTo>
                        <a:pt x="2781" y="385"/>
                        <a:pt x="2781" y="385"/>
                        <a:pt x="2781" y="385"/>
                      </a:cubicBezTo>
                      <a:cubicBezTo>
                        <a:pt x="2781" y="385"/>
                        <a:pt x="2772" y="397"/>
                        <a:pt x="2786" y="403"/>
                      </a:cubicBezTo>
                      <a:close/>
                      <a:moveTo>
                        <a:pt x="2471" y="347"/>
                      </a:moveTo>
                      <a:cubicBezTo>
                        <a:pt x="2457" y="346"/>
                        <a:pt x="2380" y="337"/>
                        <a:pt x="2339" y="339"/>
                      </a:cubicBezTo>
                      <a:cubicBezTo>
                        <a:pt x="2300" y="340"/>
                        <a:pt x="2311" y="339"/>
                        <a:pt x="2310" y="347"/>
                      </a:cubicBezTo>
                      <a:cubicBezTo>
                        <a:pt x="2308" y="356"/>
                        <a:pt x="2294" y="359"/>
                        <a:pt x="2260" y="367"/>
                      </a:cubicBezTo>
                      <a:cubicBezTo>
                        <a:pt x="2227" y="374"/>
                        <a:pt x="2259" y="375"/>
                        <a:pt x="2257" y="397"/>
                      </a:cubicBezTo>
                      <a:cubicBezTo>
                        <a:pt x="2245" y="414"/>
                        <a:pt x="2245" y="414"/>
                        <a:pt x="2245" y="414"/>
                      </a:cubicBezTo>
                      <a:cubicBezTo>
                        <a:pt x="2265" y="426"/>
                        <a:pt x="2265" y="426"/>
                        <a:pt x="2265" y="426"/>
                      </a:cubicBezTo>
                      <a:cubicBezTo>
                        <a:pt x="2318" y="404"/>
                        <a:pt x="2318" y="404"/>
                        <a:pt x="2318" y="404"/>
                      </a:cubicBezTo>
                      <a:cubicBezTo>
                        <a:pt x="2318" y="404"/>
                        <a:pt x="2299" y="397"/>
                        <a:pt x="2323" y="390"/>
                      </a:cubicBezTo>
                      <a:cubicBezTo>
                        <a:pt x="2348" y="383"/>
                        <a:pt x="2365" y="403"/>
                        <a:pt x="2365" y="403"/>
                      </a:cubicBezTo>
                      <a:cubicBezTo>
                        <a:pt x="2403" y="398"/>
                        <a:pt x="2403" y="398"/>
                        <a:pt x="2403" y="398"/>
                      </a:cubicBezTo>
                      <a:cubicBezTo>
                        <a:pt x="2398" y="383"/>
                        <a:pt x="2398" y="383"/>
                        <a:pt x="2398" y="383"/>
                      </a:cubicBezTo>
                      <a:cubicBezTo>
                        <a:pt x="2398" y="383"/>
                        <a:pt x="2447" y="381"/>
                        <a:pt x="2457" y="369"/>
                      </a:cubicBezTo>
                      <a:cubicBezTo>
                        <a:pt x="2467" y="358"/>
                        <a:pt x="2484" y="347"/>
                        <a:pt x="2471" y="347"/>
                      </a:cubicBezTo>
                      <a:close/>
                      <a:moveTo>
                        <a:pt x="2526" y="101"/>
                      </a:moveTo>
                      <a:cubicBezTo>
                        <a:pt x="2489" y="105"/>
                        <a:pt x="2489" y="105"/>
                        <a:pt x="2489" y="105"/>
                      </a:cubicBezTo>
                      <a:cubicBezTo>
                        <a:pt x="2503" y="123"/>
                        <a:pt x="2503" y="123"/>
                        <a:pt x="2503" y="123"/>
                      </a:cubicBezTo>
                      <a:lnTo>
                        <a:pt x="2526" y="101"/>
                      </a:lnTo>
                      <a:close/>
                      <a:moveTo>
                        <a:pt x="2406" y="324"/>
                      </a:moveTo>
                      <a:cubicBezTo>
                        <a:pt x="2417" y="317"/>
                        <a:pt x="2442" y="298"/>
                        <a:pt x="2438" y="290"/>
                      </a:cubicBezTo>
                      <a:cubicBezTo>
                        <a:pt x="2434" y="281"/>
                        <a:pt x="2400" y="283"/>
                        <a:pt x="2389" y="284"/>
                      </a:cubicBezTo>
                      <a:cubicBezTo>
                        <a:pt x="2366" y="286"/>
                        <a:pt x="2322" y="301"/>
                        <a:pt x="2334" y="309"/>
                      </a:cubicBezTo>
                      <a:cubicBezTo>
                        <a:pt x="2346" y="316"/>
                        <a:pt x="2406" y="324"/>
                        <a:pt x="2406" y="324"/>
                      </a:cubicBezTo>
                      <a:close/>
                      <a:moveTo>
                        <a:pt x="2634" y="123"/>
                      </a:moveTo>
                      <a:cubicBezTo>
                        <a:pt x="2598" y="131"/>
                        <a:pt x="2598" y="131"/>
                        <a:pt x="2598" y="131"/>
                      </a:cubicBezTo>
                      <a:cubicBezTo>
                        <a:pt x="2623" y="142"/>
                        <a:pt x="2623" y="142"/>
                        <a:pt x="2623" y="142"/>
                      </a:cubicBezTo>
                      <a:cubicBezTo>
                        <a:pt x="2623" y="142"/>
                        <a:pt x="2609" y="146"/>
                        <a:pt x="2611" y="156"/>
                      </a:cubicBezTo>
                      <a:cubicBezTo>
                        <a:pt x="2613" y="165"/>
                        <a:pt x="2640" y="162"/>
                        <a:pt x="2640" y="162"/>
                      </a:cubicBezTo>
                      <a:cubicBezTo>
                        <a:pt x="2627" y="171"/>
                        <a:pt x="2627" y="171"/>
                        <a:pt x="2627" y="171"/>
                      </a:cubicBezTo>
                      <a:cubicBezTo>
                        <a:pt x="2627" y="171"/>
                        <a:pt x="2645" y="175"/>
                        <a:pt x="2659" y="184"/>
                      </a:cubicBezTo>
                      <a:cubicBezTo>
                        <a:pt x="2673" y="192"/>
                        <a:pt x="2698" y="172"/>
                        <a:pt x="2698" y="172"/>
                      </a:cubicBezTo>
                      <a:cubicBezTo>
                        <a:pt x="2714" y="164"/>
                        <a:pt x="2714" y="164"/>
                        <a:pt x="2714" y="164"/>
                      </a:cubicBezTo>
                      <a:cubicBezTo>
                        <a:pt x="2714" y="164"/>
                        <a:pt x="2719" y="170"/>
                        <a:pt x="2725" y="181"/>
                      </a:cubicBezTo>
                      <a:cubicBezTo>
                        <a:pt x="2732" y="191"/>
                        <a:pt x="2756" y="173"/>
                        <a:pt x="2765" y="171"/>
                      </a:cubicBezTo>
                      <a:cubicBezTo>
                        <a:pt x="2774" y="169"/>
                        <a:pt x="2787" y="155"/>
                        <a:pt x="2787" y="155"/>
                      </a:cubicBezTo>
                      <a:cubicBezTo>
                        <a:pt x="2795" y="164"/>
                        <a:pt x="2795" y="164"/>
                        <a:pt x="2795" y="164"/>
                      </a:cubicBezTo>
                      <a:cubicBezTo>
                        <a:pt x="2795" y="164"/>
                        <a:pt x="2808" y="151"/>
                        <a:pt x="2810" y="146"/>
                      </a:cubicBezTo>
                      <a:cubicBezTo>
                        <a:pt x="2812" y="141"/>
                        <a:pt x="2865" y="143"/>
                        <a:pt x="2877" y="143"/>
                      </a:cubicBezTo>
                      <a:cubicBezTo>
                        <a:pt x="2889" y="143"/>
                        <a:pt x="2886" y="129"/>
                        <a:pt x="2886" y="129"/>
                      </a:cubicBezTo>
                      <a:cubicBezTo>
                        <a:pt x="2844" y="128"/>
                        <a:pt x="2844" y="128"/>
                        <a:pt x="2844" y="128"/>
                      </a:cubicBezTo>
                      <a:cubicBezTo>
                        <a:pt x="2864" y="117"/>
                        <a:pt x="2864" y="117"/>
                        <a:pt x="2864" y="117"/>
                      </a:cubicBezTo>
                      <a:cubicBezTo>
                        <a:pt x="2864" y="117"/>
                        <a:pt x="2872" y="97"/>
                        <a:pt x="2867" y="90"/>
                      </a:cubicBezTo>
                      <a:cubicBezTo>
                        <a:pt x="2863" y="84"/>
                        <a:pt x="2829" y="102"/>
                        <a:pt x="2829" y="102"/>
                      </a:cubicBezTo>
                      <a:cubicBezTo>
                        <a:pt x="2826" y="85"/>
                        <a:pt x="2826" y="85"/>
                        <a:pt x="2826" y="85"/>
                      </a:cubicBezTo>
                      <a:cubicBezTo>
                        <a:pt x="2794" y="91"/>
                        <a:pt x="2794" y="91"/>
                        <a:pt x="2794" y="91"/>
                      </a:cubicBezTo>
                      <a:cubicBezTo>
                        <a:pt x="2794" y="91"/>
                        <a:pt x="2791" y="71"/>
                        <a:pt x="2781" y="60"/>
                      </a:cubicBezTo>
                      <a:cubicBezTo>
                        <a:pt x="2772" y="49"/>
                        <a:pt x="2730" y="72"/>
                        <a:pt x="2730" y="72"/>
                      </a:cubicBezTo>
                      <a:cubicBezTo>
                        <a:pt x="2678" y="75"/>
                        <a:pt x="2678" y="75"/>
                        <a:pt x="2678" y="75"/>
                      </a:cubicBezTo>
                      <a:cubicBezTo>
                        <a:pt x="2695" y="88"/>
                        <a:pt x="2695" y="88"/>
                        <a:pt x="2695" y="88"/>
                      </a:cubicBezTo>
                      <a:cubicBezTo>
                        <a:pt x="2695" y="88"/>
                        <a:pt x="2658" y="85"/>
                        <a:pt x="2645" y="89"/>
                      </a:cubicBezTo>
                      <a:cubicBezTo>
                        <a:pt x="2633" y="93"/>
                        <a:pt x="2653" y="106"/>
                        <a:pt x="2653" y="106"/>
                      </a:cubicBezTo>
                      <a:cubicBezTo>
                        <a:pt x="2653" y="106"/>
                        <a:pt x="2596" y="100"/>
                        <a:pt x="2592" y="114"/>
                      </a:cubicBezTo>
                      <a:cubicBezTo>
                        <a:pt x="2587" y="128"/>
                        <a:pt x="2634" y="123"/>
                        <a:pt x="2634" y="123"/>
                      </a:cubicBezTo>
                      <a:close/>
                      <a:moveTo>
                        <a:pt x="2644" y="199"/>
                      </a:moveTo>
                      <a:cubicBezTo>
                        <a:pt x="2622" y="203"/>
                        <a:pt x="2622" y="213"/>
                        <a:pt x="2622" y="213"/>
                      </a:cubicBezTo>
                      <a:cubicBezTo>
                        <a:pt x="2640" y="216"/>
                        <a:pt x="2640" y="216"/>
                        <a:pt x="2640" y="216"/>
                      </a:cubicBezTo>
                      <a:cubicBezTo>
                        <a:pt x="2655" y="216"/>
                        <a:pt x="2667" y="195"/>
                        <a:pt x="2644" y="199"/>
                      </a:cubicBezTo>
                      <a:close/>
                      <a:moveTo>
                        <a:pt x="2488" y="226"/>
                      </a:moveTo>
                      <a:cubicBezTo>
                        <a:pt x="2484" y="226"/>
                        <a:pt x="2476" y="222"/>
                        <a:pt x="2476" y="222"/>
                      </a:cubicBezTo>
                      <a:cubicBezTo>
                        <a:pt x="2476" y="222"/>
                        <a:pt x="2416" y="222"/>
                        <a:pt x="2416" y="230"/>
                      </a:cubicBezTo>
                      <a:cubicBezTo>
                        <a:pt x="2416" y="239"/>
                        <a:pt x="2435" y="241"/>
                        <a:pt x="2435" y="241"/>
                      </a:cubicBezTo>
                      <a:cubicBezTo>
                        <a:pt x="2436" y="253"/>
                        <a:pt x="2436" y="253"/>
                        <a:pt x="2436" y="253"/>
                      </a:cubicBezTo>
                      <a:cubicBezTo>
                        <a:pt x="2436" y="253"/>
                        <a:pt x="2486" y="258"/>
                        <a:pt x="2490" y="256"/>
                      </a:cubicBezTo>
                      <a:cubicBezTo>
                        <a:pt x="2494" y="254"/>
                        <a:pt x="2506" y="255"/>
                        <a:pt x="2512" y="255"/>
                      </a:cubicBezTo>
                      <a:cubicBezTo>
                        <a:pt x="2510" y="263"/>
                        <a:pt x="2508" y="274"/>
                        <a:pt x="2508" y="274"/>
                      </a:cubicBezTo>
                      <a:cubicBezTo>
                        <a:pt x="2471" y="301"/>
                        <a:pt x="2471" y="301"/>
                        <a:pt x="2471" y="301"/>
                      </a:cubicBezTo>
                      <a:cubicBezTo>
                        <a:pt x="2485" y="307"/>
                        <a:pt x="2485" y="307"/>
                        <a:pt x="2485" y="307"/>
                      </a:cubicBezTo>
                      <a:cubicBezTo>
                        <a:pt x="2485" y="307"/>
                        <a:pt x="2461" y="322"/>
                        <a:pt x="2473" y="322"/>
                      </a:cubicBezTo>
                      <a:cubicBezTo>
                        <a:pt x="2485" y="322"/>
                        <a:pt x="2503" y="312"/>
                        <a:pt x="2503" y="312"/>
                      </a:cubicBezTo>
                      <a:cubicBezTo>
                        <a:pt x="2503" y="312"/>
                        <a:pt x="2494" y="325"/>
                        <a:pt x="2513" y="324"/>
                      </a:cubicBezTo>
                      <a:cubicBezTo>
                        <a:pt x="2532" y="323"/>
                        <a:pt x="2568" y="311"/>
                        <a:pt x="2568" y="311"/>
                      </a:cubicBezTo>
                      <a:cubicBezTo>
                        <a:pt x="2569" y="325"/>
                        <a:pt x="2569" y="325"/>
                        <a:pt x="2569" y="325"/>
                      </a:cubicBezTo>
                      <a:cubicBezTo>
                        <a:pt x="2614" y="322"/>
                        <a:pt x="2614" y="322"/>
                        <a:pt x="2614" y="322"/>
                      </a:cubicBezTo>
                      <a:cubicBezTo>
                        <a:pt x="2667" y="332"/>
                        <a:pt x="2667" y="332"/>
                        <a:pt x="2667" y="332"/>
                      </a:cubicBezTo>
                      <a:cubicBezTo>
                        <a:pt x="2731" y="327"/>
                        <a:pt x="2731" y="327"/>
                        <a:pt x="2731" y="327"/>
                      </a:cubicBezTo>
                      <a:cubicBezTo>
                        <a:pt x="2749" y="312"/>
                        <a:pt x="2749" y="312"/>
                        <a:pt x="2749" y="312"/>
                      </a:cubicBezTo>
                      <a:cubicBezTo>
                        <a:pt x="2749" y="312"/>
                        <a:pt x="2738" y="326"/>
                        <a:pt x="2751" y="327"/>
                      </a:cubicBezTo>
                      <a:cubicBezTo>
                        <a:pt x="2764" y="328"/>
                        <a:pt x="2839" y="326"/>
                        <a:pt x="2839" y="326"/>
                      </a:cubicBezTo>
                      <a:cubicBezTo>
                        <a:pt x="2846" y="312"/>
                        <a:pt x="2846" y="312"/>
                        <a:pt x="2846" y="312"/>
                      </a:cubicBezTo>
                      <a:cubicBezTo>
                        <a:pt x="2890" y="294"/>
                        <a:pt x="2890" y="294"/>
                        <a:pt x="2890" y="294"/>
                      </a:cubicBezTo>
                      <a:cubicBezTo>
                        <a:pt x="2879" y="290"/>
                        <a:pt x="2879" y="290"/>
                        <a:pt x="2879" y="290"/>
                      </a:cubicBezTo>
                      <a:cubicBezTo>
                        <a:pt x="2879" y="281"/>
                        <a:pt x="2879" y="281"/>
                        <a:pt x="2879" y="281"/>
                      </a:cubicBezTo>
                      <a:cubicBezTo>
                        <a:pt x="2879" y="281"/>
                        <a:pt x="2834" y="270"/>
                        <a:pt x="2818" y="270"/>
                      </a:cubicBezTo>
                      <a:cubicBezTo>
                        <a:pt x="2802" y="270"/>
                        <a:pt x="2681" y="294"/>
                        <a:pt x="2681" y="294"/>
                      </a:cubicBezTo>
                      <a:cubicBezTo>
                        <a:pt x="2681" y="294"/>
                        <a:pt x="2666" y="283"/>
                        <a:pt x="2658" y="282"/>
                      </a:cubicBezTo>
                      <a:cubicBezTo>
                        <a:pt x="2651" y="281"/>
                        <a:pt x="2621" y="294"/>
                        <a:pt x="2621" y="294"/>
                      </a:cubicBezTo>
                      <a:cubicBezTo>
                        <a:pt x="2608" y="280"/>
                        <a:pt x="2608" y="280"/>
                        <a:pt x="2608" y="280"/>
                      </a:cubicBezTo>
                      <a:cubicBezTo>
                        <a:pt x="2596" y="286"/>
                        <a:pt x="2596" y="286"/>
                        <a:pt x="2596" y="286"/>
                      </a:cubicBezTo>
                      <a:cubicBezTo>
                        <a:pt x="2574" y="282"/>
                        <a:pt x="2574" y="282"/>
                        <a:pt x="2574" y="282"/>
                      </a:cubicBezTo>
                      <a:cubicBezTo>
                        <a:pt x="2596" y="274"/>
                        <a:pt x="2596" y="274"/>
                        <a:pt x="2596" y="274"/>
                      </a:cubicBezTo>
                      <a:cubicBezTo>
                        <a:pt x="2583" y="268"/>
                        <a:pt x="2583" y="268"/>
                        <a:pt x="2583" y="268"/>
                      </a:cubicBezTo>
                      <a:cubicBezTo>
                        <a:pt x="2546" y="272"/>
                        <a:pt x="2546" y="272"/>
                        <a:pt x="2546" y="272"/>
                      </a:cubicBezTo>
                      <a:cubicBezTo>
                        <a:pt x="2570" y="265"/>
                        <a:pt x="2570" y="265"/>
                        <a:pt x="2570" y="265"/>
                      </a:cubicBezTo>
                      <a:cubicBezTo>
                        <a:pt x="2569" y="260"/>
                        <a:pt x="2569" y="260"/>
                        <a:pt x="2569" y="260"/>
                      </a:cubicBezTo>
                      <a:cubicBezTo>
                        <a:pt x="2615" y="259"/>
                        <a:pt x="2615" y="259"/>
                        <a:pt x="2615" y="259"/>
                      </a:cubicBezTo>
                      <a:cubicBezTo>
                        <a:pt x="2592" y="251"/>
                        <a:pt x="2592" y="251"/>
                        <a:pt x="2592" y="251"/>
                      </a:cubicBezTo>
                      <a:cubicBezTo>
                        <a:pt x="2576" y="251"/>
                        <a:pt x="2576" y="251"/>
                        <a:pt x="2576" y="251"/>
                      </a:cubicBezTo>
                      <a:cubicBezTo>
                        <a:pt x="2576" y="251"/>
                        <a:pt x="2588" y="241"/>
                        <a:pt x="2578" y="240"/>
                      </a:cubicBezTo>
                      <a:cubicBezTo>
                        <a:pt x="2570" y="239"/>
                        <a:pt x="2539" y="241"/>
                        <a:pt x="2523" y="244"/>
                      </a:cubicBezTo>
                      <a:cubicBezTo>
                        <a:pt x="2521" y="237"/>
                        <a:pt x="2492" y="226"/>
                        <a:pt x="2488" y="226"/>
                      </a:cubicBezTo>
                      <a:close/>
                      <a:moveTo>
                        <a:pt x="2173" y="281"/>
                      </a:moveTo>
                      <a:cubicBezTo>
                        <a:pt x="2182" y="281"/>
                        <a:pt x="2226" y="288"/>
                        <a:pt x="2226" y="288"/>
                      </a:cubicBezTo>
                      <a:cubicBezTo>
                        <a:pt x="2226" y="288"/>
                        <a:pt x="2202" y="308"/>
                        <a:pt x="2217" y="308"/>
                      </a:cubicBezTo>
                      <a:cubicBezTo>
                        <a:pt x="2232" y="308"/>
                        <a:pt x="2270" y="308"/>
                        <a:pt x="2270" y="308"/>
                      </a:cubicBezTo>
                      <a:cubicBezTo>
                        <a:pt x="2284" y="308"/>
                        <a:pt x="2309" y="302"/>
                        <a:pt x="2305" y="294"/>
                      </a:cubicBezTo>
                      <a:cubicBezTo>
                        <a:pt x="2301" y="285"/>
                        <a:pt x="2341" y="282"/>
                        <a:pt x="2339" y="273"/>
                      </a:cubicBezTo>
                      <a:cubicBezTo>
                        <a:pt x="2338" y="265"/>
                        <a:pt x="2376" y="259"/>
                        <a:pt x="2362" y="247"/>
                      </a:cubicBezTo>
                      <a:cubicBezTo>
                        <a:pt x="2348" y="236"/>
                        <a:pt x="2329" y="244"/>
                        <a:pt x="2329" y="244"/>
                      </a:cubicBezTo>
                      <a:cubicBezTo>
                        <a:pt x="2329" y="244"/>
                        <a:pt x="2282" y="229"/>
                        <a:pt x="2279" y="238"/>
                      </a:cubicBezTo>
                      <a:cubicBezTo>
                        <a:pt x="2276" y="246"/>
                        <a:pt x="2276" y="267"/>
                        <a:pt x="2276" y="267"/>
                      </a:cubicBezTo>
                      <a:cubicBezTo>
                        <a:pt x="2276" y="267"/>
                        <a:pt x="2255" y="242"/>
                        <a:pt x="2244" y="251"/>
                      </a:cubicBezTo>
                      <a:cubicBezTo>
                        <a:pt x="2232" y="259"/>
                        <a:pt x="2222" y="283"/>
                        <a:pt x="2213" y="276"/>
                      </a:cubicBezTo>
                      <a:cubicBezTo>
                        <a:pt x="2205" y="270"/>
                        <a:pt x="2200" y="245"/>
                        <a:pt x="2191" y="243"/>
                      </a:cubicBezTo>
                      <a:cubicBezTo>
                        <a:pt x="2181" y="241"/>
                        <a:pt x="2155" y="243"/>
                        <a:pt x="2156" y="256"/>
                      </a:cubicBezTo>
                      <a:cubicBezTo>
                        <a:pt x="2157" y="269"/>
                        <a:pt x="2165" y="281"/>
                        <a:pt x="2173" y="281"/>
                      </a:cubicBezTo>
                      <a:close/>
                      <a:moveTo>
                        <a:pt x="2477" y="192"/>
                      </a:moveTo>
                      <a:cubicBezTo>
                        <a:pt x="2487" y="195"/>
                        <a:pt x="2490" y="205"/>
                        <a:pt x="2490" y="205"/>
                      </a:cubicBezTo>
                      <a:cubicBezTo>
                        <a:pt x="2490" y="205"/>
                        <a:pt x="2532" y="202"/>
                        <a:pt x="2552" y="201"/>
                      </a:cubicBezTo>
                      <a:cubicBezTo>
                        <a:pt x="2571" y="200"/>
                        <a:pt x="2528" y="189"/>
                        <a:pt x="2528" y="189"/>
                      </a:cubicBezTo>
                      <a:cubicBezTo>
                        <a:pt x="2528" y="189"/>
                        <a:pt x="2537" y="179"/>
                        <a:pt x="2547" y="177"/>
                      </a:cubicBezTo>
                      <a:cubicBezTo>
                        <a:pt x="2558" y="175"/>
                        <a:pt x="2518" y="162"/>
                        <a:pt x="2488" y="156"/>
                      </a:cubicBezTo>
                      <a:cubicBezTo>
                        <a:pt x="2488" y="156"/>
                        <a:pt x="2464" y="160"/>
                        <a:pt x="2460" y="164"/>
                      </a:cubicBezTo>
                      <a:cubicBezTo>
                        <a:pt x="2456" y="169"/>
                        <a:pt x="2468" y="190"/>
                        <a:pt x="2477" y="192"/>
                      </a:cubicBezTo>
                      <a:close/>
                      <a:moveTo>
                        <a:pt x="2188" y="339"/>
                      </a:moveTo>
                      <a:cubicBezTo>
                        <a:pt x="2188" y="339"/>
                        <a:pt x="2127" y="341"/>
                        <a:pt x="2093" y="352"/>
                      </a:cubicBezTo>
                      <a:cubicBezTo>
                        <a:pt x="2060" y="363"/>
                        <a:pt x="2112" y="372"/>
                        <a:pt x="2101" y="385"/>
                      </a:cubicBezTo>
                      <a:cubicBezTo>
                        <a:pt x="2090" y="399"/>
                        <a:pt x="2068" y="364"/>
                        <a:pt x="2030" y="380"/>
                      </a:cubicBezTo>
                      <a:cubicBezTo>
                        <a:pt x="2042" y="405"/>
                        <a:pt x="2042" y="405"/>
                        <a:pt x="2042" y="405"/>
                      </a:cubicBezTo>
                      <a:cubicBezTo>
                        <a:pt x="2042" y="405"/>
                        <a:pt x="2048" y="415"/>
                        <a:pt x="2065" y="418"/>
                      </a:cubicBezTo>
                      <a:cubicBezTo>
                        <a:pt x="2083" y="421"/>
                        <a:pt x="2082" y="456"/>
                        <a:pt x="2082" y="456"/>
                      </a:cubicBezTo>
                      <a:cubicBezTo>
                        <a:pt x="2082" y="456"/>
                        <a:pt x="2152" y="447"/>
                        <a:pt x="2174" y="442"/>
                      </a:cubicBezTo>
                      <a:cubicBezTo>
                        <a:pt x="2196" y="436"/>
                        <a:pt x="2196" y="395"/>
                        <a:pt x="2196" y="395"/>
                      </a:cubicBezTo>
                      <a:cubicBezTo>
                        <a:pt x="2152" y="385"/>
                        <a:pt x="2152" y="385"/>
                        <a:pt x="2152" y="385"/>
                      </a:cubicBezTo>
                      <a:cubicBezTo>
                        <a:pt x="2152" y="385"/>
                        <a:pt x="2205" y="367"/>
                        <a:pt x="2232" y="358"/>
                      </a:cubicBezTo>
                      <a:cubicBezTo>
                        <a:pt x="2258" y="348"/>
                        <a:pt x="2188" y="339"/>
                        <a:pt x="2188" y="339"/>
                      </a:cubicBezTo>
                      <a:close/>
                      <a:moveTo>
                        <a:pt x="1929" y="499"/>
                      </a:moveTo>
                      <a:cubicBezTo>
                        <a:pt x="1927" y="493"/>
                        <a:pt x="1862" y="494"/>
                        <a:pt x="1862" y="494"/>
                      </a:cubicBezTo>
                      <a:cubicBezTo>
                        <a:pt x="1915" y="466"/>
                        <a:pt x="1915" y="466"/>
                        <a:pt x="1915" y="466"/>
                      </a:cubicBezTo>
                      <a:cubicBezTo>
                        <a:pt x="1915" y="466"/>
                        <a:pt x="1947" y="392"/>
                        <a:pt x="1918" y="383"/>
                      </a:cubicBezTo>
                      <a:cubicBezTo>
                        <a:pt x="1891" y="375"/>
                        <a:pt x="1852" y="393"/>
                        <a:pt x="1852" y="393"/>
                      </a:cubicBezTo>
                      <a:cubicBezTo>
                        <a:pt x="1852" y="393"/>
                        <a:pt x="1826" y="447"/>
                        <a:pt x="1802" y="450"/>
                      </a:cubicBezTo>
                      <a:cubicBezTo>
                        <a:pt x="1778" y="453"/>
                        <a:pt x="1818" y="413"/>
                        <a:pt x="1816" y="403"/>
                      </a:cubicBezTo>
                      <a:cubicBezTo>
                        <a:pt x="1814" y="393"/>
                        <a:pt x="1750" y="392"/>
                        <a:pt x="1750" y="392"/>
                      </a:cubicBezTo>
                      <a:cubicBezTo>
                        <a:pt x="1744" y="405"/>
                        <a:pt x="1744" y="405"/>
                        <a:pt x="1744" y="405"/>
                      </a:cubicBezTo>
                      <a:cubicBezTo>
                        <a:pt x="1744" y="405"/>
                        <a:pt x="1708" y="420"/>
                        <a:pt x="1671" y="423"/>
                      </a:cubicBezTo>
                      <a:cubicBezTo>
                        <a:pt x="1635" y="425"/>
                        <a:pt x="1687" y="412"/>
                        <a:pt x="1723" y="400"/>
                      </a:cubicBezTo>
                      <a:cubicBezTo>
                        <a:pt x="1761" y="388"/>
                        <a:pt x="1704" y="386"/>
                        <a:pt x="1704" y="386"/>
                      </a:cubicBezTo>
                      <a:cubicBezTo>
                        <a:pt x="1664" y="398"/>
                        <a:pt x="1664" y="398"/>
                        <a:pt x="1664" y="398"/>
                      </a:cubicBezTo>
                      <a:cubicBezTo>
                        <a:pt x="1636" y="401"/>
                        <a:pt x="1636" y="401"/>
                        <a:pt x="1636" y="401"/>
                      </a:cubicBezTo>
                      <a:cubicBezTo>
                        <a:pt x="1636" y="401"/>
                        <a:pt x="1651" y="391"/>
                        <a:pt x="1667" y="380"/>
                      </a:cubicBezTo>
                      <a:cubicBezTo>
                        <a:pt x="1682" y="369"/>
                        <a:pt x="1663" y="371"/>
                        <a:pt x="1663" y="371"/>
                      </a:cubicBezTo>
                      <a:cubicBezTo>
                        <a:pt x="1564" y="402"/>
                        <a:pt x="1564" y="402"/>
                        <a:pt x="1564" y="402"/>
                      </a:cubicBezTo>
                      <a:cubicBezTo>
                        <a:pt x="1550" y="403"/>
                        <a:pt x="1550" y="403"/>
                        <a:pt x="1550" y="403"/>
                      </a:cubicBezTo>
                      <a:cubicBezTo>
                        <a:pt x="1494" y="420"/>
                        <a:pt x="1494" y="420"/>
                        <a:pt x="1494" y="420"/>
                      </a:cubicBezTo>
                      <a:cubicBezTo>
                        <a:pt x="1496" y="428"/>
                        <a:pt x="1496" y="428"/>
                        <a:pt x="1496" y="428"/>
                      </a:cubicBezTo>
                      <a:cubicBezTo>
                        <a:pt x="1456" y="443"/>
                        <a:pt x="1456" y="443"/>
                        <a:pt x="1456" y="443"/>
                      </a:cubicBezTo>
                      <a:cubicBezTo>
                        <a:pt x="1447" y="453"/>
                        <a:pt x="1447" y="453"/>
                        <a:pt x="1447" y="453"/>
                      </a:cubicBezTo>
                      <a:cubicBezTo>
                        <a:pt x="1465" y="461"/>
                        <a:pt x="1465" y="461"/>
                        <a:pt x="1465" y="461"/>
                      </a:cubicBezTo>
                      <a:cubicBezTo>
                        <a:pt x="1465" y="461"/>
                        <a:pt x="1487" y="446"/>
                        <a:pt x="1492" y="458"/>
                      </a:cubicBezTo>
                      <a:cubicBezTo>
                        <a:pt x="1497" y="470"/>
                        <a:pt x="1451" y="464"/>
                        <a:pt x="1440" y="483"/>
                      </a:cubicBezTo>
                      <a:cubicBezTo>
                        <a:pt x="1428" y="503"/>
                        <a:pt x="1587" y="484"/>
                        <a:pt x="1565" y="502"/>
                      </a:cubicBezTo>
                      <a:cubicBezTo>
                        <a:pt x="1544" y="519"/>
                        <a:pt x="1417" y="508"/>
                        <a:pt x="1406" y="525"/>
                      </a:cubicBezTo>
                      <a:cubicBezTo>
                        <a:pt x="1395" y="542"/>
                        <a:pt x="1427" y="540"/>
                        <a:pt x="1450" y="552"/>
                      </a:cubicBezTo>
                      <a:cubicBezTo>
                        <a:pt x="1473" y="564"/>
                        <a:pt x="1438" y="557"/>
                        <a:pt x="1434" y="574"/>
                      </a:cubicBezTo>
                      <a:cubicBezTo>
                        <a:pt x="1430" y="590"/>
                        <a:pt x="1533" y="582"/>
                        <a:pt x="1533" y="582"/>
                      </a:cubicBezTo>
                      <a:cubicBezTo>
                        <a:pt x="1533" y="582"/>
                        <a:pt x="1702" y="566"/>
                        <a:pt x="1741" y="554"/>
                      </a:cubicBezTo>
                      <a:cubicBezTo>
                        <a:pt x="1768" y="545"/>
                        <a:pt x="1819" y="583"/>
                        <a:pt x="1851" y="586"/>
                      </a:cubicBezTo>
                      <a:cubicBezTo>
                        <a:pt x="1884" y="588"/>
                        <a:pt x="1895" y="551"/>
                        <a:pt x="1895" y="551"/>
                      </a:cubicBezTo>
                      <a:cubicBezTo>
                        <a:pt x="1843" y="550"/>
                        <a:pt x="1843" y="550"/>
                        <a:pt x="1843" y="550"/>
                      </a:cubicBezTo>
                      <a:cubicBezTo>
                        <a:pt x="1865" y="533"/>
                        <a:pt x="1865" y="533"/>
                        <a:pt x="1865" y="533"/>
                      </a:cubicBezTo>
                      <a:cubicBezTo>
                        <a:pt x="1865" y="533"/>
                        <a:pt x="1897" y="539"/>
                        <a:pt x="1929" y="532"/>
                      </a:cubicBezTo>
                      <a:cubicBezTo>
                        <a:pt x="1962" y="525"/>
                        <a:pt x="1931" y="506"/>
                        <a:pt x="1929" y="499"/>
                      </a:cubicBezTo>
                      <a:close/>
                      <a:moveTo>
                        <a:pt x="1909" y="590"/>
                      </a:moveTo>
                      <a:cubicBezTo>
                        <a:pt x="1941" y="591"/>
                        <a:pt x="1947" y="573"/>
                        <a:pt x="1925" y="574"/>
                      </a:cubicBezTo>
                      <a:cubicBezTo>
                        <a:pt x="1903" y="574"/>
                        <a:pt x="1909" y="590"/>
                        <a:pt x="1909" y="590"/>
                      </a:cubicBezTo>
                      <a:close/>
                      <a:moveTo>
                        <a:pt x="2183" y="224"/>
                      </a:moveTo>
                      <a:cubicBezTo>
                        <a:pt x="2201" y="221"/>
                        <a:pt x="2202" y="193"/>
                        <a:pt x="2187" y="193"/>
                      </a:cubicBezTo>
                      <a:cubicBezTo>
                        <a:pt x="2173" y="193"/>
                        <a:pt x="2166" y="226"/>
                        <a:pt x="2183" y="224"/>
                      </a:cubicBezTo>
                      <a:close/>
                      <a:moveTo>
                        <a:pt x="2307" y="155"/>
                      </a:moveTo>
                      <a:cubicBezTo>
                        <a:pt x="2307" y="155"/>
                        <a:pt x="2289" y="172"/>
                        <a:pt x="2303" y="173"/>
                      </a:cubicBezTo>
                      <a:cubicBezTo>
                        <a:pt x="2317" y="174"/>
                        <a:pt x="2349" y="175"/>
                        <a:pt x="2349" y="175"/>
                      </a:cubicBezTo>
                      <a:cubicBezTo>
                        <a:pt x="2349" y="175"/>
                        <a:pt x="2363" y="191"/>
                        <a:pt x="2380" y="191"/>
                      </a:cubicBezTo>
                      <a:cubicBezTo>
                        <a:pt x="2398" y="191"/>
                        <a:pt x="2411" y="177"/>
                        <a:pt x="2411" y="177"/>
                      </a:cubicBezTo>
                      <a:cubicBezTo>
                        <a:pt x="2402" y="169"/>
                        <a:pt x="2402" y="169"/>
                        <a:pt x="2402" y="169"/>
                      </a:cubicBezTo>
                      <a:cubicBezTo>
                        <a:pt x="2423" y="165"/>
                        <a:pt x="2423" y="165"/>
                        <a:pt x="2423" y="165"/>
                      </a:cubicBezTo>
                      <a:cubicBezTo>
                        <a:pt x="2393" y="143"/>
                        <a:pt x="2393" y="143"/>
                        <a:pt x="2393" y="143"/>
                      </a:cubicBezTo>
                      <a:cubicBezTo>
                        <a:pt x="2365" y="147"/>
                        <a:pt x="2365" y="147"/>
                        <a:pt x="2365" y="147"/>
                      </a:cubicBezTo>
                      <a:cubicBezTo>
                        <a:pt x="2355" y="132"/>
                        <a:pt x="2355" y="132"/>
                        <a:pt x="2355" y="132"/>
                      </a:cubicBezTo>
                      <a:cubicBezTo>
                        <a:pt x="2336" y="132"/>
                        <a:pt x="2336" y="132"/>
                        <a:pt x="2336" y="132"/>
                      </a:cubicBezTo>
                      <a:cubicBezTo>
                        <a:pt x="2314" y="132"/>
                        <a:pt x="2279" y="132"/>
                        <a:pt x="2278" y="144"/>
                      </a:cubicBezTo>
                      <a:cubicBezTo>
                        <a:pt x="2277" y="156"/>
                        <a:pt x="2307" y="155"/>
                        <a:pt x="2307" y="155"/>
                      </a:cubicBezTo>
                      <a:close/>
                      <a:moveTo>
                        <a:pt x="2285" y="872"/>
                      </a:moveTo>
                      <a:cubicBezTo>
                        <a:pt x="2230" y="922"/>
                        <a:pt x="2320" y="886"/>
                        <a:pt x="2320" y="886"/>
                      </a:cubicBezTo>
                      <a:cubicBezTo>
                        <a:pt x="2366" y="843"/>
                        <a:pt x="2339" y="821"/>
                        <a:pt x="2285" y="872"/>
                      </a:cubicBezTo>
                      <a:close/>
                      <a:moveTo>
                        <a:pt x="2943" y="929"/>
                      </a:moveTo>
                      <a:cubicBezTo>
                        <a:pt x="2953" y="921"/>
                        <a:pt x="2946" y="918"/>
                        <a:pt x="2946" y="918"/>
                      </a:cubicBezTo>
                      <a:cubicBezTo>
                        <a:pt x="2946" y="918"/>
                        <a:pt x="2924" y="913"/>
                        <a:pt x="2921" y="922"/>
                      </a:cubicBezTo>
                      <a:cubicBezTo>
                        <a:pt x="2921" y="922"/>
                        <a:pt x="2932" y="936"/>
                        <a:pt x="2943" y="929"/>
                      </a:cubicBezTo>
                      <a:close/>
                      <a:moveTo>
                        <a:pt x="2077" y="1360"/>
                      </a:moveTo>
                      <a:cubicBezTo>
                        <a:pt x="2105" y="1356"/>
                        <a:pt x="2070" y="1342"/>
                        <a:pt x="2070" y="1342"/>
                      </a:cubicBezTo>
                      <a:cubicBezTo>
                        <a:pt x="2026" y="1351"/>
                        <a:pt x="2048" y="1363"/>
                        <a:pt x="2077" y="1360"/>
                      </a:cubicBezTo>
                      <a:close/>
                      <a:moveTo>
                        <a:pt x="3172" y="665"/>
                      </a:moveTo>
                      <a:cubicBezTo>
                        <a:pt x="3167" y="669"/>
                        <a:pt x="3155" y="660"/>
                        <a:pt x="3155" y="660"/>
                      </a:cubicBezTo>
                      <a:cubicBezTo>
                        <a:pt x="3133" y="673"/>
                        <a:pt x="3133" y="673"/>
                        <a:pt x="3133" y="673"/>
                      </a:cubicBezTo>
                      <a:cubicBezTo>
                        <a:pt x="3135" y="656"/>
                        <a:pt x="3135" y="656"/>
                        <a:pt x="3135" y="656"/>
                      </a:cubicBezTo>
                      <a:cubicBezTo>
                        <a:pt x="3107" y="656"/>
                        <a:pt x="3107" y="656"/>
                        <a:pt x="3107" y="656"/>
                      </a:cubicBezTo>
                      <a:cubicBezTo>
                        <a:pt x="3107" y="656"/>
                        <a:pt x="3139" y="646"/>
                        <a:pt x="3133" y="636"/>
                      </a:cubicBezTo>
                      <a:cubicBezTo>
                        <a:pt x="3128" y="625"/>
                        <a:pt x="3079" y="624"/>
                        <a:pt x="3079" y="624"/>
                      </a:cubicBezTo>
                      <a:cubicBezTo>
                        <a:pt x="3073" y="613"/>
                        <a:pt x="3073" y="613"/>
                        <a:pt x="3073" y="613"/>
                      </a:cubicBezTo>
                      <a:cubicBezTo>
                        <a:pt x="3041" y="612"/>
                        <a:pt x="3041" y="612"/>
                        <a:pt x="3041" y="612"/>
                      </a:cubicBezTo>
                      <a:cubicBezTo>
                        <a:pt x="2997" y="581"/>
                        <a:pt x="2997" y="581"/>
                        <a:pt x="2997" y="581"/>
                      </a:cubicBezTo>
                      <a:cubicBezTo>
                        <a:pt x="3044" y="578"/>
                        <a:pt x="3044" y="578"/>
                        <a:pt x="3044" y="578"/>
                      </a:cubicBezTo>
                      <a:cubicBezTo>
                        <a:pt x="3024" y="564"/>
                        <a:pt x="3024" y="564"/>
                        <a:pt x="3024" y="564"/>
                      </a:cubicBezTo>
                      <a:cubicBezTo>
                        <a:pt x="3024" y="564"/>
                        <a:pt x="3037" y="560"/>
                        <a:pt x="3041" y="560"/>
                      </a:cubicBezTo>
                      <a:cubicBezTo>
                        <a:pt x="3045" y="560"/>
                        <a:pt x="3097" y="572"/>
                        <a:pt x="3091" y="558"/>
                      </a:cubicBezTo>
                      <a:cubicBezTo>
                        <a:pt x="3084" y="545"/>
                        <a:pt x="3029" y="548"/>
                        <a:pt x="3029" y="548"/>
                      </a:cubicBezTo>
                      <a:cubicBezTo>
                        <a:pt x="3011" y="546"/>
                        <a:pt x="3011" y="546"/>
                        <a:pt x="3011" y="546"/>
                      </a:cubicBezTo>
                      <a:cubicBezTo>
                        <a:pt x="3011" y="546"/>
                        <a:pt x="3088" y="544"/>
                        <a:pt x="3091" y="534"/>
                      </a:cubicBezTo>
                      <a:cubicBezTo>
                        <a:pt x="3093" y="525"/>
                        <a:pt x="3069" y="525"/>
                        <a:pt x="3069" y="525"/>
                      </a:cubicBezTo>
                      <a:cubicBezTo>
                        <a:pt x="3000" y="536"/>
                        <a:pt x="3000" y="536"/>
                        <a:pt x="3000" y="536"/>
                      </a:cubicBezTo>
                      <a:cubicBezTo>
                        <a:pt x="3040" y="512"/>
                        <a:pt x="3040" y="512"/>
                        <a:pt x="3040" y="512"/>
                      </a:cubicBezTo>
                      <a:cubicBezTo>
                        <a:pt x="3040" y="512"/>
                        <a:pt x="3093" y="518"/>
                        <a:pt x="3077" y="504"/>
                      </a:cubicBezTo>
                      <a:cubicBezTo>
                        <a:pt x="3061" y="489"/>
                        <a:pt x="3035" y="489"/>
                        <a:pt x="3035" y="489"/>
                      </a:cubicBezTo>
                      <a:cubicBezTo>
                        <a:pt x="3009" y="504"/>
                        <a:pt x="3009" y="504"/>
                        <a:pt x="3009" y="504"/>
                      </a:cubicBezTo>
                      <a:cubicBezTo>
                        <a:pt x="2999" y="500"/>
                        <a:pt x="2999" y="500"/>
                        <a:pt x="2999" y="500"/>
                      </a:cubicBezTo>
                      <a:cubicBezTo>
                        <a:pt x="2971" y="520"/>
                        <a:pt x="2971" y="520"/>
                        <a:pt x="2971" y="520"/>
                      </a:cubicBezTo>
                      <a:cubicBezTo>
                        <a:pt x="2973" y="505"/>
                        <a:pt x="2973" y="505"/>
                        <a:pt x="2973" y="505"/>
                      </a:cubicBezTo>
                      <a:cubicBezTo>
                        <a:pt x="2959" y="517"/>
                        <a:pt x="2959" y="517"/>
                        <a:pt x="2959" y="517"/>
                      </a:cubicBezTo>
                      <a:cubicBezTo>
                        <a:pt x="2973" y="497"/>
                        <a:pt x="2973" y="497"/>
                        <a:pt x="2973" y="497"/>
                      </a:cubicBezTo>
                      <a:cubicBezTo>
                        <a:pt x="2973" y="497"/>
                        <a:pt x="2993" y="502"/>
                        <a:pt x="3003" y="493"/>
                      </a:cubicBezTo>
                      <a:cubicBezTo>
                        <a:pt x="3012" y="484"/>
                        <a:pt x="3012" y="470"/>
                        <a:pt x="3005" y="472"/>
                      </a:cubicBezTo>
                      <a:cubicBezTo>
                        <a:pt x="2999" y="473"/>
                        <a:pt x="2991" y="485"/>
                        <a:pt x="2991" y="485"/>
                      </a:cubicBezTo>
                      <a:cubicBezTo>
                        <a:pt x="2967" y="486"/>
                        <a:pt x="2967" y="486"/>
                        <a:pt x="2967" y="486"/>
                      </a:cubicBezTo>
                      <a:cubicBezTo>
                        <a:pt x="2952" y="493"/>
                        <a:pt x="2952" y="493"/>
                        <a:pt x="2952" y="493"/>
                      </a:cubicBezTo>
                      <a:cubicBezTo>
                        <a:pt x="2968" y="474"/>
                        <a:pt x="2968" y="474"/>
                        <a:pt x="2968" y="474"/>
                      </a:cubicBezTo>
                      <a:cubicBezTo>
                        <a:pt x="2988" y="474"/>
                        <a:pt x="2988" y="474"/>
                        <a:pt x="2988" y="474"/>
                      </a:cubicBezTo>
                      <a:cubicBezTo>
                        <a:pt x="2988" y="474"/>
                        <a:pt x="3012" y="465"/>
                        <a:pt x="2999" y="457"/>
                      </a:cubicBezTo>
                      <a:cubicBezTo>
                        <a:pt x="2985" y="449"/>
                        <a:pt x="2941" y="469"/>
                        <a:pt x="2941" y="469"/>
                      </a:cubicBezTo>
                      <a:cubicBezTo>
                        <a:pt x="2933" y="460"/>
                        <a:pt x="2933" y="460"/>
                        <a:pt x="2933" y="460"/>
                      </a:cubicBezTo>
                      <a:cubicBezTo>
                        <a:pt x="2917" y="472"/>
                        <a:pt x="2917" y="472"/>
                        <a:pt x="2917" y="472"/>
                      </a:cubicBezTo>
                      <a:cubicBezTo>
                        <a:pt x="2932" y="452"/>
                        <a:pt x="2932" y="452"/>
                        <a:pt x="2932" y="452"/>
                      </a:cubicBezTo>
                      <a:cubicBezTo>
                        <a:pt x="2895" y="465"/>
                        <a:pt x="2895" y="465"/>
                        <a:pt x="2895" y="465"/>
                      </a:cubicBezTo>
                      <a:cubicBezTo>
                        <a:pt x="2895" y="450"/>
                        <a:pt x="2895" y="450"/>
                        <a:pt x="2895" y="450"/>
                      </a:cubicBezTo>
                      <a:cubicBezTo>
                        <a:pt x="2895" y="450"/>
                        <a:pt x="2931" y="441"/>
                        <a:pt x="2931" y="437"/>
                      </a:cubicBezTo>
                      <a:cubicBezTo>
                        <a:pt x="2931" y="433"/>
                        <a:pt x="2881" y="442"/>
                        <a:pt x="2881" y="442"/>
                      </a:cubicBezTo>
                      <a:cubicBezTo>
                        <a:pt x="2880" y="434"/>
                        <a:pt x="2880" y="434"/>
                        <a:pt x="2880" y="434"/>
                      </a:cubicBezTo>
                      <a:cubicBezTo>
                        <a:pt x="2880" y="434"/>
                        <a:pt x="2928" y="424"/>
                        <a:pt x="2923" y="417"/>
                      </a:cubicBezTo>
                      <a:cubicBezTo>
                        <a:pt x="2917" y="410"/>
                        <a:pt x="2852" y="409"/>
                        <a:pt x="2844" y="406"/>
                      </a:cubicBezTo>
                      <a:cubicBezTo>
                        <a:pt x="2836" y="404"/>
                        <a:pt x="2820" y="406"/>
                        <a:pt x="2819" y="410"/>
                      </a:cubicBezTo>
                      <a:cubicBezTo>
                        <a:pt x="2817" y="414"/>
                        <a:pt x="2828" y="428"/>
                        <a:pt x="2828" y="428"/>
                      </a:cubicBezTo>
                      <a:cubicBezTo>
                        <a:pt x="2804" y="424"/>
                        <a:pt x="2804" y="424"/>
                        <a:pt x="2804" y="424"/>
                      </a:cubicBezTo>
                      <a:cubicBezTo>
                        <a:pt x="2807" y="442"/>
                        <a:pt x="2807" y="442"/>
                        <a:pt x="2807" y="442"/>
                      </a:cubicBezTo>
                      <a:cubicBezTo>
                        <a:pt x="2793" y="425"/>
                        <a:pt x="2793" y="425"/>
                        <a:pt x="2793" y="425"/>
                      </a:cubicBezTo>
                      <a:cubicBezTo>
                        <a:pt x="2768" y="441"/>
                        <a:pt x="2768" y="441"/>
                        <a:pt x="2768" y="441"/>
                      </a:cubicBezTo>
                      <a:cubicBezTo>
                        <a:pt x="2768" y="441"/>
                        <a:pt x="2773" y="426"/>
                        <a:pt x="2768" y="422"/>
                      </a:cubicBezTo>
                      <a:cubicBezTo>
                        <a:pt x="2763" y="418"/>
                        <a:pt x="2715" y="438"/>
                        <a:pt x="2715" y="438"/>
                      </a:cubicBezTo>
                      <a:cubicBezTo>
                        <a:pt x="2727" y="413"/>
                        <a:pt x="2727" y="413"/>
                        <a:pt x="2727" y="413"/>
                      </a:cubicBezTo>
                      <a:cubicBezTo>
                        <a:pt x="2727" y="413"/>
                        <a:pt x="2767" y="412"/>
                        <a:pt x="2767" y="402"/>
                      </a:cubicBezTo>
                      <a:cubicBezTo>
                        <a:pt x="2767" y="393"/>
                        <a:pt x="2753" y="381"/>
                        <a:pt x="2753" y="381"/>
                      </a:cubicBezTo>
                      <a:cubicBezTo>
                        <a:pt x="2753" y="381"/>
                        <a:pt x="2777" y="364"/>
                        <a:pt x="2761" y="361"/>
                      </a:cubicBezTo>
                      <a:cubicBezTo>
                        <a:pt x="2745" y="358"/>
                        <a:pt x="2699" y="362"/>
                        <a:pt x="2699" y="362"/>
                      </a:cubicBezTo>
                      <a:cubicBezTo>
                        <a:pt x="2684" y="373"/>
                        <a:pt x="2684" y="373"/>
                        <a:pt x="2684" y="373"/>
                      </a:cubicBezTo>
                      <a:cubicBezTo>
                        <a:pt x="2625" y="374"/>
                        <a:pt x="2625" y="374"/>
                        <a:pt x="2625" y="374"/>
                      </a:cubicBezTo>
                      <a:cubicBezTo>
                        <a:pt x="2632" y="385"/>
                        <a:pt x="2632" y="385"/>
                        <a:pt x="2632" y="385"/>
                      </a:cubicBezTo>
                      <a:cubicBezTo>
                        <a:pt x="2652" y="393"/>
                        <a:pt x="2652" y="393"/>
                        <a:pt x="2652" y="393"/>
                      </a:cubicBezTo>
                      <a:cubicBezTo>
                        <a:pt x="2623" y="385"/>
                        <a:pt x="2623" y="385"/>
                        <a:pt x="2623" y="385"/>
                      </a:cubicBezTo>
                      <a:cubicBezTo>
                        <a:pt x="2629" y="401"/>
                        <a:pt x="2629" y="401"/>
                        <a:pt x="2629" y="401"/>
                      </a:cubicBezTo>
                      <a:cubicBezTo>
                        <a:pt x="2629" y="401"/>
                        <a:pt x="2597" y="388"/>
                        <a:pt x="2588" y="400"/>
                      </a:cubicBezTo>
                      <a:cubicBezTo>
                        <a:pt x="2579" y="412"/>
                        <a:pt x="2596" y="424"/>
                        <a:pt x="2596" y="424"/>
                      </a:cubicBezTo>
                      <a:cubicBezTo>
                        <a:pt x="2599" y="441"/>
                        <a:pt x="2599" y="441"/>
                        <a:pt x="2599" y="441"/>
                      </a:cubicBezTo>
                      <a:cubicBezTo>
                        <a:pt x="2599" y="441"/>
                        <a:pt x="2579" y="429"/>
                        <a:pt x="2568" y="432"/>
                      </a:cubicBezTo>
                      <a:cubicBezTo>
                        <a:pt x="2557" y="434"/>
                        <a:pt x="2543" y="453"/>
                        <a:pt x="2555" y="454"/>
                      </a:cubicBezTo>
                      <a:cubicBezTo>
                        <a:pt x="2567" y="456"/>
                        <a:pt x="2571" y="462"/>
                        <a:pt x="2571" y="462"/>
                      </a:cubicBezTo>
                      <a:cubicBezTo>
                        <a:pt x="2540" y="477"/>
                        <a:pt x="2540" y="477"/>
                        <a:pt x="2540" y="477"/>
                      </a:cubicBezTo>
                      <a:cubicBezTo>
                        <a:pt x="2500" y="481"/>
                        <a:pt x="2500" y="481"/>
                        <a:pt x="2500" y="481"/>
                      </a:cubicBezTo>
                      <a:cubicBezTo>
                        <a:pt x="2500" y="481"/>
                        <a:pt x="2539" y="473"/>
                        <a:pt x="2539" y="464"/>
                      </a:cubicBezTo>
                      <a:cubicBezTo>
                        <a:pt x="2539" y="454"/>
                        <a:pt x="2515" y="453"/>
                        <a:pt x="2525" y="440"/>
                      </a:cubicBezTo>
                      <a:cubicBezTo>
                        <a:pt x="2536" y="426"/>
                        <a:pt x="2549" y="425"/>
                        <a:pt x="2549" y="425"/>
                      </a:cubicBezTo>
                      <a:cubicBezTo>
                        <a:pt x="2549" y="406"/>
                        <a:pt x="2549" y="406"/>
                        <a:pt x="2549" y="406"/>
                      </a:cubicBezTo>
                      <a:cubicBezTo>
                        <a:pt x="2549" y="406"/>
                        <a:pt x="2584" y="384"/>
                        <a:pt x="2596" y="378"/>
                      </a:cubicBezTo>
                      <a:cubicBezTo>
                        <a:pt x="2608" y="373"/>
                        <a:pt x="2653" y="366"/>
                        <a:pt x="2645" y="362"/>
                      </a:cubicBezTo>
                      <a:cubicBezTo>
                        <a:pt x="2637" y="358"/>
                        <a:pt x="2591" y="357"/>
                        <a:pt x="2565" y="358"/>
                      </a:cubicBezTo>
                      <a:cubicBezTo>
                        <a:pt x="2540" y="360"/>
                        <a:pt x="2472" y="401"/>
                        <a:pt x="2472" y="401"/>
                      </a:cubicBezTo>
                      <a:cubicBezTo>
                        <a:pt x="2472" y="401"/>
                        <a:pt x="2443" y="414"/>
                        <a:pt x="2433" y="416"/>
                      </a:cubicBezTo>
                      <a:cubicBezTo>
                        <a:pt x="2424" y="417"/>
                        <a:pt x="2420" y="428"/>
                        <a:pt x="2420" y="428"/>
                      </a:cubicBezTo>
                      <a:cubicBezTo>
                        <a:pt x="2420" y="428"/>
                        <a:pt x="2373" y="454"/>
                        <a:pt x="2391" y="461"/>
                      </a:cubicBezTo>
                      <a:cubicBezTo>
                        <a:pt x="2408" y="468"/>
                        <a:pt x="2460" y="464"/>
                        <a:pt x="2453" y="473"/>
                      </a:cubicBezTo>
                      <a:cubicBezTo>
                        <a:pt x="2447" y="482"/>
                        <a:pt x="2360" y="481"/>
                        <a:pt x="2381" y="496"/>
                      </a:cubicBezTo>
                      <a:cubicBezTo>
                        <a:pt x="2403" y="510"/>
                        <a:pt x="2429" y="513"/>
                        <a:pt x="2429" y="513"/>
                      </a:cubicBezTo>
                      <a:cubicBezTo>
                        <a:pt x="2460" y="501"/>
                        <a:pt x="2460" y="501"/>
                        <a:pt x="2460" y="501"/>
                      </a:cubicBezTo>
                      <a:cubicBezTo>
                        <a:pt x="2460" y="501"/>
                        <a:pt x="2451" y="517"/>
                        <a:pt x="2473" y="517"/>
                      </a:cubicBezTo>
                      <a:cubicBezTo>
                        <a:pt x="2496" y="517"/>
                        <a:pt x="2584" y="536"/>
                        <a:pt x="2595" y="530"/>
                      </a:cubicBezTo>
                      <a:cubicBezTo>
                        <a:pt x="2605" y="525"/>
                        <a:pt x="2581" y="513"/>
                        <a:pt x="2581" y="513"/>
                      </a:cubicBezTo>
                      <a:cubicBezTo>
                        <a:pt x="2581" y="513"/>
                        <a:pt x="2648" y="520"/>
                        <a:pt x="2659" y="521"/>
                      </a:cubicBezTo>
                      <a:cubicBezTo>
                        <a:pt x="2669" y="522"/>
                        <a:pt x="2696" y="533"/>
                        <a:pt x="2705" y="528"/>
                      </a:cubicBezTo>
                      <a:cubicBezTo>
                        <a:pt x="2715" y="522"/>
                        <a:pt x="2696" y="502"/>
                        <a:pt x="2696" y="502"/>
                      </a:cubicBezTo>
                      <a:cubicBezTo>
                        <a:pt x="2727" y="496"/>
                        <a:pt x="2727" y="496"/>
                        <a:pt x="2727" y="496"/>
                      </a:cubicBezTo>
                      <a:cubicBezTo>
                        <a:pt x="2727" y="496"/>
                        <a:pt x="2735" y="518"/>
                        <a:pt x="2739" y="517"/>
                      </a:cubicBezTo>
                      <a:cubicBezTo>
                        <a:pt x="2743" y="516"/>
                        <a:pt x="2757" y="532"/>
                        <a:pt x="2757" y="532"/>
                      </a:cubicBezTo>
                      <a:cubicBezTo>
                        <a:pt x="2777" y="525"/>
                        <a:pt x="2777" y="525"/>
                        <a:pt x="2777" y="525"/>
                      </a:cubicBezTo>
                      <a:cubicBezTo>
                        <a:pt x="2777" y="525"/>
                        <a:pt x="2769" y="545"/>
                        <a:pt x="2773" y="546"/>
                      </a:cubicBezTo>
                      <a:cubicBezTo>
                        <a:pt x="2777" y="548"/>
                        <a:pt x="2807" y="554"/>
                        <a:pt x="2807" y="554"/>
                      </a:cubicBezTo>
                      <a:cubicBezTo>
                        <a:pt x="2807" y="554"/>
                        <a:pt x="2785" y="573"/>
                        <a:pt x="2793" y="573"/>
                      </a:cubicBezTo>
                      <a:cubicBezTo>
                        <a:pt x="2801" y="573"/>
                        <a:pt x="2820" y="573"/>
                        <a:pt x="2820" y="573"/>
                      </a:cubicBezTo>
                      <a:cubicBezTo>
                        <a:pt x="2816" y="590"/>
                        <a:pt x="2816" y="590"/>
                        <a:pt x="2816" y="590"/>
                      </a:cubicBezTo>
                      <a:cubicBezTo>
                        <a:pt x="2816" y="590"/>
                        <a:pt x="2849" y="594"/>
                        <a:pt x="2849" y="610"/>
                      </a:cubicBezTo>
                      <a:cubicBezTo>
                        <a:pt x="2849" y="626"/>
                        <a:pt x="2827" y="660"/>
                        <a:pt x="2821" y="661"/>
                      </a:cubicBezTo>
                      <a:cubicBezTo>
                        <a:pt x="2816" y="662"/>
                        <a:pt x="2728" y="701"/>
                        <a:pt x="2728" y="701"/>
                      </a:cubicBezTo>
                      <a:cubicBezTo>
                        <a:pt x="2728" y="701"/>
                        <a:pt x="2756" y="720"/>
                        <a:pt x="2741" y="726"/>
                      </a:cubicBezTo>
                      <a:cubicBezTo>
                        <a:pt x="2727" y="733"/>
                        <a:pt x="2707" y="734"/>
                        <a:pt x="2707" y="734"/>
                      </a:cubicBezTo>
                      <a:cubicBezTo>
                        <a:pt x="2655" y="741"/>
                        <a:pt x="2655" y="741"/>
                        <a:pt x="2655" y="741"/>
                      </a:cubicBezTo>
                      <a:cubicBezTo>
                        <a:pt x="2649" y="756"/>
                        <a:pt x="2649" y="756"/>
                        <a:pt x="2649" y="756"/>
                      </a:cubicBezTo>
                      <a:cubicBezTo>
                        <a:pt x="2640" y="742"/>
                        <a:pt x="2640" y="742"/>
                        <a:pt x="2640" y="742"/>
                      </a:cubicBezTo>
                      <a:cubicBezTo>
                        <a:pt x="2640" y="742"/>
                        <a:pt x="2613" y="733"/>
                        <a:pt x="2600" y="736"/>
                      </a:cubicBezTo>
                      <a:cubicBezTo>
                        <a:pt x="2587" y="738"/>
                        <a:pt x="2588" y="750"/>
                        <a:pt x="2588" y="750"/>
                      </a:cubicBezTo>
                      <a:cubicBezTo>
                        <a:pt x="2588" y="750"/>
                        <a:pt x="2543" y="760"/>
                        <a:pt x="2543" y="776"/>
                      </a:cubicBezTo>
                      <a:cubicBezTo>
                        <a:pt x="2543" y="800"/>
                        <a:pt x="2577" y="794"/>
                        <a:pt x="2604" y="785"/>
                      </a:cubicBezTo>
                      <a:cubicBezTo>
                        <a:pt x="2631" y="776"/>
                        <a:pt x="2637" y="777"/>
                        <a:pt x="2637" y="777"/>
                      </a:cubicBezTo>
                      <a:cubicBezTo>
                        <a:pt x="2637" y="777"/>
                        <a:pt x="2656" y="790"/>
                        <a:pt x="2663" y="785"/>
                      </a:cubicBezTo>
                      <a:cubicBezTo>
                        <a:pt x="2669" y="780"/>
                        <a:pt x="2665" y="769"/>
                        <a:pt x="2665" y="769"/>
                      </a:cubicBezTo>
                      <a:cubicBezTo>
                        <a:pt x="2681" y="754"/>
                        <a:pt x="2681" y="754"/>
                        <a:pt x="2681" y="754"/>
                      </a:cubicBezTo>
                      <a:cubicBezTo>
                        <a:pt x="2681" y="754"/>
                        <a:pt x="2668" y="766"/>
                        <a:pt x="2677" y="769"/>
                      </a:cubicBezTo>
                      <a:cubicBezTo>
                        <a:pt x="2687" y="772"/>
                        <a:pt x="2721" y="772"/>
                        <a:pt x="2721" y="772"/>
                      </a:cubicBezTo>
                      <a:cubicBezTo>
                        <a:pt x="2721" y="772"/>
                        <a:pt x="2707" y="778"/>
                        <a:pt x="2708" y="785"/>
                      </a:cubicBezTo>
                      <a:cubicBezTo>
                        <a:pt x="2709" y="792"/>
                        <a:pt x="2731" y="796"/>
                        <a:pt x="2731" y="796"/>
                      </a:cubicBezTo>
                      <a:cubicBezTo>
                        <a:pt x="2731" y="796"/>
                        <a:pt x="2717" y="805"/>
                        <a:pt x="2728" y="812"/>
                      </a:cubicBezTo>
                      <a:cubicBezTo>
                        <a:pt x="2739" y="818"/>
                        <a:pt x="2763" y="818"/>
                        <a:pt x="2763" y="818"/>
                      </a:cubicBezTo>
                      <a:cubicBezTo>
                        <a:pt x="2732" y="829"/>
                        <a:pt x="2732" y="829"/>
                        <a:pt x="2732" y="829"/>
                      </a:cubicBezTo>
                      <a:cubicBezTo>
                        <a:pt x="2732" y="829"/>
                        <a:pt x="2737" y="850"/>
                        <a:pt x="2743" y="849"/>
                      </a:cubicBezTo>
                      <a:cubicBezTo>
                        <a:pt x="2748" y="848"/>
                        <a:pt x="2759" y="841"/>
                        <a:pt x="2759" y="841"/>
                      </a:cubicBezTo>
                      <a:cubicBezTo>
                        <a:pt x="2759" y="841"/>
                        <a:pt x="2761" y="856"/>
                        <a:pt x="2771" y="857"/>
                      </a:cubicBezTo>
                      <a:cubicBezTo>
                        <a:pt x="2780" y="858"/>
                        <a:pt x="2801" y="861"/>
                        <a:pt x="2801" y="861"/>
                      </a:cubicBezTo>
                      <a:cubicBezTo>
                        <a:pt x="2801" y="861"/>
                        <a:pt x="2800" y="878"/>
                        <a:pt x="2816" y="882"/>
                      </a:cubicBezTo>
                      <a:cubicBezTo>
                        <a:pt x="2832" y="886"/>
                        <a:pt x="2843" y="878"/>
                        <a:pt x="2857" y="886"/>
                      </a:cubicBezTo>
                      <a:cubicBezTo>
                        <a:pt x="2872" y="894"/>
                        <a:pt x="2908" y="909"/>
                        <a:pt x="2908" y="909"/>
                      </a:cubicBezTo>
                      <a:cubicBezTo>
                        <a:pt x="2908" y="909"/>
                        <a:pt x="2919" y="889"/>
                        <a:pt x="2907" y="876"/>
                      </a:cubicBezTo>
                      <a:cubicBezTo>
                        <a:pt x="2895" y="862"/>
                        <a:pt x="2875" y="850"/>
                        <a:pt x="2875" y="850"/>
                      </a:cubicBezTo>
                      <a:cubicBezTo>
                        <a:pt x="2875" y="850"/>
                        <a:pt x="2855" y="825"/>
                        <a:pt x="2860" y="817"/>
                      </a:cubicBezTo>
                      <a:cubicBezTo>
                        <a:pt x="2865" y="809"/>
                        <a:pt x="2888" y="832"/>
                        <a:pt x="2888" y="832"/>
                      </a:cubicBezTo>
                      <a:cubicBezTo>
                        <a:pt x="2888" y="812"/>
                        <a:pt x="2888" y="812"/>
                        <a:pt x="2888" y="812"/>
                      </a:cubicBezTo>
                      <a:cubicBezTo>
                        <a:pt x="2888" y="812"/>
                        <a:pt x="2897" y="837"/>
                        <a:pt x="2907" y="837"/>
                      </a:cubicBezTo>
                      <a:cubicBezTo>
                        <a:pt x="2916" y="837"/>
                        <a:pt x="2931" y="833"/>
                        <a:pt x="2931" y="833"/>
                      </a:cubicBezTo>
                      <a:cubicBezTo>
                        <a:pt x="2931" y="833"/>
                        <a:pt x="2927" y="854"/>
                        <a:pt x="2937" y="853"/>
                      </a:cubicBezTo>
                      <a:cubicBezTo>
                        <a:pt x="2948" y="852"/>
                        <a:pt x="2952" y="864"/>
                        <a:pt x="2952" y="864"/>
                      </a:cubicBezTo>
                      <a:cubicBezTo>
                        <a:pt x="2965" y="849"/>
                        <a:pt x="2965" y="849"/>
                        <a:pt x="2965" y="849"/>
                      </a:cubicBezTo>
                      <a:cubicBezTo>
                        <a:pt x="2965" y="849"/>
                        <a:pt x="2975" y="861"/>
                        <a:pt x="2980" y="858"/>
                      </a:cubicBezTo>
                      <a:cubicBezTo>
                        <a:pt x="2985" y="856"/>
                        <a:pt x="2979" y="840"/>
                        <a:pt x="2979" y="840"/>
                      </a:cubicBezTo>
                      <a:cubicBezTo>
                        <a:pt x="2989" y="809"/>
                        <a:pt x="2989" y="809"/>
                        <a:pt x="2989" y="809"/>
                      </a:cubicBezTo>
                      <a:cubicBezTo>
                        <a:pt x="2989" y="809"/>
                        <a:pt x="2989" y="836"/>
                        <a:pt x="2997" y="836"/>
                      </a:cubicBezTo>
                      <a:cubicBezTo>
                        <a:pt x="3005" y="836"/>
                        <a:pt x="3009" y="808"/>
                        <a:pt x="3009" y="808"/>
                      </a:cubicBezTo>
                      <a:cubicBezTo>
                        <a:pt x="2995" y="792"/>
                        <a:pt x="2995" y="792"/>
                        <a:pt x="2995" y="792"/>
                      </a:cubicBezTo>
                      <a:cubicBezTo>
                        <a:pt x="3009" y="788"/>
                        <a:pt x="3009" y="788"/>
                        <a:pt x="3009" y="788"/>
                      </a:cubicBezTo>
                      <a:cubicBezTo>
                        <a:pt x="2997" y="778"/>
                        <a:pt x="2997" y="778"/>
                        <a:pt x="2997" y="778"/>
                      </a:cubicBezTo>
                      <a:cubicBezTo>
                        <a:pt x="2999" y="765"/>
                        <a:pt x="2999" y="765"/>
                        <a:pt x="2999" y="765"/>
                      </a:cubicBezTo>
                      <a:cubicBezTo>
                        <a:pt x="2979" y="768"/>
                        <a:pt x="2979" y="768"/>
                        <a:pt x="2979" y="768"/>
                      </a:cubicBezTo>
                      <a:cubicBezTo>
                        <a:pt x="2979" y="757"/>
                        <a:pt x="2979" y="757"/>
                        <a:pt x="2979" y="757"/>
                      </a:cubicBezTo>
                      <a:cubicBezTo>
                        <a:pt x="2964" y="757"/>
                        <a:pt x="2964" y="757"/>
                        <a:pt x="2964" y="757"/>
                      </a:cubicBezTo>
                      <a:cubicBezTo>
                        <a:pt x="2963" y="724"/>
                        <a:pt x="2963" y="724"/>
                        <a:pt x="2963" y="724"/>
                      </a:cubicBezTo>
                      <a:cubicBezTo>
                        <a:pt x="2941" y="725"/>
                        <a:pt x="2941" y="725"/>
                        <a:pt x="2941" y="725"/>
                      </a:cubicBezTo>
                      <a:cubicBezTo>
                        <a:pt x="2941" y="725"/>
                        <a:pt x="2929" y="705"/>
                        <a:pt x="2941" y="702"/>
                      </a:cubicBezTo>
                      <a:cubicBezTo>
                        <a:pt x="2953" y="700"/>
                        <a:pt x="2961" y="717"/>
                        <a:pt x="2969" y="714"/>
                      </a:cubicBezTo>
                      <a:cubicBezTo>
                        <a:pt x="2977" y="712"/>
                        <a:pt x="2976" y="686"/>
                        <a:pt x="2976" y="686"/>
                      </a:cubicBezTo>
                      <a:cubicBezTo>
                        <a:pt x="2991" y="690"/>
                        <a:pt x="2991" y="690"/>
                        <a:pt x="2991" y="690"/>
                      </a:cubicBezTo>
                      <a:cubicBezTo>
                        <a:pt x="3016" y="678"/>
                        <a:pt x="3016" y="678"/>
                        <a:pt x="3016" y="678"/>
                      </a:cubicBezTo>
                      <a:cubicBezTo>
                        <a:pt x="3016" y="678"/>
                        <a:pt x="3017" y="710"/>
                        <a:pt x="3024" y="704"/>
                      </a:cubicBezTo>
                      <a:cubicBezTo>
                        <a:pt x="3031" y="697"/>
                        <a:pt x="3044" y="697"/>
                        <a:pt x="3044" y="697"/>
                      </a:cubicBezTo>
                      <a:cubicBezTo>
                        <a:pt x="3036" y="709"/>
                        <a:pt x="3036" y="709"/>
                        <a:pt x="3036" y="709"/>
                      </a:cubicBezTo>
                      <a:cubicBezTo>
                        <a:pt x="3051" y="710"/>
                        <a:pt x="3051" y="710"/>
                        <a:pt x="3051" y="710"/>
                      </a:cubicBezTo>
                      <a:cubicBezTo>
                        <a:pt x="3044" y="729"/>
                        <a:pt x="3044" y="729"/>
                        <a:pt x="3044" y="729"/>
                      </a:cubicBezTo>
                      <a:cubicBezTo>
                        <a:pt x="3044" y="729"/>
                        <a:pt x="3067" y="770"/>
                        <a:pt x="3083" y="760"/>
                      </a:cubicBezTo>
                      <a:cubicBezTo>
                        <a:pt x="3099" y="749"/>
                        <a:pt x="3101" y="724"/>
                        <a:pt x="3101" y="724"/>
                      </a:cubicBezTo>
                      <a:cubicBezTo>
                        <a:pt x="3108" y="714"/>
                        <a:pt x="3108" y="714"/>
                        <a:pt x="3108" y="714"/>
                      </a:cubicBezTo>
                      <a:cubicBezTo>
                        <a:pt x="3108" y="714"/>
                        <a:pt x="3127" y="730"/>
                        <a:pt x="3140" y="721"/>
                      </a:cubicBezTo>
                      <a:cubicBezTo>
                        <a:pt x="3153" y="712"/>
                        <a:pt x="3152" y="694"/>
                        <a:pt x="3152" y="694"/>
                      </a:cubicBezTo>
                      <a:cubicBezTo>
                        <a:pt x="3152" y="694"/>
                        <a:pt x="3187" y="704"/>
                        <a:pt x="3201" y="688"/>
                      </a:cubicBezTo>
                      <a:cubicBezTo>
                        <a:pt x="3216" y="672"/>
                        <a:pt x="3177" y="661"/>
                        <a:pt x="3172" y="665"/>
                      </a:cubicBezTo>
                      <a:close/>
                      <a:moveTo>
                        <a:pt x="2983" y="872"/>
                      </a:moveTo>
                      <a:cubicBezTo>
                        <a:pt x="2963" y="876"/>
                        <a:pt x="2963" y="876"/>
                        <a:pt x="2963" y="876"/>
                      </a:cubicBezTo>
                      <a:cubicBezTo>
                        <a:pt x="2960" y="885"/>
                        <a:pt x="2960" y="885"/>
                        <a:pt x="2960" y="885"/>
                      </a:cubicBezTo>
                      <a:cubicBezTo>
                        <a:pt x="2983" y="882"/>
                        <a:pt x="2983" y="882"/>
                        <a:pt x="2983" y="882"/>
                      </a:cubicBezTo>
                      <a:lnTo>
                        <a:pt x="2983" y="872"/>
                      </a:lnTo>
                      <a:close/>
                      <a:moveTo>
                        <a:pt x="2758" y="861"/>
                      </a:moveTo>
                      <a:cubicBezTo>
                        <a:pt x="2746" y="862"/>
                        <a:pt x="2747" y="878"/>
                        <a:pt x="2761" y="878"/>
                      </a:cubicBezTo>
                      <a:cubicBezTo>
                        <a:pt x="2785" y="878"/>
                        <a:pt x="2771" y="859"/>
                        <a:pt x="2758" y="861"/>
                      </a:cubicBezTo>
                      <a:close/>
                      <a:moveTo>
                        <a:pt x="2555" y="832"/>
                      </a:moveTo>
                      <a:cubicBezTo>
                        <a:pt x="2565" y="822"/>
                        <a:pt x="2540" y="818"/>
                        <a:pt x="2540" y="818"/>
                      </a:cubicBezTo>
                      <a:cubicBezTo>
                        <a:pt x="2540" y="818"/>
                        <a:pt x="2540" y="847"/>
                        <a:pt x="2555" y="832"/>
                      </a:cubicBezTo>
                      <a:close/>
                      <a:moveTo>
                        <a:pt x="2800" y="969"/>
                      </a:moveTo>
                      <a:cubicBezTo>
                        <a:pt x="2777" y="971"/>
                        <a:pt x="2777" y="971"/>
                        <a:pt x="2777" y="971"/>
                      </a:cubicBezTo>
                      <a:cubicBezTo>
                        <a:pt x="2801" y="987"/>
                        <a:pt x="2801" y="987"/>
                        <a:pt x="2801" y="987"/>
                      </a:cubicBezTo>
                      <a:cubicBezTo>
                        <a:pt x="2820" y="978"/>
                        <a:pt x="2800" y="969"/>
                        <a:pt x="2800" y="969"/>
                      </a:cubicBezTo>
                      <a:close/>
                      <a:moveTo>
                        <a:pt x="2779" y="582"/>
                      </a:moveTo>
                      <a:cubicBezTo>
                        <a:pt x="2752" y="576"/>
                        <a:pt x="2779" y="594"/>
                        <a:pt x="2779" y="594"/>
                      </a:cubicBezTo>
                      <a:cubicBezTo>
                        <a:pt x="2795" y="592"/>
                        <a:pt x="2807" y="588"/>
                        <a:pt x="2779" y="582"/>
                      </a:cubicBezTo>
                      <a:close/>
                      <a:moveTo>
                        <a:pt x="2779" y="626"/>
                      </a:moveTo>
                      <a:cubicBezTo>
                        <a:pt x="2821" y="624"/>
                        <a:pt x="2821" y="624"/>
                        <a:pt x="2821" y="624"/>
                      </a:cubicBezTo>
                      <a:cubicBezTo>
                        <a:pt x="2821" y="613"/>
                        <a:pt x="2821" y="613"/>
                        <a:pt x="2821" y="613"/>
                      </a:cubicBezTo>
                      <a:cubicBezTo>
                        <a:pt x="2791" y="615"/>
                        <a:pt x="2791" y="615"/>
                        <a:pt x="2791" y="615"/>
                      </a:cubicBezTo>
                      <a:lnTo>
                        <a:pt x="2779" y="626"/>
                      </a:lnTo>
                      <a:close/>
                      <a:moveTo>
                        <a:pt x="3715" y="26"/>
                      </a:moveTo>
                      <a:cubicBezTo>
                        <a:pt x="3713" y="23"/>
                        <a:pt x="3658" y="28"/>
                        <a:pt x="3658" y="28"/>
                      </a:cubicBezTo>
                      <a:cubicBezTo>
                        <a:pt x="3660" y="18"/>
                        <a:pt x="3660" y="18"/>
                        <a:pt x="3660" y="18"/>
                      </a:cubicBezTo>
                      <a:cubicBezTo>
                        <a:pt x="3660" y="18"/>
                        <a:pt x="3625" y="10"/>
                        <a:pt x="3612" y="10"/>
                      </a:cubicBezTo>
                      <a:cubicBezTo>
                        <a:pt x="3599" y="10"/>
                        <a:pt x="3527" y="25"/>
                        <a:pt x="3527" y="25"/>
                      </a:cubicBezTo>
                      <a:cubicBezTo>
                        <a:pt x="3560" y="10"/>
                        <a:pt x="3560" y="10"/>
                        <a:pt x="3560" y="10"/>
                      </a:cubicBezTo>
                      <a:cubicBezTo>
                        <a:pt x="3515" y="12"/>
                        <a:pt x="3515" y="12"/>
                        <a:pt x="3515" y="12"/>
                      </a:cubicBezTo>
                      <a:cubicBezTo>
                        <a:pt x="3515" y="12"/>
                        <a:pt x="3479" y="0"/>
                        <a:pt x="3469" y="2"/>
                      </a:cubicBezTo>
                      <a:cubicBezTo>
                        <a:pt x="3458" y="4"/>
                        <a:pt x="3453" y="15"/>
                        <a:pt x="3453" y="15"/>
                      </a:cubicBezTo>
                      <a:cubicBezTo>
                        <a:pt x="3453" y="15"/>
                        <a:pt x="3427" y="3"/>
                        <a:pt x="3418" y="3"/>
                      </a:cubicBezTo>
                      <a:cubicBezTo>
                        <a:pt x="3409" y="3"/>
                        <a:pt x="3389" y="18"/>
                        <a:pt x="3389" y="18"/>
                      </a:cubicBezTo>
                      <a:cubicBezTo>
                        <a:pt x="3363" y="10"/>
                        <a:pt x="3363" y="10"/>
                        <a:pt x="3363" y="10"/>
                      </a:cubicBezTo>
                      <a:cubicBezTo>
                        <a:pt x="3290" y="7"/>
                        <a:pt x="3290" y="7"/>
                        <a:pt x="3290" y="7"/>
                      </a:cubicBezTo>
                      <a:cubicBezTo>
                        <a:pt x="3308" y="25"/>
                        <a:pt x="3308" y="25"/>
                        <a:pt x="3308" y="25"/>
                      </a:cubicBezTo>
                      <a:cubicBezTo>
                        <a:pt x="3266" y="11"/>
                        <a:pt x="3266" y="11"/>
                        <a:pt x="3266" y="11"/>
                      </a:cubicBezTo>
                      <a:cubicBezTo>
                        <a:pt x="3225" y="18"/>
                        <a:pt x="3225" y="18"/>
                        <a:pt x="3225" y="18"/>
                      </a:cubicBezTo>
                      <a:cubicBezTo>
                        <a:pt x="3225" y="18"/>
                        <a:pt x="3195" y="12"/>
                        <a:pt x="3179" y="12"/>
                      </a:cubicBezTo>
                      <a:cubicBezTo>
                        <a:pt x="3163" y="12"/>
                        <a:pt x="3114" y="24"/>
                        <a:pt x="3114" y="24"/>
                      </a:cubicBezTo>
                      <a:cubicBezTo>
                        <a:pt x="3172" y="42"/>
                        <a:pt x="3172" y="42"/>
                        <a:pt x="3172" y="42"/>
                      </a:cubicBezTo>
                      <a:cubicBezTo>
                        <a:pt x="3114" y="34"/>
                        <a:pt x="3114" y="34"/>
                        <a:pt x="3114" y="34"/>
                      </a:cubicBezTo>
                      <a:cubicBezTo>
                        <a:pt x="3114" y="34"/>
                        <a:pt x="3059" y="23"/>
                        <a:pt x="3034" y="25"/>
                      </a:cubicBezTo>
                      <a:cubicBezTo>
                        <a:pt x="3010" y="28"/>
                        <a:pt x="3018" y="42"/>
                        <a:pt x="3018" y="42"/>
                      </a:cubicBezTo>
                      <a:cubicBezTo>
                        <a:pt x="3018" y="42"/>
                        <a:pt x="2956" y="36"/>
                        <a:pt x="2943" y="36"/>
                      </a:cubicBezTo>
                      <a:cubicBezTo>
                        <a:pt x="2930" y="36"/>
                        <a:pt x="2830" y="46"/>
                        <a:pt x="2826" y="48"/>
                      </a:cubicBezTo>
                      <a:cubicBezTo>
                        <a:pt x="2823" y="50"/>
                        <a:pt x="2849" y="56"/>
                        <a:pt x="2849" y="56"/>
                      </a:cubicBezTo>
                      <a:cubicBezTo>
                        <a:pt x="2905" y="59"/>
                        <a:pt x="2905" y="59"/>
                        <a:pt x="2905" y="59"/>
                      </a:cubicBezTo>
                      <a:cubicBezTo>
                        <a:pt x="2850" y="67"/>
                        <a:pt x="2850" y="67"/>
                        <a:pt x="2850" y="67"/>
                      </a:cubicBezTo>
                      <a:cubicBezTo>
                        <a:pt x="2850" y="67"/>
                        <a:pt x="2870" y="76"/>
                        <a:pt x="2884" y="76"/>
                      </a:cubicBezTo>
                      <a:cubicBezTo>
                        <a:pt x="2898" y="76"/>
                        <a:pt x="2935" y="70"/>
                        <a:pt x="2935" y="70"/>
                      </a:cubicBezTo>
                      <a:cubicBezTo>
                        <a:pt x="2935" y="70"/>
                        <a:pt x="2960" y="62"/>
                        <a:pt x="2978" y="62"/>
                      </a:cubicBezTo>
                      <a:cubicBezTo>
                        <a:pt x="2997" y="62"/>
                        <a:pt x="3040" y="71"/>
                        <a:pt x="3040" y="71"/>
                      </a:cubicBezTo>
                      <a:cubicBezTo>
                        <a:pt x="3040" y="71"/>
                        <a:pt x="2989" y="72"/>
                        <a:pt x="2977" y="73"/>
                      </a:cubicBezTo>
                      <a:cubicBezTo>
                        <a:pt x="2965" y="74"/>
                        <a:pt x="2930" y="87"/>
                        <a:pt x="2930" y="87"/>
                      </a:cubicBezTo>
                      <a:cubicBezTo>
                        <a:pt x="2930" y="87"/>
                        <a:pt x="2958" y="87"/>
                        <a:pt x="2979" y="89"/>
                      </a:cubicBezTo>
                      <a:cubicBezTo>
                        <a:pt x="3001" y="91"/>
                        <a:pt x="3006" y="83"/>
                        <a:pt x="3006" y="83"/>
                      </a:cubicBezTo>
                      <a:cubicBezTo>
                        <a:pt x="3050" y="83"/>
                        <a:pt x="3050" y="83"/>
                        <a:pt x="3050" y="83"/>
                      </a:cubicBezTo>
                      <a:cubicBezTo>
                        <a:pt x="3050" y="83"/>
                        <a:pt x="3064" y="84"/>
                        <a:pt x="3081" y="84"/>
                      </a:cubicBezTo>
                      <a:cubicBezTo>
                        <a:pt x="3098" y="84"/>
                        <a:pt x="3138" y="73"/>
                        <a:pt x="3142" y="70"/>
                      </a:cubicBezTo>
                      <a:cubicBezTo>
                        <a:pt x="3147" y="66"/>
                        <a:pt x="3173" y="63"/>
                        <a:pt x="3186" y="59"/>
                      </a:cubicBezTo>
                      <a:cubicBezTo>
                        <a:pt x="3199" y="54"/>
                        <a:pt x="3220" y="59"/>
                        <a:pt x="3220" y="59"/>
                      </a:cubicBezTo>
                      <a:cubicBezTo>
                        <a:pt x="3162" y="76"/>
                        <a:pt x="3162" y="76"/>
                        <a:pt x="3162" y="76"/>
                      </a:cubicBezTo>
                      <a:cubicBezTo>
                        <a:pt x="3185" y="77"/>
                        <a:pt x="3185" y="77"/>
                        <a:pt x="3185" y="77"/>
                      </a:cubicBezTo>
                      <a:cubicBezTo>
                        <a:pt x="3153" y="87"/>
                        <a:pt x="3153" y="87"/>
                        <a:pt x="3153" y="87"/>
                      </a:cubicBezTo>
                      <a:cubicBezTo>
                        <a:pt x="3153" y="87"/>
                        <a:pt x="3040" y="92"/>
                        <a:pt x="3027" y="92"/>
                      </a:cubicBezTo>
                      <a:cubicBezTo>
                        <a:pt x="3014" y="92"/>
                        <a:pt x="3014" y="104"/>
                        <a:pt x="3014" y="104"/>
                      </a:cubicBezTo>
                      <a:cubicBezTo>
                        <a:pt x="3065" y="119"/>
                        <a:pt x="3065" y="119"/>
                        <a:pt x="3065" y="119"/>
                      </a:cubicBezTo>
                      <a:cubicBezTo>
                        <a:pt x="3065" y="119"/>
                        <a:pt x="3045" y="125"/>
                        <a:pt x="3033" y="125"/>
                      </a:cubicBezTo>
                      <a:cubicBezTo>
                        <a:pt x="3022" y="125"/>
                        <a:pt x="2974" y="99"/>
                        <a:pt x="2974" y="99"/>
                      </a:cubicBezTo>
                      <a:cubicBezTo>
                        <a:pt x="2974" y="99"/>
                        <a:pt x="2925" y="100"/>
                        <a:pt x="2912" y="100"/>
                      </a:cubicBezTo>
                      <a:cubicBezTo>
                        <a:pt x="2899" y="100"/>
                        <a:pt x="2891" y="115"/>
                        <a:pt x="2891" y="115"/>
                      </a:cubicBezTo>
                      <a:cubicBezTo>
                        <a:pt x="2912" y="126"/>
                        <a:pt x="2912" y="126"/>
                        <a:pt x="2912" y="126"/>
                      </a:cubicBezTo>
                      <a:cubicBezTo>
                        <a:pt x="2912" y="126"/>
                        <a:pt x="2923" y="142"/>
                        <a:pt x="2940" y="145"/>
                      </a:cubicBezTo>
                      <a:cubicBezTo>
                        <a:pt x="2956" y="148"/>
                        <a:pt x="2989" y="144"/>
                        <a:pt x="2989" y="144"/>
                      </a:cubicBezTo>
                      <a:cubicBezTo>
                        <a:pt x="2989" y="144"/>
                        <a:pt x="2981" y="153"/>
                        <a:pt x="2964" y="155"/>
                      </a:cubicBezTo>
                      <a:cubicBezTo>
                        <a:pt x="2948" y="157"/>
                        <a:pt x="2917" y="151"/>
                        <a:pt x="2909" y="149"/>
                      </a:cubicBezTo>
                      <a:cubicBezTo>
                        <a:pt x="2902" y="147"/>
                        <a:pt x="2846" y="157"/>
                        <a:pt x="2828" y="157"/>
                      </a:cubicBezTo>
                      <a:cubicBezTo>
                        <a:pt x="2809" y="157"/>
                        <a:pt x="2774" y="182"/>
                        <a:pt x="2774" y="182"/>
                      </a:cubicBezTo>
                      <a:cubicBezTo>
                        <a:pt x="2823" y="174"/>
                        <a:pt x="2823" y="174"/>
                        <a:pt x="2823" y="174"/>
                      </a:cubicBezTo>
                      <a:cubicBezTo>
                        <a:pt x="2821" y="186"/>
                        <a:pt x="2821" y="186"/>
                        <a:pt x="2821" y="186"/>
                      </a:cubicBezTo>
                      <a:cubicBezTo>
                        <a:pt x="2863" y="174"/>
                        <a:pt x="2863" y="174"/>
                        <a:pt x="2863" y="174"/>
                      </a:cubicBezTo>
                      <a:cubicBezTo>
                        <a:pt x="2816" y="192"/>
                        <a:pt x="2816" y="192"/>
                        <a:pt x="2816" y="192"/>
                      </a:cubicBezTo>
                      <a:cubicBezTo>
                        <a:pt x="2816" y="192"/>
                        <a:pt x="2824" y="203"/>
                        <a:pt x="2840" y="203"/>
                      </a:cubicBezTo>
                      <a:cubicBezTo>
                        <a:pt x="2857" y="203"/>
                        <a:pt x="2902" y="186"/>
                        <a:pt x="2902" y="186"/>
                      </a:cubicBezTo>
                      <a:cubicBezTo>
                        <a:pt x="2834" y="212"/>
                        <a:pt x="2834" y="212"/>
                        <a:pt x="2834" y="212"/>
                      </a:cubicBezTo>
                      <a:cubicBezTo>
                        <a:pt x="2789" y="209"/>
                        <a:pt x="2789" y="209"/>
                        <a:pt x="2789" y="209"/>
                      </a:cubicBezTo>
                      <a:cubicBezTo>
                        <a:pt x="2780" y="192"/>
                        <a:pt x="2780" y="192"/>
                        <a:pt x="2780" y="192"/>
                      </a:cubicBezTo>
                      <a:cubicBezTo>
                        <a:pt x="2780" y="192"/>
                        <a:pt x="2747" y="189"/>
                        <a:pt x="2737" y="191"/>
                      </a:cubicBezTo>
                      <a:cubicBezTo>
                        <a:pt x="2727" y="193"/>
                        <a:pt x="2741" y="218"/>
                        <a:pt x="2741" y="218"/>
                      </a:cubicBezTo>
                      <a:cubicBezTo>
                        <a:pt x="2741" y="218"/>
                        <a:pt x="2697" y="222"/>
                        <a:pt x="2691" y="222"/>
                      </a:cubicBezTo>
                      <a:cubicBezTo>
                        <a:pt x="2684" y="222"/>
                        <a:pt x="2654" y="237"/>
                        <a:pt x="2634" y="239"/>
                      </a:cubicBezTo>
                      <a:cubicBezTo>
                        <a:pt x="2622" y="240"/>
                        <a:pt x="2613" y="241"/>
                        <a:pt x="2610" y="241"/>
                      </a:cubicBezTo>
                      <a:cubicBezTo>
                        <a:pt x="2607" y="241"/>
                        <a:pt x="2626" y="247"/>
                        <a:pt x="2641" y="247"/>
                      </a:cubicBezTo>
                      <a:cubicBezTo>
                        <a:pt x="2656" y="247"/>
                        <a:pt x="2663" y="240"/>
                        <a:pt x="2663" y="240"/>
                      </a:cubicBezTo>
                      <a:cubicBezTo>
                        <a:pt x="2655" y="252"/>
                        <a:pt x="2655" y="252"/>
                        <a:pt x="2655" y="252"/>
                      </a:cubicBezTo>
                      <a:cubicBezTo>
                        <a:pt x="2680" y="247"/>
                        <a:pt x="2680" y="247"/>
                        <a:pt x="2680" y="247"/>
                      </a:cubicBezTo>
                      <a:cubicBezTo>
                        <a:pt x="2695" y="240"/>
                        <a:pt x="2695" y="240"/>
                        <a:pt x="2695" y="240"/>
                      </a:cubicBezTo>
                      <a:cubicBezTo>
                        <a:pt x="2695" y="248"/>
                        <a:pt x="2695" y="248"/>
                        <a:pt x="2695" y="248"/>
                      </a:cubicBezTo>
                      <a:cubicBezTo>
                        <a:pt x="2712" y="246"/>
                        <a:pt x="2712" y="246"/>
                        <a:pt x="2712" y="246"/>
                      </a:cubicBezTo>
                      <a:cubicBezTo>
                        <a:pt x="2728" y="244"/>
                        <a:pt x="2728" y="244"/>
                        <a:pt x="2728" y="244"/>
                      </a:cubicBezTo>
                      <a:cubicBezTo>
                        <a:pt x="2728" y="244"/>
                        <a:pt x="2729" y="253"/>
                        <a:pt x="2740" y="254"/>
                      </a:cubicBezTo>
                      <a:cubicBezTo>
                        <a:pt x="2751" y="255"/>
                        <a:pt x="2773" y="241"/>
                        <a:pt x="2773" y="241"/>
                      </a:cubicBezTo>
                      <a:cubicBezTo>
                        <a:pt x="2778" y="250"/>
                        <a:pt x="2778" y="250"/>
                        <a:pt x="2778" y="250"/>
                      </a:cubicBezTo>
                      <a:cubicBezTo>
                        <a:pt x="2796" y="240"/>
                        <a:pt x="2796" y="240"/>
                        <a:pt x="2796" y="240"/>
                      </a:cubicBezTo>
                      <a:cubicBezTo>
                        <a:pt x="2796" y="240"/>
                        <a:pt x="2802" y="248"/>
                        <a:pt x="2810" y="251"/>
                      </a:cubicBezTo>
                      <a:cubicBezTo>
                        <a:pt x="2819" y="253"/>
                        <a:pt x="2828" y="242"/>
                        <a:pt x="2828" y="242"/>
                      </a:cubicBezTo>
                      <a:cubicBezTo>
                        <a:pt x="2828" y="242"/>
                        <a:pt x="2837" y="250"/>
                        <a:pt x="2850" y="250"/>
                      </a:cubicBezTo>
                      <a:cubicBezTo>
                        <a:pt x="2863" y="250"/>
                        <a:pt x="2853" y="238"/>
                        <a:pt x="2853" y="238"/>
                      </a:cubicBezTo>
                      <a:cubicBezTo>
                        <a:pt x="2891" y="252"/>
                        <a:pt x="2891" y="252"/>
                        <a:pt x="2891" y="252"/>
                      </a:cubicBezTo>
                      <a:cubicBezTo>
                        <a:pt x="2891" y="252"/>
                        <a:pt x="2898" y="261"/>
                        <a:pt x="2902" y="261"/>
                      </a:cubicBezTo>
                      <a:cubicBezTo>
                        <a:pt x="2906" y="261"/>
                        <a:pt x="2964" y="248"/>
                        <a:pt x="2975" y="248"/>
                      </a:cubicBezTo>
                      <a:cubicBezTo>
                        <a:pt x="2986" y="248"/>
                        <a:pt x="3011" y="238"/>
                        <a:pt x="3015" y="231"/>
                      </a:cubicBezTo>
                      <a:cubicBezTo>
                        <a:pt x="3019" y="225"/>
                        <a:pt x="2973" y="230"/>
                        <a:pt x="2973" y="230"/>
                      </a:cubicBezTo>
                      <a:cubicBezTo>
                        <a:pt x="2973" y="230"/>
                        <a:pt x="2982" y="223"/>
                        <a:pt x="2975" y="220"/>
                      </a:cubicBezTo>
                      <a:cubicBezTo>
                        <a:pt x="2969" y="218"/>
                        <a:pt x="2943" y="220"/>
                        <a:pt x="2943" y="220"/>
                      </a:cubicBezTo>
                      <a:cubicBezTo>
                        <a:pt x="2905" y="214"/>
                        <a:pt x="2905" y="214"/>
                        <a:pt x="2905" y="214"/>
                      </a:cubicBezTo>
                      <a:cubicBezTo>
                        <a:pt x="2917" y="201"/>
                        <a:pt x="2917" y="201"/>
                        <a:pt x="2917" y="201"/>
                      </a:cubicBezTo>
                      <a:cubicBezTo>
                        <a:pt x="2959" y="215"/>
                        <a:pt x="2959" y="215"/>
                        <a:pt x="2959" y="215"/>
                      </a:cubicBezTo>
                      <a:cubicBezTo>
                        <a:pt x="2959" y="215"/>
                        <a:pt x="3014" y="212"/>
                        <a:pt x="3034" y="211"/>
                      </a:cubicBezTo>
                      <a:cubicBezTo>
                        <a:pt x="3055" y="210"/>
                        <a:pt x="3050" y="192"/>
                        <a:pt x="3050" y="192"/>
                      </a:cubicBezTo>
                      <a:cubicBezTo>
                        <a:pt x="3050" y="192"/>
                        <a:pt x="3075" y="187"/>
                        <a:pt x="3094" y="187"/>
                      </a:cubicBezTo>
                      <a:cubicBezTo>
                        <a:pt x="3112" y="187"/>
                        <a:pt x="3150" y="178"/>
                        <a:pt x="3150" y="178"/>
                      </a:cubicBezTo>
                      <a:cubicBezTo>
                        <a:pt x="3132" y="167"/>
                        <a:pt x="3132" y="167"/>
                        <a:pt x="3132" y="167"/>
                      </a:cubicBezTo>
                      <a:cubicBezTo>
                        <a:pt x="3132" y="167"/>
                        <a:pt x="3155" y="167"/>
                        <a:pt x="3180" y="161"/>
                      </a:cubicBezTo>
                      <a:cubicBezTo>
                        <a:pt x="3205" y="156"/>
                        <a:pt x="3147" y="146"/>
                        <a:pt x="3147" y="146"/>
                      </a:cubicBezTo>
                      <a:cubicBezTo>
                        <a:pt x="3147" y="146"/>
                        <a:pt x="3115" y="147"/>
                        <a:pt x="3104" y="143"/>
                      </a:cubicBezTo>
                      <a:cubicBezTo>
                        <a:pt x="3094" y="139"/>
                        <a:pt x="3152" y="125"/>
                        <a:pt x="3155" y="126"/>
                      </a:cubicBezTo>
                      <a:cubicBezTo>
                        <a:pt x="3158" y="127"/>
                        <a:pt x="3200" y="131"/>
                        <a:pt x="3200" y="131"/>
                      </a:cubicBezTo>
                      <a:cubicBezTo>
                        <a:pt x="3200" y="131"/>
                        <a:pt x="3248" y="129"/>
                        <a:pt x="3263" y="126"/>
                      </a:cubicBezTo>
                      <a:cubicBezTo>
                        <a:pt x="3278" y="122"/>
                        <a:pt x="3229" y="120"/>
                        <a:pt x="3247" y="113"/>
                      </a:cubicBezTo>
                      <a:cubicBezTo>
                        <a:pt x="3264" y="105"/>
                        <a:pt x="3296" y="119"/>
                        <a:pt x="3316" y="119"/>
                      </a:cubicBezTo>
                      <a:cubicBezTo>
                        <a:pt x="3335" y="119"/>
                        <a:pt x="3328" y="102"/>
                        <a:pt x="3328" y="102"/>
                      </a:cubicBezTo>
                      <a:cubicBezTo>
                        <a:pt x="3376" y="105"/>
                        <a:pt x="3376" y="105"/>
                        <a:pt x="3376" y="105"/>
                      </a:cubicBezTo>
                      <a:cubicBezTo>
                        <a:pt x="3379" y="91"/>
                        <a:pt x="3379" y="91"/>
                        <a:pt x="3379" y="91"/>
                      </a:cubicBezTo>
                      <a:cubicBezTo>
                        <a:pt x="3379" y="91"/>
                        <a:pt x="3392" y="95"/>
                        <a:pt x="3401" y="95"/>
                      </a:cubicBezTo>
                      <a:cubicBezTo>
                        <a:pt x="3409" y="95"/>
                        <a:pt x="3440" y="83"/>
                        <a:pt x="3440" y="83"/>
                      </a:cubicBezTo>
                      <a:cubicBezTo>
                        <a:pt x="3440" y="83"/>
                        <a:pt x="3499" y="73"/>
                        <a:pt x="3531" y="67"/>
                      </a:cubicBezTo>
                      <a:cubicBezTo>
                        <a:pt x="3564" y="62"/>
                        <a:pt x="3567" y="57"/>
                        <a:pt x="3562" y="57"/>
                      </a:cubicBezTo>
                      <a:cubicBezTo>
                        <a:pt x="3558" y="57"/>
                        <a:pt x="3491" y="60"/>
                        <a:pt x="3491" y="60"/>
                      </a:cubicBezTo>
                      <a:cubicBezTo>
                        <a:pt x="3474" y="67"/>
                        <a:pt x="3474" y="67"/>
                        <a:pt x="3474" y="67"/>
                      </a:cubicBezTo>
                      <a:cubicBezTo>
                        <a:pt x="3428" y="64"/>
                        <a:pt x="3428" y="64"/>
                        <a:pt x="3428" y="64"/>
                      </a:cubicBezTo>
                      <a:cubicBezTo>
                        <a:pt x="3481" y="61"/>
                        <a:pt x="3481" y="61"/>
                        <a:pt x="3481" y="61"/>
                      </a:cubicBezTo>
                      <a:cubicBezTo>
                        <a:pt x="3479" y="52"/>
                        <a:pt x="3479" y="52"/>
                        <a:pt x="3479" y="52"/>
                      </a:cubicBezTo>
                      <a:cubicBezTo>
                        <a:pt x="3512" y="57"/>
                        <a:pt x="3512" y="57"/>
                        <a:pt x="3512" y="57"/>
                      </a:cubicBezTo>
                      <a:cubicBezTo>
                        <a:pt x="3512" y="57"/>
                        <a:pt x="3517" y="49"/>
                        <a:pt x="3526" y="49"/>
                      </a:cubicBezTo>
                      <a:cubicBezTo>
                        <a:pt x="3534" y="49"/>
                        <a:pt x="3635" y="45"/>
                        <a:pt x="3653" y="44"/>
                      </a:cubicBezTo>
                      <a:cubicBezTo>
                        <a:pt x="3671" y="43"/>
                        <a:pt x="3718" y="30"/>
                        <a:pt x="3715" y="26"/>
                      </a:cubicBezTo>
                      <a:close/>
                      <a:moveTo>
                        <a:pt x="2687" y="644"/>
                      </a:moveTo>
                      <a:cubicBezTo>
                        <a:pt x="2722" y="650"/>
                        <a:pt x="2732" y="643"/>
                        <a:pt x="2747" y="633"/>
                      </a:cubicBezTo>
                      <a:cubicBezTo>
                        <a:pt x="2763" y="624"/>
                        <a:pt x="2759" y="608"/>
                        <a:pt x="2745" y="604"/>
                      </a:cubicBezTo>
                      <a:cubicBezTo>
                        <a:pt x="2731" y="601"/>
                        <a:pt x="2698" y="610"/>
                        <a:pt x="2698" y="610"/>
                      </a:cubicBezTo>
                      <a:cubicBezTo>
                        <a:pt x="2660" y="634"/>
                        <a:pt x="2652" y="639"/>
                        <a:pt x="2687" y="644"/>
                      </a:cubicBezTo>
                      <a:close/>
                      <a:moveTo>
                        <a:pt x="2674" y="560"/>
                      </a:moveTo>
                      <a:cubicBezTo>
                        <a:pt x="2658" y="565"/>
                        <a:pt x="2633" y="576"/>
                        <a:pt x="2657" y="571"/>
                      </a:cubicBezTo>
                      <a:cubicBezTo>
                        <a:pt x="2680" y="566"/>
                        <a:pt x="2700" y="558"/>
                        <a:pt x="2700" y="558"/>
                      </a:cubicBezTo>
                      <a:cubicBezTo>
                        <a:pt x="2724" y="540"/>
                        <a:pt x="2690" y="555"/>
                        <a:pt x="2674" y="560"/>
                      </a:cubicBezTo>
                      <a:close/>
                      <a:moveTo>
                        <a:pt x="2747" y="549"/>
                      </a:moveTo>
                      <a:cubicBezTo>
                        <a:pt x="2733" y="543"/>
                        <a:pt x="2722" y="562"/>
                        <a:pt x="2735" y="566"/>
                      </a:cubicBezTo>
                      <a:cubicBezTo>
                        <a:pt x="2735" y="566"/>
                        <a:pt x="2761" y="555"/>
                        <a:pt x="2747" y="549"/>
                      </a:cubicBezTo>
                      <a:close/>
                      <a:moveTo>
                        <a:pt x="2349" y="710"/>
                      </a:moveTo>
                      <a:cubicBezTo>
                        <a:pt x="2337" y="712"/>
                        <a:pt x="2327" y="729"/>
                        <a:pt x="2346" y="729"/>
                      </a:cubicBezTo>
                      <a:cubicBezTo>
                        <a:pt x="2357" y="729"/>
                        <a:pt x="2362" y="708"/>
                        <a:pt x="2349" y="710"/>
                      </a:cubicBezTo>
                      <a:close/>
                      <a:moveTo>
                        <a:pt x="2390" y="712"/>
                      </a:moveTo>
                      <a:cubicBezTo>
                        <a:pt x="2374" y="710"/>
                        <a:pt x="2385" y="727"/>
                        <a:pt x="2385" y="727"/>
                      </a:cubicBezTo>
                      <a:cubicBezTo>
                        <a:pt x="2396" y="726"/>
                        <a:pt x="2405" y="713"/>
                        <a:pt x="2390" y="712"/>
                      </a:cubicBezTo>
                      <a:close/>
                      <a:moveTo>
                        <a:pt x="2500" y="829"/>
                      </a:moveTo>
                      <a:cubicBezTo>
                        <a:pt x="2477" y="841"/>
                        <a:pt x="2509" y="849"/>
                        <a:pt x="2509" y="849"/>
                      </a:cubicBezTo>
                      <a:cubicBezTo>
                        <a:pt x="2532" y="836"/>
                        <a:pt x="2524" y="816"/>
                        <a:pt x="2500" y="829"/>
                      </a:cubicBezTo>
                      <a:close/>
                      <a:moveTo>
                        <a:pt x="2653" y="1691"/>
                      </a:moveTo>
                      <a:cubicBezTo>
                        <a:pt x="2633" y="1687"/>
                        <a:pt x="2622" y="1678"/>
                        <a:pt x="2622" y="1678"/>
                      </a:cubicBezTo>
                      <a:cubicBezTo>
                        <a:pt x="2612" y="1687"/>
                        <a:pt x="2612" y="1687"/>
                        <a:pt x="2612" y="1687"/>
                      </a:cubicBezTo>
                      <a:cubicBezTo>
                        <a:pt x="2612" y="1687"/>
                        <a:pt x="2629" y="1696"/>
                        <a:pt x="2633" y="1699"/>
                      </a:cubicBezTo>
                      <a:cubicBezTo>
                        <a:pt x="2637" y="1702"/>
                        <a:pt x="2656" y="1701"/>
                        <a:pt x="2656" y="1701"/>
                      </a:cubicBezTo>
                      <a:cubicBezTo>
                        <a:pt x="2656" y="1701"/>
                        <a:pt x="2666" y="1706"/>
                        <a:pt x="2676" y="1705"/>
                      </a:cubicBezTo>
                      <a:cubicBezTo>
                        <a:pt x="2687" y="1704"/>
                        <a:pt x="2691" y="1693"/>
                        <a:pt x="2691" y="1693"/>
                      </a:cubicBezTo>
                      <a:cubicBezTo>
                        <a:pt x="2691" y="1693"/>
                        <a:pt x="2674" y="1695"/>
                        <a:pt x="2653" y="1691"/>
                      </a:cubicBezTo>
                      <a:close/>
                      <a:moveTo>
                        <a:pt x="2731" y="1524"/>
                      </a:moveTo>
                      <a:cubicBezTo>
                        <a:pt x="2731" y="1524"/>
                        <a:pt x="2698" y="1516"/>
                        <a:pt x="2671" y="1515"/>
                      </a:cubicBezTo>
                      <a:cubicBezTo>
                        <a:pt x="2644" y="1514"/>
                        <a:pt x="2686" y="1526"/>
                        <a:pt x="2686" y="1526"/>
                      </a:cubicBezTo>
                      <a:cubicBezTo>
                        <a:pt x="2686" y="1536"/>
                        <a:pt x="2686" y="1536"/>
                        <a:pt x="2686" y="1536"/>
                      </a:cubicBezTo>
                      <a:cubicBezTo>
                        <a:pt x="2686" y="1536"/>
                        <a:pt x="2719" y="1541"/>
                        <a:pt x="2748" y="1546"/>
                      </a:cubicBezTo>
                      <a:cubicBezTo>
                        <a:pt x="2777" y="1551"/>
                        <a:pt x="2804" y="1540"/>
                        <a:pt x="2731" y="1524"/>
                      </a:cubicBezTo>
                      <a:close/>
                      <a:moveTo>
                        <a:pt x="2793" y="1702"/>
                      </a:moveTo>
                      <a:cubicBezTo>
                        <a:pt x="2780" y="1699"/>
                        <a:pt x="2766" y="1706"/>
                        <a:pt x="2761" y="1709"/>
                      </a:cubicBezTo>
                      <a:cubicBezTo>
                        <a:pt x="2765" y="1706"/>
                        <a:pt x="2774" y="1700"/>
                        <a:pt x="2783" y="1690"/>
                      </a:cubicBezTo>
                      <a:cubicBezTo>
                        <a:pt x="2795" y="1677"/>
                        <a:pt x="2764" y="1676"/>
                        <a:pt x="2750" y="1692"/>
                      </a:cubicBezTo>
                      <a:cubicBezTo>
                        <a:pt x="2744" y="1706"/>
                        <a:pt x="2744" y="1706"/>
                        <a:pt x="2744" y="1706"/>
                      </a:cubicBezTo>
                      <a:cubicBezTo>
                        <a:pt x="2736" y="1720"/>
                        <a:pt x="2736" y="1720"/>
                        <a:pt x="2736" y="1720"/>
                      </a:cubicBezTo>
                      <a:cubicBezTo>
                        <a:pt x="2773" y="1715"/>
                        <a:pt x="2773" y="1715"/>
                        <a:pt x="2773" y="1715"/>
                      </a:cubicBezTo>
                      <a:cubicBezTo>
                        <a:pt x="2773" y="1715"/>
                        <a:pt x="2810" y="1706"/>
                        <a:pt x="2793" y="1702"/>
                      </a:cubicBezTo>
                      <a:close/>
                      <a:moveTo>
                        <a:pt x="3058" y="1312"/>
                      </a:moveTo>
                      <a:cubicBezTo>
                        <a:pt x="3051" y="1320"/>
                        <a:pt x="3052" y="1335"/>
                        <a:pt x="3037" y="1324"/>
                      </a:cubicBezTo>
                      <a:cubicBezTo>
                        <a:pt x="3022" y="1313"/>
                        <a:pt x="3046" y="1306"/>
                        <a:pt x="3046" y="1306"/>
                      </a:cubicBezTo>
                      <a:cubicBezTo>
                        <a:pt x="3043" y="1289"/>
                        <a:pt x="3043" y="1289"/>
                        <a:pt x="3043" y="1289"/>
                      </a:cubicBezTo>
                      <a:cubicBezTo>
                        <a:pt x="3023" y="1288"/>
                        <a:pt x="3023" y="1288"/>
                        <a:pt x="3023" y="1288"/>
                      </a:cubicBezTo>
                      <a:cubicBezTo>
                        <a:pt x="3023" y="1288"/>
                        <a:pt x="2977" y="1308"/>
                        <a:pt x="2974" y="1312"/>
                      </a:cubicBezTo>
                      <a:cubicBezTo>
                        <a:pt x="2971" y="1316"/>
                        <a:pt x="2935" y="1320"/>
                        <a:pt x="2935" y="1320"/>
                      </a:cubicBezTo>
                      <a:cubicBezTo>
                        <a:pt x="2914" y="1334"/>
                        <a:pt x="2914" y="1334"/>
                        <a:pt x="2914" y="1334"/>
                      </a:cubicBezTo>
                      <a:cubicBezTo>
                        <a:pt x="2922" y="1319"/>
                        <a:pt x="2922" y="1319"/>
                        <a:pt x="2922" y="1319"/>
                      </a:cubicBezTo>
                      <a:cubicBezTo>
                        <a:pt x="2907" y="1308"/>
                        <a:pt x="2907" y="1308"/>
                        <a:pt x="2907" y="1308"/>
                      </a:cubicBezTo>
                      <a:cubicBezTo>
                        <a:pt x="2930" y="1313"/>
                        <a:pt x="2930" y="1313"/>
                        <a:pt x="2930" y="1313"/>
                      </a:cubicBezTo>
                      <a:cubicBezTo>
                        <a:pt x="2940" y="1305"/>
                        <a:pt x="2940" y="1305"/>
                        <a:pt x="2940" y="1305"/>
                      </a:cubicBezTo>
                      <a:cubicBezTo>
                        <a:pt x="2958" y="1304"/>
                        <a:pt x="2958" y="1304"/>
                        <a:pt x="2958" y="1304"/>
                      </a:cubicBezTo>
                      <a:cubicBezTo>
                        <a:pt x="2960" y="1291"/>
                        <a:pt x="2960" y="1291"/>
                        <a:pt x="2960" y="1291"/>
                      </a:cubicBezTo>
                      <a:cubicBezTo>
                        <a:pt x="2960" y="1291"/>
                        <a:pt x="2981" y="1294"/>
                        <a:pt x="2993" y="1289"/>
                      </a:cubicBezTo>
                      <a:cubicBezTo>
                        <a:pt x="3005" y="1284"/>
                        <a:pt x="3022" y="1275"/>
                        <a:pt x="3022" y="1275"/>
                      </a:cubicBezTo>
                      <a:cubicBezTo>
                        <a:pt x="3022" y="1275"/>
                        <a:pt x="3070" y="1280"/>
                        <a:pt x="3069" y="1275"/>
                      </a:cubicBezTo>
                      <a:cubicBezTo>
                        <a:pt x="3068" y="1270"/>
                        <a:pt x="3050" y="1262"/>
                        <a:pt x="3050" y="1262"/>
                      </a:cubicBezTo>
                      <a:cubicBezTo>
                        <a:pt x="3049" y="1246"/>
                        <a:pt x="3049" y="1246"/>
                        <a:pt x="3049" y="1246"/>
                      </a:cubicBezTo>
                      <a:cubicBezTo>
                        <a:pt x="3049" y="1246"/>
                        <a:pt x="3021" y="1255"/>
                        <a:pt x="3015" y="1254"/>
                      </a:cubicBezTo>
                      <a:cubicBezTo>
                        <a:pt x="3009" y="1253"/>
                        <a:pt x="3007" y="1241"/>
                        <a:pt x="3007" y="1241"/>
                      </a:cubicBezTo>
                      <a:cubicBezTo>
                        <a:pt x="2967" y="1253"/>
                        <a:pt x="2967" y="1253"/>
                        <a:pt x="2967" y="1253"/>
                      </a:cubicBezTo>
                      <a:cubicBezTo>
                        <a:pt x="2969" y="1233"/>
                        <a:pt x="2969" y="1233"/>
                        <a:pt x="2969" y="1233"/>
                      </a:cubicBezTo>
                      <a:cubicBezTo>
                        <a:pt x="2940" y="1243"/>
                        <a:pt x="2940" y="1243"/>
                        <a:pt x="2940" y="1243"/>
                      </a:cubicBezTo>
                      <a:cubicBezTo>
                        <a:pt x="2940" y="1243"/>
                        <a:pt x="2971" y="1208"/>
                        <a:pt x="2963" y="1204"/>
                      </a:cubicBezTo>
                      <a:cubicBezTo>
                        <a:pt x="2955" y="1200"/>
                        <a:pt x="2930" y="1200"/>
                        <a:pt x="2930" y="1200"/>
                      </a:cubicBezTo>
                      <a:cubicBezTo>
                        <a:pt x="2933" y="1184"/>
                        <a:pt x="2933" y="1184"/>
                        <a:pt x="2933" y="1184"/>
                      </a:cubicBezTo>
                      <a:cubicBezTo>
                        <a:pt x="2911" y="1184"/>
                        <a:pt x="2911" y="1184"/>
                        <a:pt x="2911" y="1184"/>
                      </a:cubicBezTo>
                      <a:cubicBezTo>
                        <a:pt x="2920" y="1170"/>
                        <a:pt x="2920" y="1170"/>
                        <a:pt x="2920" y="1170"/>
                      </a:cubicBezTo>
                      <a:cubicBezTo>
                        <a:pt x="2902" y="1154"/>
                        <a:pt x="2902" y="1154"/>
                        <a:pt x="2902" y="1154"/>
                      </a:cubicBezTo>
                      <a:cubicBezTo>
                        <a:pt x="2902" y="1154"/>
                        <a:pt x="2932" y="1161"/>
                        <a:pt x="2940" y="1155"/>
                      </a:cubicBezTo>
                      <a:cubicBezTo>
                        <a:pt x="2948" y="1149"/>
                        <a:pt x="2959" y="1144"/>
                        <a:pt x="2959" y="1144"/>
                      </a:cubicBezTo>
                      <a:cubicBezTo>
                        <a:pt x="2929" y="1126"/>
                        <a:pt x="2929" y="1126"/>
                        <a:pt x="2929" y="1126"/>
                      </a:cubicBezTo>
                      <a:cubicBezTo>
                        <a:pt x="2962" y="1107"/>
                        <a:pt x="2962" y="1107"/>
                        <a:pt x="2962" y="1107"/>
                      </a:cubicBezTo>
                      <a:cubicBezTo>
                        <a:pt x="2929" y="1092"/>
                        <a:pt x="2929" y="1092"/>
                        <a:pt x="2929" y="1092"/>
                      </a:cubicBezTo>
                      <a:cubicBezTo>
                        <a:pt x="2899" y="1093"/>
                        <a:pt x="2899" y="1093"/>
                        <a:pt x="2899" y="1093"/>
                      </a:cubicBezTo>
                      <a:cubicBezTo>
                        <a:pt x="2935" y="1080"/>
                        <a:pt x="2935" y="1080"/>
                        <a:pt x="2935" y="1080"/>
                      </a:cubicBezTo>
                      <a:cubicBezTo>
                        <a:pt x="2910" y="1074"/>
                        <a:pt x="2910" y="1074"/>
                        <a:pt x="2910" y="1074"/>
                      </a:cubicBezTo>
                      <a:cubicBezTo>
                        <a:pt x="2940" y="1060"/>
                        <a:pt x="2940" y="1060"/>
                        <a:pt x="2940" y="1060"/>
                      </a:cubicBezTo>
                      <a:cubicBezTo>
                        <a:pt x="2935" y="1044"/>
                        <a:pt x="2935" y="1044"/>
                        <a:pt x="2935" y="1044"/>
                      </a:cubicBezTo>
                      <a:cubicBezTo>
                        <a:pt x="2913" y="1042"/>
                        <a:pt x="2913" y="1042"/>
                        <a:pt x="2913" y="1042"/>
                      </a:cubicBezTo>
                      <a:cubicBezTo>
                        <a:pt x="2913" y="1042"/>
                        <a:pt x="2931" y="1032"/>
                        <a:pt x="2923" y="1013"/>
                      </a:cubicBezTo>
                      <a:cubicBezTo>
                        <a:pt x="2915" y="994"/>
                        <a:pt x="2907" y="997"/>
                        <a:pt x="2907" y="997"/>
                      </a:cubicBezTo>
                      <a:cubicBezTo>
                        <a:pt x="2916" y="983"/>
                        <a:pt x="2916" y="983"/>
                        <a:pt x="2916" y="983"/>
                      </a:cubicBezTo>
                      <a:cubicBezTo>
                        <a:pt x="2916" y="983"/>
                        <a:pt x="2892" y="994"/>
                        <a:pt x="2887" y="1001"/>
                      </a:cubicBezTo>
                      <a:cubicBezTo>
                        <a:pt x="2882" y="1008"/>
                        <a:pt x="2886" y="1014"/>
                        <a:pt x="2886" y="1014"/>
                      </a:cubicBezTo>
                      <a:cubicBezTo>
                        <a:pt x="2867" y="1008"/>
                        <a:pt x="2867" y="1008"/>
                        <a:pt x="2867" y="1008"/>
                      </a:cubicBezTo>
                      <a:cubicBezTo>
                        <a:pt x="2871" y="1030"/>
                        <a:pt x="2871" y="1030"/>
                        <a:pt x="2871" y="1030"/>
                      </a:cubicBezTo>
                      <a:cubicBezTo>
                        <a:pt x="2853" y="1029"/>
                        <a:pt x="2853" y="1029"/>
                        <a:pt x="2853" y="1029"/>
                      </a:cubicBezTo>
                      <a:cubicBezTo>
                        <a:pt x="2845" y="1043"/>
                        <a:pt x="2845" y="1043"/>
                        <a:pt x="2845" y="1043"/>
                      </a:cubicBezTo>
                      <a:cubicBezTo>
                        <a:pt x="2850" y="1049"/>
                        <a:pt x="2850" y="1049"/>
                        <a:pt x="2850" y="1049"/>
                      </a:cubicBezTo>
                      <a:cubicBezTo>
                        <a:pt x="2834" y="1050"/>
                        <a:pt x="2834" y="1050"/>
                        <a:pt x="2834" y="1050"/>
                      </a:cubicBezTo>
                      <a:cubicBezTo>
                        <a:pt x="2819" y="1080"/>
                        <a:pt x="2819" y="1080"/>
                        <a:pt x="2819" y="1080"/>
                      </a:cubicBezTo>
                      <a:cubicBezTo>
                        <a:pt x="2811" y="1080"/>
                        <a:pt x="2811" y="1080"/>
                        <a:pt x="2811" y="1080"/>
                      </a:cubicBezTo>
                      <a:cubicBezTo>
                        <a:pt x="2821" y="1055"/>
                        <a:pt x="2821" y="1055"/>
                        <a:pt x="2821" y="1055"/>
                      </a:cubicBezTo>
                      <a:cubicBezTo>
                        <a:pt x="2821" y="1055"/>
                        <a:pt x="2811" y="1040"/>
                        <a:pt x="2802" y="1049"/>
                      </a:cubicBezTo>
                      <a:cubicBezTo>
                        <a:pt x="2793" y="1058"/>
                        <a:pt x="2781" y="1071"/>
                        <a:pt x="2774" y="1072"/>
                      </a:cubicBezTo>
                      <a:cubicBezTo>
                        <a:pt x="2767" y="1073"/>
                        <a:pt x="2739" y="1094"/>
                        <a:pt x="2739" y="1094"/>
                      </a:cubicBezTo>
                      <a:cubicBezTo>
                        <a:pt x="2744" y="1079"/>
                        <a:pt x="2744" y="1079"/>
                        <a:pt x="2744" y="1079"/>
                      </a:cubicBezTo>
                      <a:cubicBezTo>
                        <a:pt x="2743" y="1068"/>
                        <a:pt x="2743" y="1068"/>
                        <a:pt x="2743" y="1068"/>
                      </a:cubicBezTo>
                      <a:cubicBezTo>
                        <a:pt x="2718" y="1089"/>
                        <a:pt x="2718" y="1089"/>
                        <a:pt x="2718" y="1089"/>
                      </a:cubicBezTo>
                      <a:cubicBezTo>
                        <a:pt x="2674" y="1099"/>
                        <a:pt x="2674" y="1099"/>
                        <a:pt x="2674" y="1099"/>
                      </a:cubicBezTo>
                      <a:cubicBezTo>
                        <a:pt x="2715" y="1085"/>
                        <a:pt x="2715" y="1085"/>
                        <a:pt x="2715" y="1085"/>
                      </a:cubicBezTo>
                      <a:cubicBezTo>
                        <a:pt x="2715" y="1085"/>
                        <a:pt x="2739" y="1058"/>
                        <a:pt x="2726" y="1052"/>
                      </a:cubicBezTo>
                      <a:cubicBezTo>
                        <a:pt x="2713" y="1046"/>
                        <a:pt x="2698" y="1052"/>
                        <a:pt x="2698" y="1052"/>
                      </a:cubicBezTo>
                      <a:cubicBezTo>
                        <a:pt x="2698" y="1052"/>
                        <a:pt x="2665" y="1067"/>
                        <a:pt x="2667" y="1056"/>
                      </a:cubicBezTo>
                      <a:cubicBezTo>
                        <a:pt x="2669" y="1045"/>
                        <a:pt x="2686" y="1042"/>
                        <a:pt x="2686" y="1042"/>
                      </a:cubicBezTo>
                      <a:cubicBezTo>
                        <a:pt x="2685" y="1049"/>
                        <a:pt x="2685" y="1049"/>
                        <a:pt x="2685" y="1049"/>
                      </a:cubicBezTo>
                      <a:cubicBezTo>
                        <a:pt x="2699" y="1044"/>
                        <a:pt x="2699" y="1044"/>
                        <a:pt x="2699" y="1044"/>
                      </a:cubicBezTo>
                      <a:cubicBezTo>
                        <a:pt x="2696" y="1025"/>
                        <a:pt x="2696" y="1025"/>
                        <a:pt x="2696" y="1025"/>
                      </a:cubicBezTo>
                      <a:cubicBezTo>
                        <a:pt x="2696" y="1025"/>
                        <a:pt x="2721" y="1011"/>
                        <a:pt x="2712" y="1004"/>
                      </a:cubicBezTo>
                      <a:cubicBezTo>
                        <a:pt x="2703" y="997"/>
                        <a:pt x="2676" y="993"/>
                        <a:pt x="2676" y="993"/>
                      </a:cubicBezTo>
                      <a:cubicBezTo>
                        <a:pt x="2676" y="993"/>
                        <a:pt x="2721" y="995"/>
                        <a:pt x="2724" y="983"/>
                      </a:cubicBezTo>
                      <a:cubicBezTo>
                        <a:pt x="2727" y="971"/>
                        <a:pt x="2730" y="968"/>
                        <a:pt x="2736" y="964"/>
                      </a:cubicBezTo>
                      <a:cubicBezTo>
                        <a:pt x="2742" y="960"/>
                        <a:pt x="2762" y="959"/>
                        <a:pt x="2752" y="950"/>
                      </a:cubicBezTo>
                      <a:cubicBezTo>
                        <a:pt x="2742" y="941"/>
                        <a:pt x="2732" y="957"/>
                        <a:pt x="2732" y="957"/>
                      </a:cubicBezTo>
                      <a:cubicBezTo>
                        <a:pt x="2726" y="940"/>
                        <a:pt x="2726" y="940"/>
                        <a:pt x="2726" y="940"/>
                      </a:cubicBezTo>
                      <a:cubicBezTo>
                        <a:pt x="2726" y="940"/>
                        <a:pt x="2695" y="941"/>
                        <a:pt x="2686" y="941"/>
                      </a:cubicBezTo>
                      <a:cubicBezTo>
                        <a:pt x="2677" y="941"/>
                        <a:pt x="2675" y="926"/>
                        <a:pt x="2683" y="923"/>
                      </a:cubicBezTo>
                      <a:cubicBezTo>
                        <a:pt x="2691" y="920"/>
                        <a:pt x="2692" y="913"/>
                        <a:pt x="2685" y="911"/>
                      </a:cubicBezTo>
                      <a:cubicBezTo>
                        <a:pt x="2678" y="909"/>
                        <a:pt x="2672" y="916"/>
                        <a:pt x="2672" y="916"/>
                      </a:cubicBezTo>
                      <a:cubicBezTo>
                        <a:pt x="2677" y="900"/>
                        <a:pt x="2677" y="900"/>
                        <a:pt x="2677" y="900"/>
                      </a:cubicBezTo>
                      <a:cubicBezTo>
                        <a:pt x="2653" y="904"/>
                        <a:pt x="2653" y="904"/>
                        <a:pt x="2653" y="904"/>
                      </a:cubicBezTo>
                      <a:cubicBezTo>
                        <a:pt x="2653" y="904"/>
                        <a:pt x="2657" y="875"/>
                        <a:pt x="2640" y="875"/>
                      </a:cubicBezTo>
                      <a:cubicBezTo>
                        <a:pt x="2623" y="875"/>
                        <a:pt x="2595" y="892"/>
                        <a:pt x="2595" y="892"/>
                      </a:cubicBezTo>
                      <a:cubicBezTo>
                        <a:pt x="2595" y="892"/>
                        <a:pt x="2587" y="881"/>
                        <a:pt x="2579" y="881"/>
                      </a:cubicBezTo>
                      <a:cubicBezTo>
                        <a:pt x="2571" y="881"/>
                        <a:pt x="2554" y="890"/>
                        <a:pt x="2554" y="890"/>
                      </a:cubicBezTo>
                      <a:cubicBezTo>
                        <a:pt x="2554" y="890"/>
                        <a:pt x="2508" y="868"/>
                        <a:pt x="2492" y="871"/>
                      </a:cubicBezTo>
                      <a:cubicBezTo>
                        <a:pt x="2476" y="874"/>
                        <a:pt x="2470" y="886"/>
                        <a:pt x="2470" y="886"/>
                      </a:cubicBezTo>
                      <a:cubicBezTo>
                        <a:pt x="2470" y="886"/>
                        <a:pt x="2449" y="896"/>
                        <a:pt x="2456" y="904"/>
                      </a:cubicBezTo>
                      <a:cubicBezTo>
                        <a:pt x="2463" y="912"/>
                        <a:pt x="2476" y="913"/>
                        <a:pt x="2470" y="921"/>
                      </a:cubicBezTo>
                      <a:cubicBezTo>
                        <a:pt x="2464" y="929"/>
                        <a:pt x="2439" y="945"/>
                        <a:pt x="2439" y="945"/>
                      </a:cubicBezTo>
                      <a:cubicBezTo>
                        <a:pt x="2421" y="952"/>
                        <a:pt x="2421" y="952"/>
                        <a:pt x="2421" y="952"/>
                      </a:cubicBezTo>
                      <a:cubicBezTo>
                        <a:pt x="2438" y="961"/>
                        <a:pt x="2438" y="961"/>
                        <a:pt x="2438" y="961"/>
                      </a:cubicBezTo>
                      <a:cubicBezTo>
                        <a:pt x="2438" y="961"/>
                        <a:pt x="2423" y="968"/>
                        <a:pt x="2422" y="977"/>
                      </a:cubicBezTo>
                      <a:cubicBezTo>
                        <a:pt x="2421" y="986"/>
                        <a:pt x="2429" y="993"/>
                        <a:pt x="2421" y="1003"/>
                      </a:cubicBezTo>
                      <a:cubicBezTo>
                        <a:pt x="2413" y="1013"/>
                        <a:pt x="2406" y="1005"/>
                        <a:pt x="2393" y="1013"/>
                      </a:cubicBezTo>
                      <a:cubicBezTo>
                        <a:pt x="2380" y="1021"/>
                        <a:pt x="2382" y="1034"/>
                        <a:pt x="2382" y="1034"/>
                      </a:cubicBezTo>
                      <a:cubicBezTo>
                        <a:pt x="2382" y="1034"/>
                        <a:pt x="2366" y="1037"/>
                        <a:pt x="2360" y="1043"/>
                      </a:cubicBezTo>
                      <a:cubicBezTo>
                        <a:pt x="2354" y="1049"/>
                        <a:pt x="2334" y="1054"/>
                        <a:pt x="2336" y="1062"/>
                      </a:cubicBezTo>
                      <a:cubicBezTo>
                        <a:pt x="2338" y="1070"/>
                        <a:pt x="2375" y="1084"/>
                        <a:pt x="2375" y="1093"/>
                      </a:cubicBezTo>
                      <a:cubicBezTo>
                        <a:pt x="2375" y="1102"/>
                        <a:pt x="2374" y="1167"/>
                        <a:pt x="2339" y="1187"/>
                      </a:cubicBezTo>
                      <a:cubicBezTo>
                        <a:pt x="2304" y="1207"/>
                        <a:pt x="2259" y="1242"/>
                        <a:pt x="2241" y="1243"/>
                      </a:cubicBezTo>
                      <a:cubicBezTo>
                        <a:pt x="2223" y="1244"/>
                        <a:pt x="2174" y="1247"/>
                        <a:pt x="2171" y="1256"/>
                      </a:cubicBezTo>
                      <a:cubicBezTo>
                        <a:pt x="2168" y="1265"/>
                        <a:pt x="2180" y="1293"/>
                        <a:pt x="2180" y="1298"/>
                      </a:cubicBezTo>
                      <a:cubicBezTo>
                        <a:pt x="2180" y="1303"/>
                        <a:pt x="2159" y="1324"/>
                        <a:pt x="2155" y="1339"/>
                      </a:cubicBezTo>
                      <a:cubicBezTo>
                        <a:pt x="2151" y="1354"/>
                        <a:pt x="2154" y="1387"/>
                        <a:pt x="2154" y="1387"/>
                      </a:cubicBezTo>
                      <a:cubicBezTo>
                        <a:pt x="2154" y="1387"/>
                        <a:pt x="2120" y="1404"/>
                        <a:pt x="2119" y="1409"/>
                      </a:cubicBezTo>
                      <a:cubicBezTo>
                        <a:pt x="2118" y="1414"/>
                        <a:pt x="2117" y="1431"/>
                        <a:pt x="2117" y="1431"/>
                      </a:cubicBezTo>
                      <a:cubicBezTo>
                        <a:pt x="2104" y="1447"/>
                        <a:pt x="2104" y="1447"/>
                        <a:pt x="2104" y="1447"/>
                      </a:cubicBezTo>
                      <a:cubicBezTo>
                        <a:pt x="2104" y="1447"/>
                        <a:pt x="2111" y="1423"/>
                        <a:pt x="2100" y="1422"/>
                      </a:cubicBezTo>
                      <a:cubicBezTo>
                        <a:pt x="2089" y="1421"/>
                        <a:pt x="2067" y="1435"/>
                        <a:pt x="2072" y="1446"/>
                      </a:cubicBezTo>
                      <a:cubicBezTo>
                        <a:pt x="2077" y="1457"/>
                        <a:pt x="2071" y="1466"/>
                        <a:pt x="2071" y="1466"/>
                      </a:cubicBezTo>
                      <a:cubicBezTo>
                        <a:pt x="2071" y="1466"/>
                        <a:pt x="2069" y="1446"/>
                        <a:pt x="2063" y="1441"/>
                      </a:cubicBezTo>
                      <a:cubicBezTo>
                        <a:pt x="2057" y="1436"/>
                        <a:pt x="2019" y="1447"/>
                        <a:pt x="2019" y="1447"/>
                      </a:cubicBezTo>
                      <a:cubicBezTo>
                        <a:pt x="2019" y="1447"/>
                        <a:pt x="2055" y="1426"/>
                        <a:pt x="2051" y="1413"/>
                      </a:cubicBezTo>
                      <a:cubicBezTo>
                        <a:pt x="2047" y="1400"/>
                        <a:pt x="2011" y="1389"/>
                        <a:pt x="2011" y="1389"/>
                      </a:cubicBezTo>
                      <a:cubicBezTo>
                        <a:pt x="2011" y="1389"/>
                        <a:pt x="2028" y="1386"/>
                        <a:pt x="2028" y="1379"/>
                      </a:cubicBezTo>
                      <a:cubicBezTo>
                        <a:pt x="2028" y="1372"/>
                        <a:pt x="2016" y="1346"/>
                        <a:pt x="2016" y="1346"/>
                      </a:cubicBezTo>
                      <a:cubicBezTo>
                        <a:pt x="2038" y="1331"/>
                        <a:pt x="2038" y="1331"/>
                        <a:pt x="2038" y="1331"/>
                      </a:cubicBezTo>
                      <a:cubicBezTo>
                        <a:pt x="2037" y="1316"/>
                        <a:pt x="2037" y="1316"/>
                        <a:pt x="2037" y="1316"/>
                      </a:cubicBezTo>
                      <a:cubicBezTo>
                        <a:pt x="2054" y="1305"/>
                        <a:pt x="2054" y="1305"/>
                        <a:pt x="2054" y="1305"/>
                      </a:cubicBezTo>
                      <a:cubicBezTo>
                        <a:pt x="2053" y="1280"/>
                        <a:pt x="2053" y="1280"/>
                        <a:pt x="2053" y="1280"/>
                      </a:cubicBezTo>
                      <a:cubicBezTo>
                        <a:pt x="2053" y="1280"/>
                        <a:pt x="2102" y="1253"/>
                        <a:pt x="2078" y="1241"/>
                      </a:cubicBezTo>
                      <a:cubicBezTo>
                        <a:pt x="2054" y="1229"/>
                        <a:pt x="1982" y="1233"/>
                        <a:pt x="1982" y="1233"/>
                      </a:cubicBezTo>
                      <a:cubicBezTo>
                        <a:pt x="1958" y="1241"/>
                        <a:pt x="1958" y="1241"/>
                        <a:pt x="1958" y="1241"/>
                      </a:cubicBezTo>
                      <a:cubicBezTo>
                        <a:pt x="1958" y="1241"/>
                        <a:pt x="1976" y="1220"/>
                        <a:pt x="1966" y="1215"/>
                      </a:cubicBezTo>
                      <a:cubicBezTo>
                        <a:pt x="1956" y="1210"/>
                        <a:pt x="1908" y="1200"/>
                        <a:pt x="1908" y="1200"/>
                      </a:cubicBezTo>
                      <a:cubicBezTo>
                        <a:pt x="1908" y="1200"/>
                        <a:pt x="1913" y="1178"/>
                        <a:pt x="1894" y="1164"/>
                      </a:cubicBezTo>
                      <a:cubicBezTo>
                        <a:pt x="1875" y="1150"/>
                        <a:pt x="1850" y="1149"/>
                        <a:pt x="1850" y="1149"/>
                      </a:cubicBezTo>
                      <a:cubicBezTo>
                        <a:pt x="1850" y="1149"/>
                        <a:pt x="1851" y="1137"/>
                        <a:pt x="1823" y="1136"/>
                      </a:cubicBezTo>
                      <a:cubicBezTo>
                        <a:pt x="1795" y="1135"/>
                        <a:pt x="1726" y="1147"/>
                        <a:pt x="1726" y="1147"/>
                      </a:cubicBezTo>
                      <a:cubicBezTo>
                        <a:pt x="1726" y="1147"/>
                        <a:pt x="1759" y="1137"/>
                        <a:pt x="1760" y="1125"/>
                      </a:cubicBezTo>
                      <a:cubicBezTo>
                        <a:pt x="1761" y="1113"/>
                        <a:pt x="1779" y="1061"/>
                        <a:pt x="1779" y="1061"/>
                      </a:cubicBezTo>
                      <a:cubicBezTo>
                        <a:pt x="1779" y="1061"/>
                        <a:pt x="1749" y="1055"/>
                        <a:pt x="1746" y="1057"/>
                      </a:cubicBezTo>
                      <a:cubicBezTo>
                        <a:pt x="1743" y="1059"/>
                        <a:pt x="1720" y="1075"/>
                        <a:pt x="1720" y="1075"/>
                      </a:cubicBezTo>
                      <a:cubicBezTo>
                        <a:pt x="1730" y="1056"/>
                        <a:pt x="1730" y="1056"/>
                        <a:pt x="1730" y="1056"/>
                      </a:cubicBezTo>
                      <a:cubicBezTo>
                        <a:pt x="1726" y="1041"/>
                        <a:pt x="1726" y="1041"/>
                        <a:pt x="1726" y="1041"/>
                      </a:cubicBezTo>
                      <a:cubicBezTo>
                        <a:pt x="1726" y="1041"/>
                        <a:pt x="1752" y="1019"/>
                        <a:pt x="1764" y="998"/>
                      </a:cubicBezTo>
                      <a:cubicBezTo>
                        <a:pt x="1776" y="977"/>
                        <a:pt x="1844" y="940"/>
                        <a:pt x="1844" y="940"/>
                      </a:cubicBezTo>
                      <a:cubicBezTo>
                        <a:pt x="1838" y="929"/>
                        <a:pt x="1838" y="929"/>
                        <a:pt x="1838" y="929"/>
                      </a:cubicBezTo>
                      <a:cubicBezTo>
                        <a:pt x="1881" y="915"/>
                        <a:pt x="1881" y="915"/>
                        <a:pt x="1881" y="915"/>
                      </a:cubicBezTo>
                      <a:cubicBezTo>
                        <a:pt x="1882" y="904"/>
                        <a:pt x="1882" y="904"/>
                        <a:pt x="1882" y="904"/>
                      </a:cubicBezTo>
                      <a:cubicBezTo>
                        <a:pt x="1909" y="900"/>
                        <a:pt x="1909" y="900"/>
                        <a:pt x="1909" y="900"/>
                      </a:cubicBezTo>
                      <a:cubicBezTo>
                        <a:pt x="1911" y="887"/>
                        <a:pt x="1911" y="887"/>
                        <a:pt x="1911" y="887"/>
                      </a:cubicBezTo>
                      <a:cubicBezTo>
                        <a:pt x="1932" y="884"/>
                        <a:pt x="1932" y="884"/>
                        <a:pt x="1932" y="884"/>
                      </a:cubicBezTo>
                      <a:cubicBezTo>
                        <a:pt x="1966" y="857"/>
                        <a:pt x="1966" y="857"/>
                        <a:pt x="1966" y="857"/>
                      </a:cubicBezTo>
                      <a:cubicBezTo>
                        <a:pt x="1966" y="857"/>
                        <a:pt x="2040" y="860"/>
                        <a:pt x="2040" y="847"/>
                      </a:cubicBezTo>
                      <a:cubicBezTo>
                        <a:pt x="2040" y="834"/>
                        <a:pt x="2020" y="819"/>
                        <a:pt x="2020" y="819"/>
                      </a:cubicBezTo>
                      <a:cubicBezTo>
                        <a:pt x="1980" y="824"/>
                        <a:pt x="1980" y="824"/>
                        <a:pt x="1980" y="824"/>
                      </a:cubicBezTo>
                      <a:cubicBezTo>
                        <a:pt x="1986" y="814"/>
                        <a:pt x="1986" y="814"/>
                        <a:pt x="1986" y="814"/>
                      </a:cubicBezTo>
                      <a:cubicBezTo>
                        <a:pt x="1950" y="800"/>
                        <a:pt x="1950" y="800"/>
                        <a:pt x="1950" y="800"/>
                      </a:cubicBezTo>
                      <a:cubicBezTo>
                        <a:pt x="1966" y="795"/>
                        <a:pt x="1966" y="795"/>
                        <a:pt x="1966" y="795"/>
                      </a:cubicBezTo>
                      <a:cubicBezTo>
                        <a:pt x="2021" y="811"/>
                        <a:pt x="2021" y="811"/>
                        <a:pt x="2021" y="811"/>
                      </a:cubicBezTo>
                      <a:cubicBezTo>
                        <a:pt x="2021" y="811"/>
                        <a:pt x="2042" y="833"/>
                        <a:pt x="2061" y="825"/>
                      </a:cubicBezTo>
                      <a:cubicBezTo>
                        <a:pt x="2080" y="817"/>
                        <a:pt x="2096" y="784"/>
                        <a:pt x="2103" y="789"/>
                      </a:cubicBezTo>
                      <a:cubicBezTo>
                        <a:pt x="2110" y="794"/>
                        <a:pt x="2131" y="804"/>
                        <a:pt x="2140" y="802"/>
                      </a:cubicBezTo>
                      <a:cubicBezTo>
                        <a:pt x="2140" y="802"/>
                        <a:pt x="2185" y="783"/>
                        <a:pt x="2203" y="776"/>
                      </a:cubicBezTo>
                      <a:cubicBezTo>
                        <a:pt x="2221" y="769"/>
                        <a:pt x="2255" y="750"/>
                        <a:pt x="2243" y="747"/>
                      </a:cubicBezTo>
                      <a:cubicBezTo>
                        <a:pt x="2231" y="744"/>
                        <a:pt x="2175" y="744"/>
                        <a:pt x="2175" y="744"/>
                      </a:cubicBezTo>
                      <a:cubicBezTo>
                        <a:pt x="2171" y="728"/>
                        <a:pt x="2171" y="728"/>
                        <a:pt x="2171" y="728"/>
                      </a:cubicBezTo>
                      <a:cubicBezTo>
                        <a:pt x="2115" y="708"/>
                        <a:pt x="2115" y="708"/>
                        <a:pt x="2115" y="708"/>
                      </a:cubicBezTo>
                      <a:cubicBezTo>
                        <a:pt x="2115" y="708"/>
                        <a:pt x="2171" y="700"/>
                        <a:pt x="2186" y="706"/>
                      </a:cubicBezTo>
                      <a:cubicBezTo>
                        <a:pt x="2201" y="712"/>
                        <a:pt x="2215" y="738"/>
                        <a:pt x="2230" y="738"/>
                      </a:cubicBezTo>
                      <a:cubicBezTo>
                        <a:pt x="2245" y="738"/>
                        <a:pt x="2324" y="700"/>
                        <a:pt x="2324" y="700"/>
                      </a:cubicBezTo>
                      <a:cubicBezTo>
                        <a:pt x="2305" y="692"/>
                        <a:pt x="2305" y="692"/>
                        <a:pt x="2305" y="692"/>
                      </a:cubicBezTo>
                      <a:cubicBezTo>
                        <a:pt x="2305" y="692"/>
                        <a:pt x="2319" y="680"/>
                        <a:pt x="2337" y="680"/>
                      </a:cubicBezTo>
                      <a:cubicBezTo>
                        <a:pt x="2355" y="680"/>
                        <a:pt x="2360" y="694"/>
                        <a:pt x="2360" y="694"/>
                      </a:cubicBezTo>
                      <a:cubicBezTo>
                        <a:pt x="2380" y="701"/>
                        <a:pt x="2380" y="701"/>
                        <a:pt x="2380" y="701"/>
                      </a:cubicBezTo>
                      <a:cubicBezTo>
                        <a:pt x="2381" y="688"/>
                        <a:pt x="2381" y="688"/>
                        <a:pt x="2381" y="688"/>
                      </a:cubicBezTo>
                      <a:cubicBezTo>
                        <a:pt x="2381" y="688"/>
                        <a:pt x="2395" y="705"/>
                        <a:pt x="2400" y="696"/>
                      </a:cubicBezTo>
                      <a:cubicBezTo>
                        <a:pt x="2405" y="687"/>
                        <a:pt x="2388" y="669"/>
                        <a:pt x="2388" y="669"/>
                      </a:cubicBezTo>
                      <a:cubicBezTo>
                        <a:pt x="2374" y="663"/>
                        <a:pt x="2374" y="663"/>
                        <a:pt x="2374" y="663"/>
                      </a:cubicBezTo>
                      <a:cubicBezTo>
                        <a:pt x="2401" y="658"/>
                        <a:pt x="2401" y="658"/>
                        <a:pt x="2401" y="658"/>
                      </a:cubicBezTo>
                      <a:cubicBezTo>
                        <a:pt x="2401" y="658"/>
                        <a:pt x="2415" y="697"/>
                        <a:pt x="2424" y="695"/>
                      </a:cubicBezTo>
                      <a:cubicBezTo>
                        <a:pt x="2433" y="693"/>
                        <a:pt x="2546" y="660"/>
                        <a:pt x="2532" y="641"/>
                      </a:cubicBezTo>
                      <a:cubicBezTo>
                        <a:pt x="2518" y="622"/>
                        <a:pt x="2507" y="607"/>
                        <a:pt x="2518" y="600"/>
                      </a:cubicBezTo>
                      <a:cubicBezTo>
                        <a:pt x="2529" y="593"/>
                        <a:pt x="2579" y="591"/>
                        <a:pt x="2580" y="585"/>
                      </a:cubicBezTo>
                      <a:cubicBezTo>
                        <a:pt x="2581" y="579"/>
                        <a:pt x="2570" y="553"/>
                        <a:pt x="2570" y="553"/>
                      </a:cubicBezTo>
                      <a:cubicBezTo>
                        <a:pt x="2558" y="538"/>
                        <a:pt x="2558" y="538"/>
                        <a:pt x="2558" y="538"/>
                      </a:cubicBezTo>
                      <a:cubicBezTo>
                        <a:pt x="2558" y="538"/>
                        <a:pt x="2496" y="520"/>
                        <a:pt x="2470" y="538"/>
                      </a:cubicBezTo>
                      <a:cubicBezTo>
                        <a:pt x="2444" y="556"/>
                        <a:pt x="2466" y="568"/>
                        <a:pt x="2466" y="568"/>
                      </a:cubicBezTo>
                      <a:cubicBezTo>
                        <a:pt x="2442" y="583"/>
                        <a:pt x="2442" y="583"/>
                        <a:pt x="2442" y="583"/>
                      </a:cubicBezTo>
                      <a:cubicBezTo>
                        <a:pt x="2428" y="583"/>
                        <a:pt x="2428" y="583"/>
                        <a:pt x="2428" y="583"/>
                      </a:cubicBezTo>
                      <a:cubicBezTo>
                        <a:pt x="2383" y="614"/>
                        <a:pt x="2383" y="614"/>
                        <a:pt x="2383" y="614"/>
                      </a:cubicBezTo>
                      <a:cubicBezTo>
                        <a:pt x="2366" y="621"/>
                        <a:pt x="2366" y="621"/>
                        <a:pt x="2366" y="621"/>
                      </a:cubicBezTo>
                      <a:cubicBezTo>
                        <a:pt x="2366" y="621"/>
                        <a:pt x="2354" y="639"/>
                        <a:pt x="2350" y="642"/>
                      </a:cubicBezTo>
                      <a:cubicBezTo>
                        <a:pt x="2346" y="645"/>
                        <a:pt x="2327" y="646"/>
                        <a:pt x="2327" y="646"/>
                      </a:cubicBezTo>
                      <a:cubicBezTo>
                        <a:pt x="2304" y="658"/>
                        <a:pt x="2304" y="658"/>
                        <a:pt x="2304" y="658"/>
                      </a:cubicBezTo>
                      <a:cubicBezTo>
                        <a:pt x="2304" y="658"/>
                        <a:pt x="2293" y="624"/>
                        <a:pt x="2299" y="613"/>
                      </a:cubicBezTo>
                      <a:cubicBezTo>
                        <a:pt x="2305" y="602"/>
                        <a:pt x="2336" y="607"/>
                        <a:pt x="2341" y="591"/>
                      </a:cubicBezTo>
                      <a:cubicBezTo>
                        <a:pt x="2346" y="575"/>
                        <a:pt x="2330" y="558"/>
                        <a:pt x="2327" y="558"/>
                      </a:cubicBezTo>
                      <a:cubicBezTo>
                        <a:pt x="2324" y="558"/>
                        <a:pt x="2271" y="582"/>
                        <a:pt x="2271" y="582"/>
                      </a:cubicBezTo>
                      <a:cubicBezTo>
                        <a:pt x="2252" y="603"/>
                        <a:pt x="2252" y="603"/>
                        <a:pt x="2252" y="603"/>
                      </a:cubicBezTo>
                      <a:cubicBezTo>
                        <a:pt x="2246" y="594"/>
                        <a:pt x="2246" y="594"/>
                        <a:pt x="2246" y="594"/>
                      </a:cubicBezTo>
                      <a:cubicBezTo>
                        <a:pt x="2264" y="576"/>
                        <a:pt x="2264" y="576"/>
                        <a:pt x="2264" y="576"/>
                      </a:cubicBezTo>
                      <a:cubicBezTo>
                        <a:pt x="2262" y="563"/>
                        <a:pt x="2262" y="563"/>
                        <a:pt x="2262" y="563"/>
                      </a:cubicBezTo>
                      <a:cubicBezTo>
                        <a:pt x="2292" y="552"/>
                        <a:pt x="2292" y="552"/>
                        <a:pt x="2292" y="552"/>
                      </a:cubicBezTo>
                      <a:cubicBezTo>
                        <a:pt x="2265" y="547"/>
                        <a:pt x="2265" y="547"/>
                        <a:pt x="2265" y="547"/>
                      </a:cubicBezTo>
                      <a:cubicBezTo>
                        <a:pt x="2270" y="537"/>
                        <a:pt x="2270" y="537"/>
                        <a:pt x="2270" y="537"/>
                      </a:cubicBezTo>
                      <a:cubicBezTo>
                        <a:pt x="2238" y="547"/>
                        <a:pt x="2238" y="547"/>
                        <a:pt x="2238" y="547"/>
                      </a:cubicBezTo>
                      <a:cubicBezTo>
                        <a:pt x="2224" y="539"/>
                        <a:pt x="2224" y="539"/>
                        <a:pt x="2224" y="539"/>
                      </a:cubicBezTo>
                      <a:cubicBezTo>
                        <a:pt x="2249" y="530"/>
                        <a:pt x="2249" y="530"/>
                        <a:pt x="2249" y="530"/>
                      </a:cubicBezTo>
                      <a:cubicBezTo>
                        <a:pt x="2250" y="520"/>
                        <a:pt x="2250" y="520"/>
                        <a:pt x="2250" y="520"/>
                      </a:cubicBezTo>
                      <a:cubicBezTo>
                        <a:pt x="2250" y="520"/>
                        <a:pt x="2286" y="528"/>
                        <a:pt x="2284" y="515"/>
                      </a:cubicBezTo>
                      <a:cubicBezTo>
                        <a:pt x="2282" y="502"/>
                        <a:pt x="2254" y="505"/>
                        <a:pt x="2266" y="488"/>
                      </a:cubicBezTo>
                      <a:cubicBezTo>
                        <a:pt x="2278" y="471"/>
                        <a:pt x="2289" y="446"/>
                        <a:pt x="2273" y="445"/>
                      </a:cubicBezTo>
                      <a:cubicBezTo>
                        <a:pt x="2248" y="435"/>
                        <a:pt x="2248" y="435"/>
                        <a:pt x="2248" y="435"/>
                      </a:cubicBezTo>
                      <a:cubicBezTo>
                        <a:pt x="2229" y="443"/>
                        <a:pt x="2229" y="443"/>
                        <a:pt x="2229" y="443"/>
                      </a:cubicBezTo>
                      <a:cubicBezTo>
                        <a:pt x="2229" y="443"/>
                        <a:pt x="2202" y="445"/>
                        <a:pt x="2201" y="449"/>
                      </a:cubicBezTo>
                      <a:cubicBezTo>
                        <a:pt x="2200" y="453"/>
                        <a:pt x="2208" y="462"/>
                        <a:pt x="2202" y="463"/>
                      </a:cubicBezTo>
                      <a:cubicBezTo>
                        <a:pt x="2196" y="464"/>
                        <a:pt x="2160" y="457"/>
                        <a:pt x="2152" y="466"/>
                      </a:cubicBezTo>
                      <a:cubicBezTo>
                        <a:pt x="2144" y="475"/>
                        <a:pt x="2127" y="484"/>
                        <a:pt x="2136" y="488"/>
                      </a:cubicBezTo>
                      <a:cubicBezTo>
                        <a:pt x="2145" y="492"/>
                        <a:pt x="2156" y="494"/>
                        <a:pt x="2156" y="494"/>
                      </a:cubicBezTo>
                      <a:cubicBezTo>
                        <a:pt x="2156" y="494"/>
                        <a:pt x="2107" y="507"/>
                        <a:pt x="2109" y="520"/>
                      </a:cubicBezTo>
                      <a:cubicBezTo>
                        <a:pt x="2111" y="533"/>
                        <a:pt x="2138" y="543"/>
                        <a:pt x="2138" y="543"/>
                      </a:cubicBezTo>
                      <a:cubicBezTo>
                        <a:pt x="2154" y="536"/>
                        <a:pt x="2154" y="536"/>
                        <a:pt x="2154" y="536"/>
                      </a:cubicBezTo>
                      <a:cubicBezTo>
                        <a:pt x="2154" y="536"/>
                        <a:pt x="2153" y="557"/>
                        <a:pt x="2159" y="554"/>
                      </a:cubicBezTo>
                      <a:cubicBezTo>
                        <a:pt x="2165" y="551"/>
                        <a:pt x="2194" y="546"/>
                        <a:pt x="2183" y="554"/>
                      </a:cubicBezTo>
                      <a:cubicBezTo>
                        <a:pt x="2172" y="562"/>
                        <a:pt x="2163" y="561"/>
                        <a:pt x="2163" y="561"/>
                      </a:cubicBezTo>
                      <a:cubicBezTo>
                        <a:pt x="2150" y="556"/>
                        <a:pt x="2150" y="556"/>
                        <a:pt x="2150" y="556"/>
                      </a:cubicBezTo>
                      <a:cubicBezTo>
                        <a:pt x="2148" y="565"/>
                        <a:pt x="2148" y="565"/>
                        <a:pt x="2148" y="565"/>
                      </a:cubicBezTo>
                      <a:cubicBezTo>
                        <a:pt x="2148" y="565"/>
                        <a:pt x="2112" y="571"/>
                        <a:pt x="2124" y="575"/>
                      </a:cubicBezTo>
                      <a:cubicBezTo>
                        <a:pt x="2136" y="579"/>
                        <a:pt x="2163" y="559"/>
                        <a:pt x="2157" y="572"/>
                      </a:cubicBezTo>
                      <a:cubicBezTo>
                        <a:pt x="2151" y="585"/>
                        <a:pt x="2132" y="594"/>
                        <a:pt x="2119" y="598"/>
                      </a:cubicBezTo>
                      <a:cubicBezTo>
                        <a:pt x="2106" y="602"/>
                        <a:pt x="2086" y="617"/>
                        <a:pt x="2086" y="617"/>
                      </a:cubicBezTo>
                      <a:cubicBezTo>
                        <a:pt x="2086" y="617"/>
                        <a:pt x="2064" y="605"/>
                        <a:pt x="2060" y="612"/>
                      </a:cubicBezTo>
                      <a:cubicBezTo>
                        <a:pt x="2056" y="619"/>
                        <a:pt x="2035" y="625"/>
                        <a:pt x="2036" y="635"/>
                      </a:cubicBezTo>
                      <a:cubicBezTo>
                        <a:pt x="2037" y="645"/>
                        <a:pt x="2030" y="654"/>
                        <a:pt x="2030" y="654"/>
                      </a:cubicBezTo>
                      <a:cubicBezTo>
                        <a:pt x="2026" y="645"/>
                        <a:pt x="2026" y="645"/>
                        <a:pt x="2026" y="645"/>
                      </a:cubicBezTo>
                      <a:cubicBezTo>
                        <a:pt x="2026" y="645"/>
                        <a:pt x="2001" y="644"/>
                        <a:pt x="2003" y="638"/>
                      </a:cubicBezTo>
                      <a:cubicBezTo>
                        <a:pt x="2005" y="632"/>
                        <a:pt x="2047" y="604"/>
                        <a:pt x="2047" y="604"/>
                      </a:cubicBezTo>
                      <a:cubicBezTo>
                        <a:pt x="2022" y="604"/>
                        <a:pt x="2022" y="604"/>
                        <a:pt x="2022" y="604"/>
                      </a:cubicBezTo>
                      <a:cubicBezTo>
                        <a:pt x="2022" y="604"/>
                        <a:pt x="2015" y="590"/>
                        <a:pt x="2008" y="590"/>
                      </a:cubicBezTo>
                      <a:cubicBezTo>
                        <a:pt x="2001" y="590"/>
                        <a:pt x="1985" y="596"/>
                        <a:pt x="1985" y="596"/>
                      </a:cubicBezTo>
                      <a:cubicBezTo>
                        <a:pt x="1985" y="596"/>
                        <a:pt x="1964" y="589"/>
                        <a:pt x="1961" y="597"/>
                      </a:cubicBezTo>
                      <a:cubicBezTo>
                        <a:pt x="1958" y="605"/>
                        <a:pt x="1956" y="612"/>
                        <a:pt x="1960" y="613"/>
                      </a:cubicBezTo>
                      <a:cubicBezTo>
                        <a:pt x="1964" y="614"/>
                        <a:pt x="1993" y="627"/>
                        <a:pt x="1983" y="630"/>
                      </a:cubicBezTo>
                      <a:cubicBezTo>
                        <a:pt x="1973" y="633"/>
                        <a:pt x="1955" y="618"/>
                        <a:pt x="1955" y="618"/>
                      </a:cubicBezTo>
                      <a:cubicBezTo>
                        <a:pt x="1941" y="609"/>
                        <a:pt x="1941" y="609"/>
                        <a:pt x="1941" y="609"/>
                      </a:cubicBezTo>
                      <a:cubicBezTo>
                        <a:pt x="1940" y="629"/>
                        <a:pt x="1940" y="629"/>
                        <a:pt x="1940" y="629"/>
                      </a:cubicBezTo>
                      <a:cubicBezTo>
                        <a:pt x="1940" y="629"/>
                        <a:pt x="1925" y="638"/>
                        <a:pt x="1916" y="636"/>
                      </a:cubicBezTo>
                      <a:cubicBezTo>
                        <a:pt x="1907" y="634"/>
                        <a:pt x="1874" y="625"/>
                        <a:pt x="1863" y="625"/>
                      </a:cubicBezTo>
                      <a:cubicBezTo>
                        <a:pt x="1852" y="625"/>
                        <a:pt x="1830" y="629"/>
                        <a:pt x="1819" y="628"/>
                      </a:cubicBezTo>
                      <a:cubicBezTo>
                        <a:pt x="1808" y="627"/>
                        <a:pt x="1791" y="610"/>
                        <a:pt x="1791" y="610"/>
                      </a:cubicBezTo>
                      <a:cubicBezTo>
                        <a:pt x="1752" y="613"/>
                        <a:pt x="1752" y="613"/>
                        <a:pt x="1752" y="613"/>
                      </a:cubicBezTo>
                      <a:cubicBezTo>
                        <a:pt x="1752" y="613"/>
                        <a:pt x="1737" y="599"/>
                        <a:pt x="1729" y="597"/>
                      </a:cubicBezTo>
                      <a:cubicBezTo>
                        <a:pt x="1721" y="595"/>
                        <a:pt x="1704" y="595"/>
                        <a:pt x="1692" y="601"/>
                      </a:cubicBezTo>
                      <a:cubicBezTo>
                        <a:pt x="1680" y="607"/>
                        <a:pt x="1685" y="609"/>
                        <a:pt x="1672" y="609"/>
                      </a:cubicBezTo>
                      <a:cubicBezTo>
                        <a:pt x="1659" y="609"/>
                        <a:pt x="1631" y="602"/>
                        <a:pt x="1624" y="611"/>
                      </a:cubicBezTo>
                      <a:cubicBezTo>
                        <a:pt x="1617" y="620"/>
                        <a:pt x="1605" y="646"/>
                        <a:pt x="1605" y="646"/>
                      </a:cubicBezTo>
                      <a:cubicBezTo>
                        <a:pt x="1597" y="666"/>
                        <a:pt x="1597" y="666"/>
                        <a:pt x="1597" y="666"/>
                      </a:cubicBezTo>
                      <a:cubicBezTo>
                        <a:pt x="1576" y="668"/>
                        <a:pt x="1576" y="668"/>
                        <a:pt x="1576" y="668"/>
                      </a:cubicBezTo>
                      <a:cubicBezTo>
                        <a:pt x="1571" y="687"/>
                        <a:pt x="1571" y="687"/>
                        <a:pt x="1571" y="687"/>
                      </a:cubicBezTo>
                      <a:cubicBezTo>
                        <a:pt x="1556" y="654"/>
                        <a:pt x="1556" y="654"/>
                        <a:pt x="1556" y="654"/>
                      </a:cubicBezTo>
                      <a:cubicBezTo>
                        <a:pt x="1556" y="654"/>
                        <a:pt x="1598" y="665"/>
                        <a:pt x="1587" y="646"/>
                      </a:cubicBezTo>
                      <a:cubicBezTo>
                        <a:pt x="1576" y="627"/>
                        <a:pt x="1544" y="625"/>
                        <a:pt x="1544" y="625"/>
                      </a:cubicBezTo>
                      <a:cubicBezTo>
                        <a:pt x="1546" y="616"/>
                        <a:pt x="1546" y="616"/>
                        <a:pt x="1546" y="616"/>
                      </a:cubicBezTo>
                      <a:cubicBezTo>
                        <a:pt x="1546" y="616"/>
                        <a:pt x="1477" y="629"/>
                        <a:pt x="1440" y="629"/>
                      </a:cubicBezTo>
                      <a:cubicBezTo>
                        <a:pt x="1403" y="629"/>
                        <a:pt x="1337" y="625"/>
                        <a:pt x="1350" y="619"/>
                      </a:cubicBezTo>
                      <a:cubicBezTo>
                        <a:pt x="1363" y="613"/>
                        <a:pt x="1447" y="616"/>
                        <a:pt x="1427" y="594"/>
                      </a:cubicBezTo>
                      <a:cubicBezTo>
                        <a:pt x="1407" y="572"/>
                        <a:pt x="1388" y="570"/>
                        <a:pt x="1364" y="572"/>
                      </a:cubicBezTo>
                      <a:cubicBezTo>
                        <a:pt x="1340" y="574"/>
                        <a:pt x="1301" y="560"/>
                        <a:pt x="1295" y="557"/>
                      </a:cubicBezTo>
                      <a:cubicBezTo>
                        <a:pt x="1289" y="554"/>
                        <a:pt x="1271" y="554"/>
                        <a:pt x="1271" y="554"/>
                      </a:cubicBezTo>
                      <a:cubicBezTo>
                        <a:pt x="1271" y="554"/>
                        <a:pt x="1223" y="527"/>
                        <a:pt x="1205" y="528"/>
                      </a:cubicBezTo>
                      <a:cubicBezTo>
                        <a:pt x="1187" y="529"/>
                        <a:pt x="1155" y="554"/>
                        <a:pt x="1155" y="554"/>
                      </a:cubicBezTo>
                      <a:cubicBezTo>
                        <a:pt x="1119" y="554"/>
                        <a:pt x="1119" y="554"/>
                        <a:pt x="1119" y="554"/>
                      </a:cubicBezTo>
                      <a:cubicBezTo>
                        <a:pt x="1139" y="542"/>
                        <a:pt x="1139" y="542"/>
                        <a:pt x="1139" y="542"/>
                      </a:cubicBezTo>
                      <a:cubicBezTo>
                        <a:pt x="1139" y="534"/>
                        <a:pt x="1139" y="534"/>
                        <a:pt x="1139" y="534"/>
                      </a:cubicBezTo>
                      <a:cubicBezTo>
                        <a:pt x="1156" y="514"/>
                        <a:pt x="1156" y="514"/>
                        <a:pt x="1156" y="514"/>
                      </a:cubicBezTo>
                      <a:cubicBezTo>
                        <a:pt x="1156" y="514"/>
                        <a:pt x="1117" y="532"/>
                        <a:pt x="1110" y="539"/>
                      </a:cubicBezTo>
                      <a:cubicBezTo>
                        <a:pt x="1103" y="546"/>
                        <a:pt x="1087" y="568"/>
                        <a:pt x="1072" y="553"/>
                      </a:cubicBezTo>
                      <a:cubicBezTo>
                        <a:pt x="1057" y="538"/>
                        <a:pt x="1078" y="522"/>
                        <a:pt x="1075" y="511"/>
                      </a:cubicBezTo>
                      <a:cubicBezTo>
                        <a:pt x="1072" y="500"/>
                        <a:pt x="1049" y="489"/>
                        <a:pt x="1046" y="498"/>
                      </a:cubicBezTo>
                      <a:cubicBezTo>
                        <a:pt x="1043" y="507"/>
                        <a:pt x="1056" y="513"/>
                        <a:pt x="1056" y="513"/>
                      </a:cubicBezTo>
                      <a:cubicBezTo>
                        <a:pt x="1056" y="513"/>
                        <a:pt x="1036" y="511"/>
                        <a:pt x="1025" y="515"/>
                      </a:cubicBezTo>
                      <a:cubicBezTo>
                        <a:pt x="1014" y="519"/>
                        <a:pt x="998" y="530"/>
                        <a:pt x="993" y="534"/>
                      </a:cubicBezTo>
                      <a:cubicBezTo>
                        <a:pt x="988" y="538"/>
                        <a:pt x="970" y="533"/>
                        <a:pt x="970" y="533"/>
                      </a:cubicBezTo>
                      <a:cubicBezTo>
                        <a:pt x="970" y="533"/>
                        <a:pt x="923" y="543"/>
                        <a:pt x="919" y="544"/>
                      </a:cubicBezTo>
                      <a:cubicBezTo>
                        <a:pt x="915" y="545"/>
                        <a:pt x="890" y="560"/>
                        <a:pt x="890" y="560"/>
                      </a:cubicBezTo>
                      <a:cubicBezTo>
                        <a:pt x="876" y="547"/>
                        <a:pt x="876" y="547"/>
                        <a:pt x="876" y="547"/>
                      </a:cubicBezTo>
                      <a:cubicBezTo>
                        <a:pt x="876" y="547"/>
                        <a:pt x="843" y="564"/>
                        <a:pt x="833" y="565"/>
                      </a:cubicBezTo>
                      <a:cubicBezTo>
                        <a:pt x="823" y="566"/>
                        <a:pt x="805" y="578"/>
                        <a:pt x="805" y="578"/>
                      </a:cubicBezTo>
                      <a:cubicBezTo>
                        <a:pt x="783" y="580"/>
                        <a:pt x="783" y="580"/>
                        <a:pt x="783" y="580"/>
                      </a:cubicBezTo>
                      <a:cubicBezTo>
                        <a:pt x="783" y="580"/>
                        <a:pt x="800" y="562"/>
                        <a:pt x="815" y="559"/>
                      </a:cubicBezTo>
                      <a:cubicBezTo>
                        <a:pt x="830" y="556"/>
                        <a:pt x="864" y="543"/>
                        <a:pt x="864" y="543"/>
                      </a:cubicBezTo>
                      <a:cubicBezTo>
                        <a:pt x="864" y="543"/>
                        <a:pt x="895" y="546"/>
                        <a:pt x="906" y="541"/>
                      </a:cubicBezTo>
                      <a:cubicBezTo>
                        <a:pt x="917" y="536"/>
                        <a:pt x="978" y="522"/>
                        <a:pt x="978" y="522"/>
                      </a:cubicBezTo>
                      <a:cubicBezTo>
                        <a:pt x="978" y="522"/>
                        <a:pt x="990" y="519"/>
                        <a:pt x="983" y="514"/>
                      </a:cubicBezTo>
                      <a:cubicBezTo>
                        <a:pt x="976" y="509"/>
                        <a:pt x="955" y="516"/>
                        <a:pt x="955" y="516"/>
                      </a:cubicBezTo>
                      <a:cubicBezTo>
                        <a:pt x="955" y="516"/>
                        <a:pt x="937" y="515"/>
                        <a:pt x="930" y="517"/>
                      </a:cubicBezTo>
                      <a:cubicBezTo>
                        <a:pt x="923" y="519"/>
                        <a:pt x="916" y="527"/>
                        <a:pt x="911" y="528"/>
                      </a:cubicBezTo>
                      <a:cubicBezTo>
                        <a:pt x="906" y="529"/>
                        <a:pt x="887" y="529"/>
                        <a:pt x="887" y="529"/>
                      </a:cubicBezTo>
                      <a:cubicBezTo>
                        <a:pt x="872" y="532"/>
                        <a:pt x="872" y="532"/>
                        <a:pt x="872" y="532"/>
                      </a:cubicBezTo>
                      <a:cubicBezTo>
                        <a:pt x="872" y="532"/>
                        <a:pt x="855" y="532"/>
                        <a:pt x="843" y="535"/>
                      </a:cubicBezTo>
                      <a:cubicBezTo>
                        <a:pt x="831" y="538"/>
                        <a:pt x="820" y="550"/>
                        <a:pt x="820" y="550"/>
                      </a:cubicBezTo>
                      <a:cubicBezTo>
                        <a:pt x="806" y="552"/>
                        <a:pt x="806" y="552"/>
                        <a:pt x="806" y="552"/>
                      </a:cubicBezTo>
                      <a:cubicBezTo>
                        <a:pt x="771" y="565"/>
                        <a:pt x="771" y="565"/>
                        <a:pt x="771" y="565"/>
                      </a:cubicBezTo>
                      <a:cubicBezTo>
                        <a:pt x="771" y="565"/>
                        <a:pt x="756" y="568"/>
                        <a:pt x="753" y="571"/>
                      </a:cubicBezTo>
                      <a:cubicBezTo>
                        <a:pt x="750" y="574"/>
                        <a:pt x="748" y="590"/>
                        <a:pt x="741" y="586"/>
                      </a:cubicBezTo>
                      <a:cubicBezTo>
                        <a:pt x="734" y="582"/>
                        <a:pt x="733" y="567"/>
                        <a:pt x="744" y="565"/>
                      </a:cubicBezTo>
                      <a:cubicBezTo>
                        <a:pt x="755" y="563"/>
                        <a:pt x="784" y="553"/>
                        <a:pt x="793" y="547"/>
                      </a:cubicBezTo>
                      <a:cubicBezTo>
                        <a:pt x="802" y="541"/>
                        <a:pt x="760" y="535"/>
                        <a:pt x="753" y="544"/>
                      </a:cubicBezTo>
                      <a:cubicBezTo>
                        <a:pt x="746" y="553"/>
                        <a:pt x="719" y="558"/>
                        <a:pt x="712" y="558"/>
                      </a:cubicBezTo>
                      <a:cubicBezTo>
                        <a:pt x="705" y="558"/>
                        <a:pt x="705" y="585"/>
                        <a:pt x="705" y="585"/>
                      </a:cubicBezTo>
                      <a:cubicBezTo>
                        <a:pt x="689" y="576"/>
                        <a:pt x="689" y="576"/>
                        <a:pt x="689" y="576"/>
                      </a:cubicBezTo>
                      <a:cubicBezTo>
                        <a:pt x="647" y="570"/>
                        <a:pt x="647" y="570"/>
                        <a:pt x="647" y="570"/>
                      </a:cubicBezTo>
                      <a:cubicBezTo>
                        <a:pt x="647" y="570"/>
                        <a:pt x="621" y="558"/>
                        <a:pt x="623" y="553"/>
                      </a:cubicBezTo>
                      <a:cubicBezTo>
                        <a:pt x="625" y="548"/>
                        <a:pt x="629" y="539"/>
                        <a:pt x="629" y="539"/>
                      </a:cubicBezTo>
                      <a:cubicBezTo>
                        <a:pt x="555" y="540"/>
                        <a:pt x="555" y="540"/>
                        <a:pt x="555" y="540"/>
                      </a:cubicBezTo>
                      <a:cubicBezTo>
                        <a:pt x="567" y="540"/>
                        <a:pt x="567" y="540"/>
                        <a:pt x="567" y="540"/>
                      </a:cubicBezTo>
                      <a:cubicBezTo>
                        <a:pt x="52" y="964"/>
                        <a:pt x="52" y="964"/>
                        <a:pt x="52" y="964"/>
                      </a:cubicBezTo>
                      <a:cubicBezTo>
                        <a:pt x="52" y="964"/>
                        <a:pt x="26" y="978"/>
                        <a:pt x="32" y="984"/>
                      </a:cubicBezTo>
                      <a:cubicBezTo>
                        <a:pt x="38" y="990"/>
                        <a:pt x="67" y="984"/>
                        <a:pt x="67" y="984"/>
                      </a:cubicBezTo>
                      <a:cubicBezTo>
                        <a:pt x="70" y="984"/>
                        <a:pt x="79" y="979"/>
                        <a:pt x="79" y="979"/>
                      </a:cubicBezTo>
                      <a:cubicBezTo>
                        <a:pt x="103" y="979"/>
                        <a:pt x="103" y="979"/>
                        <a:pt x="103" y="979"/>
                      </a:cubicBezTo>
                      <a:cubicBezTo>
                        <a:pt x="88" y="994"/>
                        <a:pt x="88" y="994"/>
                        <a:pt x="88" y="994"/>
                      </a:cubicBezTo>
                      <a:cubicBezTo>
                        <a:pt x="88" y="994"/>
                        <a:pt x="88" y="1003"/>
                        <a:pt x="88" y="1013"/>
                      </a:cubicBezTo>
                      <a:cubicBezTo>
                        <a:pt x="88" y="1024"/>
                        <a:pt x="107" y="1032"/>
                        <a:pt x="107" y="1032"/>
                      </a:cubicBezTo>
                      <a:cubicBezTo>
                        <a:pt x="107" y="1032"/>
                        <a:pt x="88" y="1051"/>
                        <a:pt x="93" y="1051"/>
                      </a:cubicBezTo>
                      <a:cubicBezTo>
                        <a:pt x="99" y="1051"/>
                        <a:pt x="115" y="1038"/>
                        <a:pt x="115" y="1038"/>
                      </a:cubicBezTo>
                      <a:cubicBezTo>
                        <a:pt x="115" y="1038"/>
                        <a:pt x="136" y="1031"/>
                        <a:pt x="143" y="1031"/>
                      </a:cubicBezTo>
                      <a:cubicBezTo>
                        <a:pt x="151" y="1031"/>
                        <a:pt x="157" y="1021"/>
                        <a:pt x="157" y="1021"/>
                      </a:cubicBezTo>
                      <a:cubicBezTo>
                        <a:pt x="169" y="1021"/>
                        <a:pt x="169" y="1021"/>
                        <a:pt x="169" y="1021"/>
                      </a:cubicBezTo>
                      <a:cubicBezTo>
                        <a:pt x="171" y="1013"/>
                        <a:pt x="171" y="1013"/>
                        <a:pt x="171" y="1013"/>
                      </a:cubicBezTo>
                      <a:cubicBezTo>
                        <a:pt x="171" y="1013"/>
                        <a:pt x="199" y="1003"/>
                        <a:pt x="217" y="1008"/>
                      </a:cubicBezTo>
                      <a:cubicBezTo>
                        <a:pt x="236" y="1014"/>
                        <a:pt x="209" y="1024"/>
                        <a:pt x="209" y="1024"/>
                      </a:cubicBezTo>
                      <a:cubicBezTo>
                        <a:pt x="209" y="1041"/>
                        <a:pt x="209" y="1041"/>
                        <a:pt x="209" y="1041"/>
                      </a:cubicBezTo>
                      <a:cubicBezTo>
                        <a:pt x="203" y="1052"/>
                        <a:pt x="203" y="1052"/>
                        <a:pt x="203" y="1052"/>
                      </a:cubicBezTo>
                      <a:cubicBezTo>
                        <a:pt x="203" y="1052"/>
                        <a:pt x="210" y="1054"/>
                        <a:pt x="216" y="1072"/>
                      </a:cubicBezTo>
                      <a:cubicBezTo>
                        <a:pt x="223" y="1089"/>
                        <a:pt x="206" y="1108"/>
                        <a:pt x="206" y="1108"/>
                      </a:cubicBezTo>
                      <a:cubicBezTo>
                        <a:pt x="206" y="1132"/>
                        <a:pt x="206" y="1132"/>
                        <a:pt x="206" y="1132"/>
                      </a:cubicBezTo>
                      <a:cubicBezTo>
                        <a:pt x="206" y="1132"/>
                        <a:pt x="200" y="1149"/>
                        <a:pt x="195" y="1162"/>
                      </a:cubicBezTo>
                      <a:cubicBezTo>
                        <a:pt x="190" y="1175"/>
                        <a:pt x="218" y="1176"/>
                        <a:pt x="218" y="1180"/>
                      </a:cubicBezTo>
                      <a:cubicBezTo>
                        <a:pt x="218" y="1185"/>
                        <a:pt x="225" y="1187"/>
                        <a:pt x="225" y="1187"/>
                      </a:cubicBezTo>
                      <a:cubicBezTo>
                        <a:pt x="225" y="1187"/>
                        <a:pt x="235" y="1186"/>
                        <a:pt x="235" y="1194"/>
                      </a:cubicBezTo>
                      <a:cubicBezTo>
                        <a:pt x="235" y="1202"/>
                        <a:pt x="208" y="1213"/>
                        <a:pt x="208" y="1213"/>
                      </a:cubicBezTo>
                      <a:cubicBezTo>
                        <a:pt x="208" y="1213"/>
                        <a:pt x="208" y="1229"/>
                        <a:pt x="198" y="1239"/>
                      </a:cubicBezTo>
                      <a:cubicBezTo>
                        <a:pt x="194" y="1243"/>
                        <a:pt x="173" y="1254"/>
                        <a:pt x="152" y="1264"/>
                      </a:cubicBezTo>
                      <a:cubicBezTo>
                        <a:pt x="150" y="1269"/>
                        <a:pt x="149" y="1274"/>
                        <a:pt x="148" y="1278"/>
                      </a:cubicBezTo>
                      <a:cubicBezTo>
                        <a:pt x="147" y="1285"/>
                        <a:pt x="142" y="1299"/>
                        <a:pt x="142" y="1299"/>
                      </a:cubicBezTo>
                      <a:cubicBezTo>
                        <a:pt x="133" y="1305"/>
                        <a:pt x="133" y="1305"/>
                        <a:pt x="133" y="1305"/>
                      </a:cubicBezTo>
                      <a:cubicBezTo>
                        <a:pt x="133" y="1305"/>
                        <a:pt x="142" y="1309"/>
                        <a:pt x="143" y="1316"/>
                      </a:cubicBezTo>
                      <a:cubicBezTo>
                        <a:pt x="144" y="1323"/>
                        <a:pt x="151" y="1326"/>
                        <a:pt x="151" y="1326"/>
                      </a:cubicBezTo>
                      <a:cubicBezTo>
                        <a:pt x="151" y="1326"/>
                        <a:pt x="201" y="1287"/>
                        <a:pt x="201" y="1296"/>
                      </a:cubicBezTo>
                      <a:cubicBezTo>
                        <a:pt x="201" y="1305"/>
                        <a:pt x="185" y="1306"/>
                        <a:pt x="183" y="1311"/>
                      </a:cubicBezTo>
                      <a:cubicBezTo>
                        <a:pt x="181" y="1316"/>
                        <a:pt x="185" y="1326"/>
                        <a:pt x="185" y="1326"/>
                      </a:cubicBezTo>
                      <a:cubicBezTo>
                        <a:pt x="194" y="1333"/>
                        <a:pt x="194" y="1333"/>
                        <a:pt x="194" y="1333"/>
                      </a:cubicBezTo>
                      <a:cubicBezTo>
                        <a:pt x="165" y="1332"/>
                        <a:pt x="165" y="1332"/>
                        <a:pt x="165" y="1332"/>
                      </a:cubicBezTo>
                      <a:cubicBezTo>
                        <a:pt x="165" y="1332"/>
                        <a:pt x="143" y="1359"/>
                        <a:pt x="153" y="1360"/>
                      </a:cubicBezTo>
                      <a:cubicBezTo>
                        <a:pt x="163" y="1361"/>
                        <a:pt x="169" y="1367"/>
                        <a:pt x="169" y="1367"/>
                      </a:cubicBezTo>
                      <a:cubicBezTo>
                        <a:pt x="169" y="1367"/>
                        <a:pt x="157" y="1388"/>
                        <a:pt x="164" y="1385"/>
                      </a:cubicBezTo>
                      <a:cubicBezTo>
                        <a:pt x="171" y="1382"/>
                        <a:pt x="212" y="1354"/>
                        <a:pt x="212" y="1354"/>
                      </a:cubicBezTo>
                      <a:cubicBezTo>
                        <a:pt x="211" y="1363"/>
                        <a:pt x="211" y="1363"/>
                        <a:pt x="211" y="1363"/>
                      </a:cubicBezTo>
                      <a:cubicBezTo>
                        <a:pt x="192" y="1374"/>
                        <a:pt x="192" y="1374"/>
                        <a:pt x="192" y="1374"/>
                      </a:cubicBezTo>
                      <a:cubicBezTo>
                        <a:pt x="207" y="1380"/>
                        <a:pt x="207" y="1380"/>
                        <a:pt x="207" y="1380"/>
                      </a:cubicBezTo>
                      <a:cubicBezTo>
                        <a:pt x="207" y="1380"/>
                        <a:pt x="202" y="1400"/>
                        <a:pt x="194" y="1398"/>
                      </a:cubicBezTo>
                      <a:cubicBezTo>
                        <a:pt x="186" y="1396"/>
                        <a:pt x="184" y="1387"/>
                        <a:pt x="184" y="1387"/>
                      </a:cubicBezTo>
                      <a:cubicBezTo>
                        <a:pt x="184" y="1387"/>
                        <a:pt x="151" y="1397"/>
                        <a:pt x="145" y="1403"/>
                      </a:cubicBezTo>
                      <a:cubicBezTo>
                        <a:pt x="139" y="1409"/>
                        <a:pt x="133" y="1417"/>
                        <a:pt x="133" y="1417"/>
                      </a:cubicBezTo>
                      <a:cubicBezTo>
                        <a:pt x="133" y="1417"/>
                        <a:pt x="151" y="1412"/>
                        <a:pt x="156" y="1412"/>
                      </a:cubicBezTo>
                      <a:cubicBezTo>
                        <a:pt x="161" y="1412"/>
                        <a:pt x="182" y="1412"/>
                        <a:pt x="182" y="1412"/>
                      </a:cubicBezTo>
                      <a:cubicBezTo>
                        <a:pt x="182" y="1412"/>
                        <a:pt x="146" y="1421"/>
                        <a:pt x="140" y="1424"/>
                      </a:cubicBezTo>
                      <a:cubicBezTo>
                        <a:pt x="134" y="1427"/>
                        <a:pt x="138" y="1435"/>
                        <a:pt x="138" y="1435"/>
                      </a:cubicBezTo>
                      <a:cubicBezTo>
                        <a:pt x="138" y="1435"/>
                        <a:pt x="105" y="1423"/>
                        <a:pt x="114" y="1437"/>
                      </a:cubicBezTo>
                      <a:cubicBezTo>
                        <a:pt x="123" y="1451"/>
                        <a:pt x="132" y="1455"/>
                        <a:pt x="132" y="1455"/>
                      </a:cubicBezTo>
                      <a:cubicBezTo>
                        <a:pt x="164" y="1444"/>
                        <a:pt x="164" y="1444"/>
                        <a:pt x="164" y="1444"/>
                      </a:cubicBezTo>
                      <a:cubicBezTo>
                        <a:pt x="173" y="1459"/>
                        <a:pt x="173" y="1459"/>
                        <a:pt x="173" y="1459"/>
                      </a:cubicBezTo>
                      <a:cubicBezTo>
                        <a:pt x="198" y="1445"/>
                        <a:pt x="198" y="1445"/>
                        <a:pt x="198" y="1445"/>
                      </a:cubicBezTo>
                      <a:cubicBezTo>
                        <a:pt x="198" y="1445"/>
                        <a:pt x="165" y="1479"/>
                        <a:pt x="176" y="1478"/>
                      </a:cubicBezTo>
                      <a:cubicBezTo>
                        <a:pt x="187" y="1477"/>
                        <a:pt x="217" y="1454"/>
                        <a:pt x="217" y="1454"/>
                      </a:cubicBezTo>
                      <a:cubicBezTo>
                        <a:pt x="217" y="1454"/>
                        <a:pt x="190" y="1484"/>
                        <a:pt x="194" y="1484"/>
                      </a:cubicBezTo>
                      <a:cubicBezTo>
                        <a:pt x="198" y="1484"/>
                        <a:pt x="216" y="1479"/>
                        <a:pt x="216" y="1479"/>
                      </a:cubicBezTo>
                      <a:cubicBezTo>
                        <a:pt x="216" y="1479"/>
                        <a:pt x="178" y="1508"/>
                        <a:pt x="190" y="1509"/>
                      </a:cubicBezTo>
                      <a:cubicBezTo>
                        <a:pt x="202" y="1510"/>
                        <a:pt x="229" y="1490"/>
                        <a:pt x="229" y="1490"/>
                      </a:cubicBezTo>
                      <a:cubicBezTo>
                        <a:pt x="229" y="1490"/>
                        <a:pt x="203" y="1518"/>
                        <a:pt x="210" y="1520"/>
                      </a:cubicBezTo>
                      <a:cubicBezTo>
                        <a:pt x="217" y="1522"/>
                        <a:pt x="233" y="1526"/>
                        <a:pt x="233" y="1529"/>
                      </a:cubicBezTo>
                      <a:cubicBezTo>
                        <a:pt x="233" y="1531"/>
                        <a:pt x="231" y="1548"/>
                        <a:pt x="228" y="1561"/>
                      </a:cubicBezTo>
                      <a:cubicBezTo>
                        <a:pt x="228" y="1561"/>
                        <a:pt x="228" y="1561"/>
                        <a:pt x="228" y="1561"/>
                      </a:cubicBezTo>
                      <a:cubicBezTo>
                        <a:pt x="1370" y="1561"/>
                        <a:pt x="1370" y="1561"/>
                        <a:pt x="1370" y="1561"/>
                      </a:cubicBezTo>
                      <a:cubicBezTo>
                        <a:pt x="1370" y="1561"/>
                        <a:pt x="1384" y="1526"/>
                        <a:pt x="1394" y="1537"/>
                      </a:cubicBezTo>
                      <a:cubicBezTo>
                        <a:pt x="1404" y="1547"/>
                        <a:pt x="1379" y="1557"/>
                        <a:pt x="1388" y="1566"/>
                      </a:cubicBezTo>
                      <a:cubicBezTo>
                        <a:pt x="1396" y="1574"/>
                        <a:pt x="1415" y="1575"/>
                        <a:pt x="1415" y="1575"/>
                      </a:cubicBezTo>
                      <a:cubicBezTo>
                        <a:pt x="1415" y="1575"/>
                        <a:pt x="1422" y="1585"/>
                        <a:pt x="1430" y="1585"/>
                      </a:cubicBezTo>
                      <a:cubicBezTo>
                        <a:pt x="1438" y="1585"/>
                        <a:pt x="1436" y="1573"/>
                        <a:pt x="1449" y="1573"/>
                      </a:cubicBezTo>
                      <a:cubicBezTo>
                        <a:pt x="1462" y="1573"/>
                        <a:pt x="1465" y="1593"/>
                        <a:pt x="1471" y="1593"/>
                      </a:cubicBezTo>
                      <a:cubicBezTo>
                        <a:pt x="1477" y="1593"/>
                        <a:pt x="1484" y="1596"/>
                        <a:pt x="1487" y="1593"/>
                      </a:cubicBezTo>
                      <a:cubicBezTo>
                        <a:pt x="1490" y="1590"/>
                        <a:pt x="1503" y="1614"/>
                        <a:pt x="1509" y="1608"/>
                      </a:cubicBezTo>
                      <a:cubicBezTo>
                        <a:pt x="1515" y="1602"/>
                        <a:pt x="1531" y="1591"/>
                        <a:pt x="1531" y="1591"/>
                      </a:cubicBezTo>
                      <a:cubicBezTo>
                        <a:pt x="1531" y="1601"/>
                        <a:pt x="1531" y="1601"/>
                        <a:pt x="1531" y="1601"/>
                      </a:cubicBezTo>
                      <a:cubicBezTo>
                        <a:pt x="1561" y="1600"/>
                        <a:pt x="1561" y="1600"/>
                        <a:pt x="1561" y="1600"/>
                      </a:cubicBezTo>
                      <a:cubicBezTo>
                        <a:pt x="1561" y="1600"/>
                        <a:pt x="1558" y="1606"/>
                        <a:pt x="1586" y="1606"/>
                      </a:cubicBezTo>
                      <a:cubicBezTo>
                        <a:pt x="1598" y="1598"/>
                        <a:pt x="1605" y="1585"/>
                        <a:pt x="1606" y="1582"/>
                      </a:cubicBezTo>
                      <a:cubicBezTo>
                        <a:pt x="1607" y="1578"/>
                        <a:pt x="1626" y="1586"/>
                        <a:pt x="1626" y="1586"/>
                      </a:cubicBezTo>
                      <a:cubicBezTo>
                        <a:pt x="1634" y="1580"/>
                        <a:pt x="1634" y="1580"/>
                        <a:pt x="1634" y="1580"/>
                      </a:cubicBezTo>
                      <a:cubicBezTo>
                        <a:pt x="1634" y="1580"/>
                        <a:pt x="1641" y="1568"/>
                        <a:pt x="1642" y="1565"/>
                      </a:cubicBezTo>
                      <a:cubicBezTo>
                        <a:pt x="1643" y="1562"/>
                        <a:pt x="1651" y="1575"/>
                        <a:pt x="1651" y="1575"/>
                      </a:cubicBezTo>
                      <a:cubicBezTo>
                        <a:pt x="1668" y="1572"/>
                        <a:pt x="1668" y="1572"/>
                        <a:pt x="1668" y="1572"/>
                      </a:cubicBezTo>
                      <a:cubicBezTo>
                        <a:pt x="1668" y="1572"/>
                        <a:pt x="1659" y="1562"/>
                        <a:pt x="1668" y="1555"/>
                      </a:cubicBezTo>
                      <a:cubicBezTo>
                        <a:pt x="1677" y="1548"/>
                        <a:pt x="1686" y="1563"/>
                        <a:pt x="1686" y="1563"/>
                      </a:cubicBezTo>
                      <a:cubicBezTo>
                        <a:pt x="1704" y="1563"/>
                        <a:pt x="1704" y="1563"/>
                        <a:pt x="1704" y="1563"/>
                      </a:cubicBezTo>
                      <a:cubicBezTo>
                        <a:pt x="1708" y="1567"/>
                        <a:pt x="1708" y="1567"/>
                        <a:pt x="1708" y="1567"/>
                      </a:cubicBezTo>
                      <a:cubicBezTo>
                        <a:pt x="1708" y="1567"/>
                        <a:pt x="1728" y="1568"/>
                        <a:pt x="1733" y="1573"/>
                      </a:cubicBezTo>
                      <a:cubicBezTo>
                        <a:pt x="1738" y="1578"/>
                        <a:pt x="1727" y="1604"/>
                        <a:pt x="1727" y="1604"/>
                      </a:cubicBezTo>
                      <a:cubicBezTo>
                        <a:pt x="1733" y="1611"/>
                        <a:pt x="1733" y="1611"/>
                        <a:pt x="1733" y="1611"/>
                      </a:cubicBezTo>
                      <a:cubicBezTo>
                        <a:pt x="1727" y="1626"/>
                        <a:pt x="1727" y="1626"/>
                        <a:pt x="1727" y="1626"/>
                      </a:cubicBezTo>
                      <a:cubicBezTo>
                        <a:pt x="1727" y="1626"/>
                        <a:pt x="1766" y="1603"/>
                        <a:pt x="1777" y="1610"/>
                      </a:cubicBezTo>
                      <a:cubicBezTo>
                        <a:pt x="1788" y="1617"/>
                        <a:pt x="1760" y="1627"/>
                        <a:pt x="1759" y="1631"/>
                      </a:cubicBezTo>
                      <a:cubicBezTo>
                        <a:pt x="1758" y="1635"/>
                        <a:pt x="1773" y="1638"/>
                        <a:pt x="1773" y="1643"/>
                      </a:cubicBezTo>
                      <a:cubicBezTo>
                        <a:pt x="1773" y="1648"/>
                        <a:pt x="1757" y="1654"/>
                        <a:pt x="1757" y="1659"/>
                      </a:cubicBezTo>
                      <a:cubicBezTo>
                        <a:pt x="1757" y="1664"/>
                        <a:pt x="1770" y="1664"/>
                        <a:pt x="1767" y="1671"/>
                      </a:cubicBezTo>
                      <a:cubicBezTo>
                        <a:pt x="1764" y="1678"/>
                        <a:pt x="1758" y="1679"/>
                        <a:pt x="1758" y="1679"/>
                      </a:cubicBezTo>
                      <a:cubicBezTo>
                        <a:pt x="1756" y="1685"/>
                        <a:pt x="1756" y="1685"/>
                        <a:pt x="1756" y="1685"/>
                      </a:cubicBezTo>
                      <a:cubicBezTo>
                        <a:pt x="1769" y="1685"/>
                        <a:pt x="1769" y="1685"/>
                        <a:pt x="1769" y="1685"/>
                      </a:cubicBezTo>
                      <a:cubicBezTo>
                        <a:pt x="1765" y="1700"/>
                        <a:pt x="1765" y="1700"/>
                        <a:pt x="1765" y="1700"/>
                      </a:cubicBezTo>
                      <a:cubicBezTo>
                        <a:pt x="1771" y="1700"/>
                        <a:pt x="1778" y="1701"/>
                        <a:pt x="1781" y="1701"/>
                      </a:cubicBezTo>
                      <a:cubicBezTo>
                        <a:pt x="1786" y="1700"/>
                        <a:pt x="1794" y="1703"/>
                        <a:pt x="1806" y="1704"/>
                      </a:cubicBezTo>
                      <a:cubicBezTo>
                        <a:pt x="1818" y="1705"/>
                        <a:pt x="1825" y="1703"/>
                        <a:pt x="1825" y="1703"/>
                      </a:cubicBezTo>
                      <a:cubicBezTo>
                        <a:pt x="1837" y="1703"/>
                        <a:pt x="1852" y="1715"/>
                        <a:pt x="1863" y="1715"/>
                      </a:cubicBezTo>
                      <a:cubicBezTo>
                        <a:pt x="1874" y="1715"/>
                        <a:pt x="1884" y="1715"/>
                        <a:pt x="1884" y="1715"/>
                      </a:cubicBezTo>
                      <a:cubicBezTo>
                        <a:pt x="1906" y="1715"/>
                        <a:pt x="1904" y="1729"/>
                        <a:pt x="1904" y="1738"/>
                      </a:cubicBezTo>
                      <a:cubicBezTo>
                        <a:pt x="1904" y="1747"/>
                        <a:pt x="1914" y="1736"/>
                        <a:pt x="1914" y="1746"/>
                      </a:cubicBezTo>
                      <a:cubicBezTo>
                        <a:pt x="1914" y="1756"/>
                        <a:pt x="1910" y="1759"/>
                        <a:pt x="1905" y="1764"/>
                      </a:cubicBezTo>
                      <a:cubicBezTo>
                        <a:pt x="1900" y="1769"/>
                        <a:pt x="1918" y="1777"/>
                        <a:pt x="1918" y="1777"/>
                      </a:cubicBezTo>
                      <a:cubicBezTo>
                        <a:pt x="1903" y="1776"/>
                        <a:pt x="1903" y="1776"/>
                        <a:pt x="1903" y="1776"/>
                      </a:cubicBezTo>
                      <a:cubicBezTo>
                        <a:pt x="1903" y="1776"/>
                        <a:pt x="1903" y="1785"/>
                        <a:pt x="1896" y="1793"/>
                      </a:cubicBezTo>
                      <a:cubicBezTo>
                        <a:pt x="1888" y="1800"/>
                        <a:pt x="1887" y="1793"/>
                        <a:pt x="1868" y="1783"/>
                      </a:cubicBezTo>
                      <a:cubicBezTo>
                        <a:pt x="1849" y="1773"/>
                        <a:pt x="1855" y="1754"/>
                        <a:pt x="1855" y="1754"/>
                      </a:cubicBezTo>
                      <a:cubicBezTo>
                        <a:pt x="1844" y="1749"/>
                        <a:pt x="1844" y="1749"/>
                        <a:pt x="1844" y="1749"/>
                      </a:cubicBezTo>
                      <a:cubicBezTo>
                        <a:pt x="1846" y="1761"/>
                        <a:pt x="1846" y="1761"/>
                        <a:pt x="1846" y="1761"/>
                      </a:cubicBezTo>
                      <a:cubicBezTo>
                        <a:pt x="1846" y="1761"/>
                        <a:pt x="1854" y="1774"/>
                        <a:pt x="1846" y="1788"/>
                      </a:cubicBezTo>
                      <a:cubicBezTo>
                        <a:pt x="1838" y="1802"/>
                        <a:pt x="1820" y="1806"/>
                        <a:pt x="1812" y="1819"/>
                      </a:cubicBezTo>
                      <a:cubicBezTo>
                        <a:pt x="1804" y="1832"/>
                        <a:pt x="1801" y="1844"/>
                        <a:pt x="1793" y="1853"/>
                      </a:cubicBezTo>
                      <a:cubicBezTo>
                        <a:pt x="1785" y="1861"/>
                        <a:pt x="1769" y="1868"/>
                        <a:pt x="1762" y="1864"/>
                      </a:cubicBezTo>
                      <a:cubicBezTo>
                        <a:pt x="1758" y="1869"/>
                        <a:pt x="1755" y="1873"/>
                        <a:pt x="1755" y="1873"/>
                      </a:cubicBezTo>
                      <a:cubicBezTo>
                        <a:pt x="1755" y="1873"/>
                        <a:pt x="1757" y="1894"/>
                        <a:pt x="1749" y="1894"/>
                      </a:cubicBezTo>
                      <a:cubicBezTo>
                        <a:pt x="1741" y="1894"/>
                        <a:pt x="1696" y="1916"/>
                        <a:pt x="1706" y="1926"/>
                      </a:cubicBezTo>
                      <a:cubicBezTo>
                        <a:pt x="1707" y="1926"/>
                        <a:pt x="1707" y="1927"/>
                        <a:pt x="1708" y="1928"/>
                      </a:cubicBezTo>
                      <a:cubicBezTo>
                        <a:pt x="1716" y="1924"/>
                        <a:pt x="1723" y="1921"/>
                        <a:pt x="1724" y="1921"/>
                      </a:cubicBezTo>
                      <a:cubicBezTo>
                        <a:pt x="1727" y="1921"/>
                        <a:pt x="1731" y="1926"/>
                        <a:pt x="1731" y="1926"/>
                      </a:cubicBezTo>
                      <a:cubicBezTo>
                        <a:pt x="1731" y="1926"/>
                        <a:pt x="1746" y="1912"/>
                        <a:pt x="1754" y="1910"/>
                      </a:cubicBezTo>
                      <a:cubicBezTo>
                        <a:pt x="1762" y="1908"/>
                        <a:pt x="1770" y="1911"/>
                        <a:pt x="1770" y="1911"/>
                      </a:cubicBezTo>
                      <a:cubicBezTo>
                        <a:pt x="1770" y="1911"/>
                        <a:pt x="1775" y="1890"/>
                        <a:pt x="1800" y="1889"/>
                      </a:cubicBezTo>
                      <a:cubicBezTo>
                        <a:pt x="1825" y="1888"/>
                        <a:pt x="1842" y="1895"/>
                        <a:pt x="1842" y="1895"/>
                      </a:cubicBezTo>
                      <a:cubicBezTo>
                        <a:pt x="1858" y="1881"/>
                        <a:pt x="1858" y="1881"/>
                        <a:pt x="1858" y="1881"/>
                      </a:cubicBezTo>
                      <a:cubicBezTo>
                        <a:pt x="1900" y="1883"/>
                        <a:pt x="1900" y="1883"/>
                        <a:pt x="1900" y="1883"/>
                      </a:cubicBezTo>
                      <a:cubicBezTo>
                        <a:pt x="1903" y="1880"/>
                        <a:pt x="1905" y="1878"/>
                        <a:pt x="1906" y="1876"/>
                      </a:cubicBezTo>
                      <a:cubicBezTo>
                        <a:pt x="1908" y="1870"/>
                        <a:pt x="1908" y="1866"/>
                        <a:pt x="1907" y="1862"/>
                      </a:cubicBezTo>
                      <a:cubicBezTo>
                        <a:pt x="1889" y="1866"/>
                        <a:pt x="1883" y="1865"/>
                        <a:pt x="1882" y="1858"/>
                      </a:cubicBezTo>
                      <a:cubicBezTo>
                        <a:pt x="1881" y="1848"/>
                        <a:pt x="1915" y="1826"/>
                        <a:pt x="1928" y="1826"/>
                      </a:cubicBezTo>
                      <a:cubicBezTo>
                        <a:pt x="1941" y="1826"/>
                        <a:pt x="1960" y="1821"/>
                        <a:pt x="1964" y="1821"/>
                      </a:cubicBezTo>
                      <a:cubicBezTo>
                        <a:pt x="1968" y="1821"/>
                        <a:pt x="1985" y="1815"/>
                        <a:pt x="1985" y="1815"/>
                      </a:cubicBezTo>
                      <a:cubicBezTo>
                        <a:pt x="1985" y="1815"/>
                        <a:pt x="2012" y="1825"/>
                        <a:pt x="2016" y="1825"/>
                      </a:cubicBezTo>
                      <a:cubicBezTo>
                        <a:pt x="2020" y="1825"/>
                        <a:pt x="2020" y="1809"/>
                        <a:pt x="2020" y="1809"/>
                      </a:cubicBezTo>
                      <a:cubicBezTo>
                        <a:pt x="2020" y="1809"/>
                        <a:pt x="2027" y="1800"/>
                        <a:pt x="2037" y="1803"/>
                      </a:cubicBezTo>
                      <a:cubicBezTo>
                        <a:pt x="2040" y="1804"/>
                        <a:pt x="2042" y="1805"/>
                        <a:pt x="2043" y="1806"/>
                      </a:cubicBezTo>
                      <a:cubicBezTo>
                        <a:pt x="2045" y="1805"/>
                        <a:pt x="2047" y="1804"/>
                        <a:pt x="2048" y="1804"/>
                      </a:cubicBezTo>
                      <a:cubicBezTo>
                        <a:pt x="2054" y="1804"/>
                        <a:pt x="2056" y="1802"/>
                        <a:pt x="2064" y="1802"/>
                      </a:cubicBezTo>
                      <a:cubicBezTo>
                        <a:pt x="2072" y="1802"/>
                        <a:pt x="2106" y="1764"/>
                        <a:pt x="2123" y="1764"/>
                      </a:cubicBezTo>
                      <a:cubicBezTo>
                        <a:pt x="2140" y="1764"/>
                        <a:pt x="2271" y="1764"/>
                        <a:pt x="2271" y="1764"/>
                      </a:cubicBezTo>
                      <a:cubicBezTo>
                        <a:pt x="2271" y="1764"/>
                        <a:pt x="2271" y="1749"/>
                        <a:pt x="2283" y="1749"/>
                      </a:cubicBezTo>
                      <a:cubicBezTo>
                        <a:pt x="2295" y="1749"/>
                        <a:pt x="2303" y="1748"/>
                        <a:pt x="2303" y="1748"/>
                      </a:cubicBezTo>
                      <a:cubicBezTo>
                        <a:pt x="2303" y="1748"/>
                        <a:pt x="2314" y="1727"/>
                        <a:pt x="2323" y="1727"/>
                      </a:cubicBezTo>
                      <a:cubicBezTo>
                        <a:pt x="2333" y="1727"/>
                        <a:pt x="2340" y="1734"/>
                        <a:pt x="2340" y="1727"/>
                      </a:cubicBezTo>
                      <a:cubicBezTo>
                        <a:pt x="2340" y="1720"/>
                        <a:pt x="2343" y="1698"/>
                        <a:pt x="2349" y="1698"/>
                      </a:cubicBezTo>
                      <a:cubicBezTo>
                        <a:pt x="2355" y="1698"/>
                        <a:pt x="2363" y="1690"/>
                        <a:pt x="2363" y="1690"/>
                      </a:cubicBezTo>
                      <a:cubicBezTo>
                        <a:pt x="2363" y="1676"/>
                        <a:pt x="2363" y="1676"/>
                        <a:pt x="2363" y="1676"/>
                      </a:cubicBezTo>
                      <a:cubicBezTo>
                        <a:pt x="2390" y="1657"/>
                        <a:pt x="2390" y="1657"/>
                        <a:pt x="2390" y="1657"/>
                      </a:cubicBezTo>
                      <a:cubicBezTo>
                        <a:pt x="2390" y="1657"/>
                        <a:pt x="2401" y="1636"/>
                        <a:pt x="2414" y="1636"/>
                      </a:cubicBezTo>
                      <a:cubicBezTo>
                        <a:pt x="2427" y="1636"/>
                        <a:pt x="2418" y="1645"/>
                        <a:pt x="2430" y="1645"/>
                      </a:cubicBezTo>
                      <a:cubicBezTo>
                        <a:pt x="2442" y="1645"/>
                        <a:pt x="2469" y="1634"/>
                        <a:pt x="2469" y="1651"/>
                      </a:cubicBezTo>
                      <a:cubicBezTo>
                        <a:pt x="2469" y="1668"/>
                        <a:pt x="2439" y="1725"/>
                        <a:pt x="2442" y="1728"/>
                      </a:cubicBezTo>
                      <a:cubicBezTo>
                        <a:pt x="2445" y="1731"/>
                        <a:pt x="2453" y="1735"/>
                        <a:pt x="2453" y="1735"/>
                      </a:cubicBezTo>
                      <a:cubicBezTo>
                        <a:pt x="2453" y="1735"/>
                        <a:pt x="2439" y="1748"/>
                        <a:pt x="2444" y="1753"/>
                      </a:cubicBezTo>
                      <a:cubicBezTo>
                        <a:pt x="2449" y="1758"/>
                        <a:pt x="2457" y="1755"/>
                        <a:pt x="2457" y="1755"/>
                      </a:cubicBezTo>
                      <a:cubicBezTo>
                        <a:pt x="2458" y="1759"/>
                        <a:pt x="2458" y="1759"/>
                        <a:pt x="2458" y="1759"/>
                      </a:cubicBezTo>
                      <a:cubicBezTo>
                        <a:pt x="2462" y="1761"/>
                        <a:pt x="2472" y="1765"/>
                        <a:pt x="2484" y="1760"/>
                      </a:cubicBezTo>
                      <a:cubicBezTo>
                        <a:pt x="2499" y="1754"/>
                        <a:pt x="2511" y="1738"/>
                        <a:pt x="2511" y="1738"/>
                      </a:cubicBezTo>
                      <a:cubicBezTo>
                        <a:pt x="2517" y="1752"/>
                        <a:pt x="2517" y="1752"/>
                        <a:pt x="2517" y="1752"/>
                      </a:cubicBezTo>
                      <a:cubicBezTo>
                        <a:pt x="2517" y="1752"/>
                        <a:pt x="2549" y="1738"/>
                        <a:pt x="2554" y="1734"/>
                      </a:cubicBezTo>
                      <a:cubicBezTo>
                        <a:pt x="2559" y="1730"/>
                        <a:pt x="2580" y="1724"/>
                        <a:pt x="2580" y="1724"/>
                      </a:cubicBezTo>
                      <a:cubicBezTo>
                        <a:pt x="2590" y="1725"/>
                        <a:pt x="2590" y="1725"/>
                        <a:pt x="2590" y="1725"/>
                      </a:cubicBezTo>
                      <a:cubicBezTo>
                        <a:pt x="2561" y="1748"/>
                        <a:pt x="2561" y="1748"/>
                        <a:pt x="2561" y="1748"/>
                      </a:cubicBezTo>
                      <a:cubicBezTo>
                        <a:pt x="2622" y="1742"/>
                        <a:pt x="2622" y="1742"/>
                        <a:pt x="2622" y="1742"/>
                      </a:cubicBezTo>
                      <a:cubicBezTo>
                        <a:pt x="2622" y="1742"/>
                        <a:pt x="2593" y="1745"/>
                        <a:pt x="2592" y="1751"/>
                      </a:cubicBezTo>
                      <a:cubicBezTo>
                        <a:pt x="2591" y="1757"/>
                        <a:pt x="2587" y="1764"/>
                        <a:pt x="2587" y="1764"/>
                      </a:cubicBezTo>
                      <a:cubicBezTo>
                        <a:pt x="2587" y="1764"/>
                        <a:pt x="2568" y="1753"/>
                        <a:pt x="2561" y="1756"/>
                      </a:cubicBezTo>
                      <a:cubicBezTo>
                        <a:pt x="2554" y="1759"/>
                        <a:pt x="2486" y="1793"/>
                        <a:pt x="2483" y="1801"/>
                      </a:cubicBezTo>
                      <a:cubicBezTo>
                        <a:pt x="2480" y="1809"/>
                        <a:pt x="2474" y="1833"/>
                        <a:pt x="2479" y="1834"/>
                      </a:cubicBezTo>
                      <a:cubicBezTo>
                        <a:pt x="2484" y="1835"/>
                        <a:pt x="2491" y="1829"/>
                        <a:pt x="2491" y="1829"/>
                      </a:cubicBezTo>
                      <a:cubicBezTo>
                        <a:pt x="2491" y="1829"/>
                        <a:pt x="2489" y="1845"/>
                        <a:pt x="2498" y="1843"/>
                      </a:cubicBezTo>
                      <a:cubicBezTo>
                        <a:pt x="2507" y="1841"/>
                        <a:pt x="2513" y="1828"/>
                        <a:pt x="2513" y="1828"/>
                      </a:cubicBezTo>
                      <a:cubicBezTo>
                        <a:pt x="2513" y="1828"/>
                        <a:pt x="2539" y="1825"/>
                        <a:pt x="2553" y="1813"/>
                      </a:cubicBezTo>
                      <a:cubicBezTo>
                        <a:pt x="2567" y="1801"/>
                        <a:pt x="2582" y="1780"/>
                        <a:pt x="2582" y="1780"/>
                      </a:cubicBezTo>
                      <a:cubicBezTo>
                        <a:pt x="2582" y="1780"/>
                        <a:pt x="2582" y="1796"/>
                        <a:pt x="2596" y="1793"/>
                      </a:cubicBezTo>
                      <a:cubicBezTo>
                        <a:pt x="2610" y="1790"/>
                        <a:pt x="2644" y="1775"/>
                        <a:pt x="2655" y="1772"/>
                      </a:cubicBezTo>
                      <a:cubicBezTo>
                        <a:pt x="2666" y="1769"/>
                        <a:pt x="2718" y="1756"/>
                        <a:pt x="2718" y="1756"/>
                      </a:cubicBezTo>
                      <a:cubicBezTo>
                        <a:pt x="2709" y="1746"/>
                        <a:pt x="2709" y="1746"/>
                        <a:pt x="2709" y="1746"/>
                      </a:cubicBezTo>
                      <a:cubicBezTo>
                        <a:pt x="2713" y="1733"/>
                        <a:pt x="2713" y="1733"/>
                        <a:pt x="2713" y="1733"/>
                      </a:cubicBezTo>
                      <a:cubicBezTo>
                        <a:pt x="2692" y="1737"/>
                        <a:pt x="2692" y="1737"/>
                        <a:pt x="2692" y="1737"/>
                      </a:cubicBezTo>
                      <a:cubicBezTo>
                        <a:pt x="2691" y="1721"/>
                        <a:pt x="2691" y="1721"/>
                        <a:pt x="2691" y="1721"/>
                      </a:cubicBezTo>
                      <a:cubicBezTo>
                        <a:pt x="2691" y="1721"/>
                        <a:pt x="2667" y="1735"/>
                        <a:pt x="2661" y="1734"/>
                      </a:cubicBezTo>
                      <a:cubicBezTo>
                        <a:pt x="2655" y="1733"/>
                        <a:pt x="2657" y="1724"/>
                        <a:pt x="2657" y="1724"/>
                      </a:cubicBezTo>
                      <a:cubicBezTo>
                        <a:pt x="2657" y="1724"/>
                        <a:pt x="2625" y="1727"/>
                        <a:pt x="2619" y="1722"/>
                      </a:cubicBezTo>
                      <a:cubicBezTo>
                        <a:pt x="2613" y="1717"/>
                        <a:pt x="2605" y="1707"/>
                        <a:pt x="2614" y="1707"/>
                      </a:cubicBezTo>
                      <a:cubicBezTo>
                        <a:pt x="2623" y="1707"/>
                        <a:pt x="2610" y="1694"/>
                        <a:pt x="2599" y="1697"/>
                      </a:cubicBezTo>
                      <a:cubicBezTo>
                        <a:pt x="2588" y="1700"/>
                        <a:pt x="2584" y="1681"/>
                        <a:pt x="2584" y="1676"/>
                      </a:cubicBezTo>
                      <a:cubicBezTo>
                        <a:pt x="2584" y="1671"/>
                        <a:pt x="2596" y="1658"/>
                        <a:pt x="2596" y="1658"/>
                      </a:cubicBezTo>
                      <a:cubicBezTo>
                        <a:pt x="2580" y="1657"/>
                        <a:pt x="2580" y="1657"/>
                        <a:pt x="2580" y="1657"/>
                      </a:cubicBezTo>
                      <a:cubicBezTo>
                        <a:pt x="2580" y="1657"/>
                        <a:pt x="2599" y="1642"/>
                        <a:pt x="2606" y="1634"/>
                      </a:cubicBezTo>
                      <a:cubicBezTo>
                        <a:pt x="2613" y="1626"/>
                        <a:pt x="2632" y="1607"/>
                        <a:pt x="2632" y="1607"/>
                      </a:cubicBezTo>
                      <a:cubicBezTo>
                        <a:pt x="2622" y="1604"/>
                        <a:pt x="2622" y="1604"/>
                        <a:pt x="2622" y="1604"/>
                      </a:cubicBezTo>
                      <a:cubicBezTo>
                        <a:pt x="2608" y="1622"/>
                        <a:pt x="2608" y="1622"/>
                        <a:pt x="2608" y="1622"/>
                      </a:cubicBezTo>
                      <a:cubicBezTo>
                        <a:pt x="2593" y="1614"/>
                        <a:pt x="2593" y="1614"/>
                        <a:pt x="2593" y="1614"/>
                      </a:cubicBezTo>
                      <a:cubicBezTo>
                        <a:pt x="2574" y="1628"/>
                        <a:pt x="2574" y="1628"/>
                        <a:pt x="2574" y="1628"/>
                      </a:cubicBezTo>
                      <a:cubicBezTo>
                        <a:pt x="2571" y="1615"/>
                        <a:pt x="2571" y="1615"/>
                        <a:pt x="2571" y="1615"/>
                      </a:cubicBezTo>
                      <a:cubicBezTo>
                        <a:pt x="2552" y="1608"/>
                        <a:pt x="2552" y="1608"/>
                        <a:pt x="2552" y="1608"/>
                      </a:cubicBezTo>
                      <a:cubicBezTo>
                        <a:pt x="2537" y="1610"/>
                        <a:pt x="2537" y="1610"/>
                        <a:pt x="2537" y="1610"/>
                      </a:cubicBezTo>
                      <a:cubicBezTo>
                        <a:pt x="2574" y="1597"/>
                        <a:pt x="2574" y="1597"/>
                        <a:pt x="2574" y="1597"/>
                      </a:cubicBezTo>
                      <a:cubicBezTo>
                        <a:pt x="2574" y="1597"/>
                        <a:pt x="2581" y="1607"/>
                        <a:pt x="2591" y="1606"/>
                      </a:cubicBezTo>
                      <a:cubicBezTo>
                        <a:pt x="2601" y="1605"/>
                        <a:pt x="2624" y="1587"/>
                        <a:pt x="2624" y="1587"/>
                      </a:cubicBezTo>
                      <a:cubicBezTo>
                        <a:pt x="2624" y="1587"/>
                        <a:pt x="2650" y="1592"/>
                        <a:pt x="2651" y="1585"/>
                      </a:cubicBezTo>
                      <a:cubicBezTo>
                        <a:pt x="2652" y="1578"/>
                        <a:pt x="2644" y="1567"/>
                        <a:pt x="2644" y="1567"/>
                      </a:cubicBezTo>
                      <a:cubicBezTo>
                        <a:pt x="2660" y="1566"/>
                        <a:pt x="2660" y="1566"/>
                        <a:pt x="2660" y="1566"/>
                      </a:cubicBezTo>
                      <a:cubicBezTo>
                        <a:pt x="2660" y="1566"/>
                        <a:pt x="2651" y="1543"/>
                        <a:pt x="2609" y="1543"/>
                      </a:cubicBezTo>
                      <a:cubicBezTo>
                        <a:pt x="2567" y="1543"/>
                        <a:pt x="2517" y="1564"/>
                        <a:pt x="2494" y="1569"/>
                      </a:cubicBezTo>
                      <a:cubicBezTo>
                        <a:pt x="2471" y="1574"/>
                        <a:pt x="2434" y="1597"/>
                        <a:pt x="2427" y="1603"/>
                      </a:cubicBezTo>
                      <a:cubicBezTo>
                        <a:pt x="2420" y="1609"/>
                        <a:pt x="2378" y="1642"/>
                        <a:pt x="2368" y="1650"/>
                      </a:cubicBezTo>
                      <a:cubicBezTo>
                        <a:pt x="2358" y="1658"/>
                        <a:pt x="2322" y="1663"/>
                        <a:pt x="2322" y="1663"/>
                      </a:cubicBezTo>
                      <a:cubicBezTo>
                        <a:pt x="2322" y="1663"/>
                        <a:pt x="2372" y="1635"/>
                        <a:pt x="2381" y="1626"/>
                      </a:cubicBezTo>
                      <a:cubicBezTo>
                        <a:pt x="2390" y="1617"/>
                        <a:pt x="2403" y="1603"/>
                        <a:pt x="2403" y="1603"/>
                      </a:cubicBezTo>
                      <a:cubicBezTo>
                        <a:pt x="2388" y="1594"/>
                        <a:pt x="2388" y="1594"/>
                        <a:pt x="2388" y="1594"/>
                      </a:cubicBezTo>
                      <a:cubicBezTo>
                        <a:pt x="2388" y="1594"/>
                        <a:pt x="2409" y="1602"/>
                        <a:pt x="2414" y="1597"/>
                      </a:cubicBezTo>
                      <a:cubicBezTo>
                        <a:pt x="2419" y="1592"/>
                        <a:pt x="2469" y="1559"/>
                        <a:pt x="2481" y="1550"/>
                      </a:cubicBezTo>
                      <a:cubicBezTo>
                        <a:pt x="2493" y="1541"/>
                        <a:pt x="2531" y="1535"/>
                        <a:pt x="2535" y="1537"/>
                      </a:cubicBezTo>
                      <a:cubicBezTo>
                        <a:pt x="2539" y="1539"/>
                        <a:pt x="2561" y="1501"/>
                        <a:pt x="2591" y="1496"/>
                      </a:cubicBezTo>
                      <a:cubicBezTo>
                        <a:pt x="2621" y="1491"/>
                        <a:pt x="2697" y="1487"/>
                        <a:pt x="2713" y="1487"/>
                      </a:cubicBezTo>
                      <a:cubicBezTo>
                        <a:pt x="2729" y="1487"/>
                        <a:pt x="2788" y="1504"/>
                        <a:pt x="2798" y="1502"/>
                      </a:cubicBezTo>
                      <a:cubicBezTo>
                        <a:pt x="2808" y="1500"/>
                        <a:pt x="2829" y="1489"/>
                        <a:pt x="2839" y="1488"/>
                      </a:cubicBezTo>
                      <a:cubicBezTo>
                        <a:pt x="2849" y="1487"/>
                        <a:pt x="2880" y="1482"/>
                        <a:pt x="2892" y="1473"/>
                      </a:cubicBezTo>
                      <a:cubicBezTo>
                        <a:pt x="2904" y="1464"/>
                        <a:pt x="2930" y="1439"/>
                        <a:pt x="2940" y="1437"/>
                      </a:cubicBezTo>
                      <a:cubicBezTo>
                        <a:pt x="2950" y="1435"/>
                        <a:pt x="2967" y="1436"/>
                        <a:pt x="2967" y="1436"/>
                      </a:cubicBezTo>
                      <a:cubicBezTo>
                        <a:pt x="2967" y="1436"/>
                        <a:pt x="2980" y="1424"/>
                        <a:pt x="2990" y="1424"/>
                      </a:cubicBezTo>
                      <a:cubicBezTo>
                        <a:pt x="3000" y="1424"/>
                        <a:pt x="3001" y="1429"/>
                        <a:pt x="3018" y="1421"/>
                      </a:cubicBezTo>
                      <a:cubicBezTo>
                        <a:pt x="3018" y="1421"/>
                        <a:pt x="3083" y="1404"/>
                        <a:pt x="3077" y="1394"/>
                      </a:cubicBezTo>
                      <a:cubicBezTo>
                        <a:pt x="3071" y="1384"/>
                        <a:pt x="3052" y="1371"/>
                        <a:pt x="3052" y="1371"/>
                      </a:cubicBezTo>
                      <a:cubicBezTo>
                        <a:pt x="3052" y="1371"/>
                        <a:pt x="3076" y="1373"/>
                        <a:pt x="3076" y="1364"/>
                      </a:cubicBezTo>
                      <a:cubicBezTo>
                        <a:pt x="3076" y="1355"/>
                        <a:pt x="3072" y="1343"/>
                        <a:pt x="3072" y="1343"/>
                      </a:cubicBezTo>
                      <a:cubicBezTo>
                        <a:pt x="3072" y="1343"/>
                        <a:pt x="3100" y="1347"/>
                        <a:pt x="3094" y="1331"/>
                      </a:cubicBezTo>
                      <a:cubicBezTo>
                        <a:pt x="3088" y="1315"/>
                        <a:pt x="3065" y="1304"/>
                        <a:pt x="3058" y="1312"/>
                      </a:cubicBezTo>
                      <a:close/>
                      <a:moveTo>
                        <a:pt x="969" y="735"/>
                      </a:moveTo>
                      <a:cubicBezTo>
                        <a:pt x="976" y="730"/>
                        <a:pt x="1004" y="720"/>
                        <a:pt x="1004" y="720"/>
                      </a:cubicBezTo>
                      <a:cubicBezTo>
                        <a:pt x="1004" y="720"/>
                        <a:pt x="999" y="712"/>
                        <a:pt x="1005" y="709"/>
                      </a:cubicBezTo>
                      <a:cubicBezTo>
                        <a:pt x="1011" y="706"/>
                        <a:pt x="1029" y="715"/>
                        <a:pt x="1051" y="709"/>
                      </a:cubicBezTo>
                      <a:cubicBezTo>
                        <a:pt x="1073" y="703"/>
                        <a:pt x="1053" y="691"/>
                        <a:pt x="1034" y="691"/>
                      </a:cubicBezTo>
                      <a:cubicBezTo>
                        <a:pt x="1015" y="691"/>
                        <a:pt x="1010" y="698"/>
                        <a:pt x="999" y="703"/>
                      </a:cubicBezTo>
                      <a:cubicBezTo>
                        <a:pt x="988" y="708"/>
                        <a:pt x="989" y="698"/>
                        <a:pt x="989" y="698"/>
                      </a:cubicBezTo>
                      <a:cubicBezTo>
                        <a:pt x="977" y="703"/>
                        <a:pt x="977" y="703"/>
                        <a:pt x="977" y="703"/>
                      </a:cubicBezTo>
                      <a:cubicBezTo>
                        <a:pt x="954" y="700"/>
                        <a:pt x="954" y="700"/>
                        <a:pt x="954" y="700"/>
                      </a:cubicBezTo>
                      <a:cubicBezTo>
                        <a:pt x="954" y="700"/>
                        <a:pt x="933" y="710"/>
                        <a:pt x="924" y="707"/>
                      </a:cubicBezTo>
                      <a:cubicBezTo>
                        <a:pt x="915" y="704"/>
                        <a:pt x="950" y="694"/>
                        <a:pt x="960" y="689"/>
                      </a:cubicBezTo>
                      <a:cubicBezTo>
                        <a:pt x="970" y="684"/>
                        <a:pt x="979" y="690"/>
                        <a:pt x="992" y="690"/>
                      </a:cubicBezTo>
                      <a:cubicBezTo>
                        <a:pt x="1005" y="690"/>
                        <a:pt x="1001" y="681"/>
                        <a:pt x="1001" y="681"/>
                      </a:cubicBezTo>
                      <a:cubicBezTo>
                        <a:pt x="1071" y="676"/>
                        <a:pt x="1071" y="676"/>
                        <a:pt x="1071" y="676"/>
                      </a:cubicBezTo>
                      <a:cubicBezTo>
                        <a:pt x="1071" y="676"/>
                        <a:pt x="1106" y="666"/>
                        <a:pt x="1119" y="664"/>
                      </a:cubicBezTo>
                      <a:cubicBezTo>
                        <a:pt x="1132" y="662"/>
                        <a:pt x="1140" y="669"/>
                        <a:pt x="1140" y="669"/>
                      </a:cubicBezTo>
                      <a:cubicBezTo>
                        <a:pt x="1140" y="669"/>
                        <a:pt x="1143" y="663"/>
                        <a:pt x="1150" y="660"/>
                      </a:cubicBezTo>
                      <a:cubicBezTo>
                        <a:pt x="1157" y="657"/>
                        <a:pt x="1179" y="667"/>
                        <a:pt x="1179" y="667"/>
                      </a:cubicBezTo>
                      <a:cubicBezTo>
                        <a:pt x="1179" y="667"/>
                        <a:pt x="1157" y="673"/>
                        <a:pt x="1149" y="677"/>
                      </a:cubicBezTo>
                      <a:cubicBezTo>
                        <a:pt x="1141" y="681"/>
                        <a:pt x="1107" y="683"/>
                        <a:pt x="1107" y="683"/>
                      </a:cubicBezTo>
                      <a:cubicBezTo>
                        <a:pt x="1105" y="691"/>
                        <a:pt x="1105" y="691"/>
                        <a:pt x="1105" y="691"/>
                      </a:cubicBezTo>
                      <a:cubicBezTo>
                        <a:pt x="1123" y="691"/>
                        <a:pt x="1123" y="691"/>
                        <a:pt x="1123" y="691"/>
                      </a:cubicBezTo>
                      <a:cubicBezTo>
                        <a:pt x="1123" y="691"/>
                        <a:pt x="1134" y="694"/>
                        <a:pt x="1138" y="694"/>
                      </a:cubicBezTo>
                      <a:cubicBezTo>
                        <a:pt x="1142" y="694"/>
                        <a:pt x="1168" y="691"/>
                        <a:pt x="1182" y="690"/>
                      </a:cubicBezTo>
                      <a:cubicBezTo>
                        <a:pt x="1196" y="689"/>
                        <a:pt x="1176" y="680"/>
                        <a:pt x="1176" y="680"/>
                      </a:cubicBezTo>
                      <a:cubicBezTo>
                        <a:pt x="1213" y="679"/>
                        <a:pt x="1213" y="679"/>
                        <a:pt x="1213" y="679"/>
                      </a:cubicBezTo>
                      <a:cubicBezTo>
                        <a:pt x="1213" y="679"/>
                        <a:pt x="1208" y="692"/>
                        <a:pt x="1189" y="698"/>
                      </a:cubicBezTo>
                      <a:cubicBezTo>
                        <a:pt x="1170" y="704"/>
                        <a:pt x="1158" y="711"/>
                        <a:pt x="1158" y="711"/>
                      </a:cubicBezTo>
                      <a:cubicBezTo>
                        <a:pt x="1158" y="711"/>
                        <a:pt x="1157" y="723"/>
                        <a:pt x="1149" y="725"/>
                      </a:cubicBezTo>
                      <a:cubicBezTo>
                        <a:pt x="1141" y="727"/>
                        <a:pt x="1119" y="716"/>
                        <a:pt x="1119" y="716"/>
                      </a:cubicBezTo>
                      <a:cubicBezTo>
                        <a:pt x="1114" y="723"/>
                        <a:pt x="1114" y="723"/>
                        <a:pt x="1114" y="723"/>
                      </a:cubicBezTo>
                      <a:cubicBezTo>
                        <a:pt x="1104" y="714"/>
                        <a:pt x="1104" y="714"/>
                        <a:pt x="1104" y="714"/>
                      </a:cubicBezTo>
                      <a:cubicBezTo>
                        <a:pt x="1094" y="724"/>
                        <a:pt x="1094" y="724"/>
                        <a:pt x="1094" y="724"/>
                      </a:cubicBezTo>
                      <a:cubicBezTo>
                        <a:pt x="1094" y="724"/>
                        <a:pt x="1086" y="718"/>
                        <a:pt x="1080" y="725"/>
                      </a:cubicBezTo>
                      <a:cubicBezTo>
                        <a:pt x="1074" y="732"/>
                        <a:pt x="1086" y="738"/>
                        <a:pt x="1086" y="738"/>
                      </a:cubicBezTo>
                      <a:cubicBezTo>
                        <a:pt x="1065" y="741"/>
                        <a:pt x="1065" y="741"/>
                        <a:pt x="1065" y="741"/>
                      </a:cubicBezTo>
                      <a:cubicBezTo>
                        <a:pt x="1065" y="741"/>
                        <a:pt x="1050" y="751"/>
                        <a:pt x="1047" y="751"/>
                      </a:cubicBezTo>
                      <a:cubicBezTo>
                        <a:pt x="1044" y="751"/>
                        <a:pt x="1001" y="764"/>
                        <a:pt x="990" y="760"/>
                      </a:cubicBezTo>
                      <a:cubicBezTo>
                        <a:pt x="979" y="756"/>
                        <a:pt x="1018" y="749"/>
                        <a:pt x="1033" y="746"/>
                      </a:cubicBezTo>
                      <a:cubicBezTo>
                        <a:pt x="1048" y="743"/>
                        <a:pt x="1070" y="726"/>
                        <a:pt x="1057" y="724"/>
                      </a:cubicBezTo>
                      <a:cubicBezTo>
                        <a:pt x="1044" y="722"/>
                        <a:pt x="992" y="751"/>
                        <a:pt x="979" y="753"/>
                      </a:cubicBezTo>
                      <a:cubicBezTo>
                        <a:pt x="966" y="755"/>
                        <a:pt x="940" y="751"/>
                        <a:pt x="931" y="746"/>
                      </a:cubicBezTo>
                      <a:cubicBezTo>
                        <a:pt x="922" y="741"/>
                        <a:pt x="962" y="740"/>
                        <a:pt x="969" y="735"/>
                      </a:cubicBezTo>
                      <a:close/>
                      <a:moveTo>
                        <a:pt x="1324" y="872"/>
                      </a:moveTo>
                      <a:cubicBezTo>
                        <a:pt x="1324" y="869"/>
                        <a:pt x="1312" y="855"/>
                        <a:pt x="1308" y="862"/>
                      </a:cubicBezTo>
                      <a:cubicBezTo>
                        <a:pt x="1304" y="869"/>
                        <a:pt x="1305" y="876"/>
                        <a:pt x="1305" y="876"/>
                      </a:cubicBezTo>
                      <a:cubicBezTo>
                        <a:pt x="1305" y="876"/>
                        <a:pt x="1291" y="868"/>
                        <a:pt x="1285" y="870"/>
                      </a:cubicBezTo>
                      <a:cubicBezTo>
                        <a:pt x="1279" y="872"/>
                        <a:pt x="1283" y="879"/>
                        <a:pt x="1283" y="879"/>
                      </a:cubicBezTo>
                      <a:cubicBezTo>
                        <a:pt x="1266" y="881"/>
                        <a:pt x="1266" y="881"/>
                        <a:pt x="1266" y="881"/>
                      </a:cubicBezTo>
                      <a:cubicBezTo>
                        <a:pt x="1266" y="881"/>
                        <a:pt x="1254" y="877"/>
                        <a:pt x="1239" y="887"/>
                      </a:cubicBezTo>
                      <a:cubicBezTo>
                        <a:pt x="1224" y="897"/>
                        <a:pt x="1195" y="916"/>
                        <a:pt x="1181" y="919"/>
                      </a:cubicBezTo>
                      <a:cubicBezTo>
                        <a:pt x="1167" y="922"/>
                        <a:pt x="1147" y="928"/>
                        <a:pt x="1147" y="928"/>
                      </a:cubicBezTo>
                      <a:cubicBezTo>
                        <a:pt x="1147" y="928"/>
                        <a:pt x="1116" y="920"/>
                        <a:pt x="1108" y="928"/>
                      </a:cubicBezTo>
                      <a:cubicBezTo>
                        <a:pt x="1100" y="936"/>
                        <a:pt x="1094" y="947"/>
                        <a:pt x="1094" y="947"/>
                      </a:cubicBezTo>
                      <a:cubicBezTo>
                        <a:pt x="1065" y="947"/>
                        <a:pt x="1065" y="947"/>
                        <a:pt x="1065" y="947"/>
                      </a:cubicBezTo>
                      <a:cubicBezTo>
                        <a:pt x="1059" y="953"/>
                        <a:pt x="1059" y="953"/>
                        <a:pt x="1059" y="953"/>
                      </a:cubicBezTo>
                      <a:cubicBezTo>
                        <a:pt x="1059" y="953"/>
                        <a:pt x="1045" y="950"/>
                        <a:pt x="1038" y="952"/>
                      </a:cubicBezTo>
                      <a:cubicBezTo>
                        <a:pt x="1031" y="954"/>
                        <a:pt x="1012" y="957"/>
                        <a:pt x="1005" y="956"/>
                      </a:cubicBezTo>
                      <a:cubicBezTo>
                        <a:pt x="998" y="955"/>
                        <a:pt x="987" y="947"/>
                        <a:pt x="984" y="948"/>
                      </a:cubicBezTo>
                      <a:cubicBezTo>
                        <a:pt x="981" y="949"/>
                        <a:pt x="963" y="946"/>
                        <a:pt x="963" y="942"/>
                      </a:cubicBezTo>
                      <a:cubicBezTo>
                        <a:pt x="963" y="938"/>
                        <a:pt x="985" y="939"/>
                        <a:pt x="985" y="939"/>
                      </a:cubicBezTo>
                      <a:cubicBezTo>
                        <a:pt x="985" y="939"/>
                        <a:pt x="994" y="929"/>
                        <a:pt x="997" y="929"/>
                      </a:cubicBezTo>
                      <a:cubicBezTo>
                        <a:pt x="1000" y="929"/>
                        <a:pt x="1008" y="937"/>
                        <a:pt x="1018" y="937"/>
                      </a:cubicBezTo>
                      <a:cubicBezTo>
                        <a:pt x="1028" y="937"/>
                        <a:pt x="1028" y="929"/>
                        <a:pt x="1028" y="929"/>
                      </a:cubicBezTo>
                      <a:cubicBezTo>
                        <a:pt x="1039" y="929"/>
                        <a:pt x="1039" y="929"/>
                        <a:pt x="1039" y="929"/>
                      </a:cubicBezTo>
                      <a:cubicBezTo>
                        <a:pt x="1039" y="929"/>
                        <a:pt x="1049" y="911"/>
                        <a:pt x="1059" y="910"/>
                      </a:cubicBezTo>
                      <a:cubicBezTo>
                        <a:pt x="1069" y="909"/>
                        <a:pt x="1072" y="918"/>
                        <a:pt x="1090" y="911"/>
                      </a:cubicBezTo>
                      <a:cubicBezTo>
                        <a:pt x="1108" y="904"/>
                        <a:pt x="1093" y="882"/>
                        <a:pt x="1093" y="882"/>
                      </a:cubicBezTo>
                      <a:cubicBezTo>
                        <a:pt x="1093" y="882"/>
                        <a:pt x="1071" y="868"/>
                        <a:pt x="1085" y="862"/>
                      </a:cubicBezTo>
                      <a:cubicBezTo>
                        <a:pt x="1091" y="859"/>
                        <a:pt x="1099" y="872"/>
                        <a:pt x="1099" y="872"/>
                      </a:cubicBezTo>
                      <a:cubicBezTo>
                        <a:pt x="1107" y="871"/>
                        <a:pt x="1107" y="871"/>
                        <a:pt x="1107" y="871"/>
                      </a:cubicBezTo>
                      <a:cubicBezTo>
                        <a:pt x="1119" y="882"/>
                        <a:pt x="1119" y="882"/>
                        <a:pt x="1119" y="882"/>
                      </a:cubicBezTo>
                      <a:cubicBezTo>
                        <a:pt x="1119" y="882"/>
                        <a:pt x="1133" y="881"/>
                        <a:pt x="1137" y="884"/>
                      </a:cubicBezTo>
                      <a:cubicBezTo>
                        <a:pt x="1141" y="887"/>
                        <a:pt x="1130" y="902"/>
                        <a:pt x="1153" y="901"/>
                      </a:cubicBezTo>
                      <a:cubicBezTo>
                        <a:pt x="1176" y="900"/>
                        <a:pt x="1176" y="895"/>
                        <a:pt x="1176" y="895"/>
                      </a:cubicBezTo>
                      <a:cubicBezTo>
                        <a:pt x="1187" y="896"/>
                        <a:pt x="1187" y="896"/>
                        <a:pt x="1187" y="896"/>
                      </a:cubicBezTo>
                      <a:cubicBezTo>
                        <a:pt x="1187" y="896"/>
                        <a:pt x="1227" y="880"/>
                        <a:pt x="1241" y="871"/>
                      </a:cubicBezTo>
                      <a:cubicBezTo>
                        <a:pt x="1255" y="862"/>
                        <a:pt x="1277" y="855"/>
                        <a:pt x="1295" y="854"/>
                      </a:cubicBezTo>
                      <a:cubicBezTo>
                        <a:pt x="1313" y="853"/>
                        <a:pt x="1351" y="857"/>
                        <a:pt x="1348" y="861"/>
                      </a:cubicBezTo>
                      <a:cubicBezTo>
                        <a:pt x="1345" y="865"/>
                        <a:pt x="1324" y="875"/>
                        <a:pt x="1324" y="872"/>
                      </a:cubicBezTo>
                      <a:close/>
                      <a:moveTo>
                        <a:pt x="1405" y="1355"/>
                      </a:moveTo>
                      <a:cubicBezTo>
                        <a:pt x="1405" y="1355"/>
                        <a:pt x="1402" y="1384"/>
                        <a:pt x="1403" y="1393"/>
                      </a:cubicBezTo>
                      <a:cubicBezTo>
                        <a:pt x="1404" y="1402"/>
                        <a:pt x="1399" y="1411"/>
                        <a:pt x="1396" y="1416"/>
                      </a:cubicBezTo>
                      <a:cubicBezTo>
                        <a:pt x="1393" y="1421"/>
                        <a:pt x="1400" y="1422"/>
                        <a:pt x="1403" y="1433"/>
                      </a:cubicBezTo>
                      <a:cubicBezTo>
                        <a:pt x="1406" y="1444"/>
                        <a:pt x="1382" y="1471"/>
                        <a:pt x="1382" y="1471"/>
                      </a:cubicBezTo>
                      <a:cubicBezTo>
                        <a:pt x="1368" y="1466"/>
                        <a:pt x="1368" y="1466"/>
                        <a:pt x="1368" y="1466"/>
                      </a:cubicBezTo>
                      <a:cubicBezTo>
                        <a:pt x="1368" y="1466"/>
                        <a:pt x="1365" y="1485"/>
                        <a:pt x="1348" y="1482"/>
                      </a:cubicBezTo>
                      <a:cubicBezTo>
                        <a:pt x="1331" y="1479"/>
                        <a:pt x="1387" y="1431"/>
                        <a:pt x="1387" y="1419"/>
                      </a:cubicBezTo>
                      <a:cubicBezTo>
                        <a:pt x="1387" y="1407"/>
                        <a:pt x="1366" y="1427"/>
                        <a:pt x="1366" y="1427"/>
                      </a:cubicBezTo>
                      <a:cubicBezTo>
                        <a:pt x="1379" y="1406"/>
                        <a:pt x="1379" y="1406"/>
                        <a:pt x="1379" y="1406"/>
                      </a:cubicBezTo>
                      <a:cubicBezTo>
                        <a:pt x="1379" y="1406"/>
                        <a:pt x="1383" y="1393"/>
                        <a:pt x="1372" y="1390"/>
                      </a:cubicBezTo>
                      <a:cubicBezTo>
                        <a:pt x="1361" y="1387"/>
                        <a:pt x="1367" y="1407"/>
                        <a:pt x="1354" y="1407"/>
                      </a:cubicBezTo>
                      <a:cubicBezTo>
                        <a:pt x="1341" y="1407"/>
                        <a:pt x="1351" y="1376"/>
                        <a:pt x="1351" y="1376"/>
                      </a:cubicBezTo>
                      <a:cubicBezTo>
                        <a:pt x="1351" y="1376"/>
                        <a:pt x="1345" y="1370"/>
                        <a:pt x="1343" y="1361"/>
                      </a:cubicBezTo>
                      <a:cubicBezTo>
                        <a:pt x="1341" y="1352"/>
                        <a:pt x="1365" y="1352"/>
                        <a:pt x="1367" y="1346"/>
                      </a:cubicBezTo>
                      <a:cubicBezTo>
                        <a:pt x="1369" y="1340"/>
                        <a:pt x="1347" y="1349"/>
                        <a:pt x="1343" y="1340"/>
                      </a:cubicBezTo>
                      <a:cubicBezTo>
                        <a:pt x="1342" y="1338"/>
                        <a:pt x="1372" y="1307"/>
                        <a:pt x="1382" y="1303"/>
                      </a:cubicBezTo>
                      <a:cubicBezTo>
                        <a:pt x="1392" y="1299"/>
                        <a:pt x="1391" y="1306"/>
                        <a:pt x="1395" y="1307"/>
                      </a:cubicBezTo>
                      <a:cubicBezTo>
                        <a:pt x="1399" y="1308"/>
                        <a:pt x="1410" y="1305"/>
                        <a:pt x="1418" y="1322"/>
                      </a:cubicBezTo>
                      <a:cubicBezTo>
                        <a:pt x="1426" y="1339"/>
                        <a:pt x="1405" y="1355"/>
                        <a:pt x="1405" y="1355"/>
                      </a:cubicBezTo>
                      <a:close/>
                      <a:moveTo>
                        <a:pt x="156" y="1459"/>
                      </a:moveTo>
                      <a:cubicBezTo>
                        <a:pt x="146" y="1456"/>
                        <a:pt x="147" y="1473"/>
                        <a:pt x="147" y="1473"/>
                      </a:cubicBezTo>
                      <a:cubicBezTo>
                        <a:pt x="155" y="1473"/>
                        <a:pt x="166" y="1462"/>
                        <a:pt x="156" y="1459"/>
                      </a:cubicBezTo>
                      <a:close/>
                      <a:moveTo>
                        <a:pt x="2216" y="1197"/>
                      </a:moveTo>
                      <a:cubicBezTo>
                        <a:pt x="2248" y="1196"/>
                        <a:pt x="2259" y="1170"/>
                        <a:pt x="2228" y="1170"/>
                      </a:cubicBezTo>
                      <a:cubicBezTo>
                        <a:pt x="2196" y="1171"/>
                        <a:pt x="2216" y="1197"/>
                        <a:pt x="2216" y="1197"/>
                      </a:cubicBezTo>
                      <a:close/>
                      <a:moveTo>
                        <a:pt x="2456" y="825"/>
                      </a:moveTo>
                      <a:cubicBezTo>
                        <a:pt x="2456" y="825"/>
                        <a:pt x="2433" y="822"/>
                        <a:pt x="2423" y="814"/>
                      </a:cubicBezTo>
                      <a:cubicBezTo>
                        <a:pt x="2413" y="806"/>
                        <a:pt x="2418" y="785"/>
                        <a:pt x="2418" y="785"/>
                      </a:cubicBezTo>
                      <a:cubicBezTo>
                        <a:pt x="2397" y="769"/>
                        <a:pt x="2397" y="769"/>
                        <a:pt x="2397" y="769"/>
                      </a:cubicBezTo>
                      <a:cubicBezTo>
                        <a:pt x="2370" y="772"/>
                        <a:pt x="2370" y="772"/>
                        <a:pt x="2370" y="772"/>
                      </a:cubicBezTo>
                      <a:cubicBezTo>
                        <a:pt x="2366" y="763"/>
                        <a:pt x="2366" y="763"/>
                        <a:pt x="2366" y="763"/>
                      </a:cubicBezTo>
                      <a:cubicBezTo>
                        <a:pt x="2353" y="741"/>
                        <a:pt x="2353" y="741"/>
                        <a:pt x="2353" y="741"/>
                      </a:cubicBezTo>
                      <a:cubicBezTo>
                        <a:pt x="2330" y="745"/>
                        <a:pt x="2330" y="745"/>
                        <a:pt x="2330" y="745"/>
                      </a:cubicBezTo>
                      <a:cubicBezTo>
                        <a:pt x="2317" y="738"/>
                        <a:pt x="2317" y="738"/>
                        <a:pt x="2317" y="738"/>
                      </a:cubicBezTo>
                      <a:cubicBezTo>
                        <a:pt x="2329" y="727"/>
                        <a:pt x="2329" y="727"/>
                        <a:pt x="2329" y="727"/>
                      </a:cubicBezTo>
                      <a:cubicBezTo>
                        <a:pt x="2327" y="710"/>
                        <a:pt x="2327" y="710"/>
                        <a:pt x="2327" y="710"/>
                      </a:cubicBezTo>
                      <a:cubicBezTo>
                        <a:pt x="2293" y="728"/>
                        <a:pt x="2293" y="728"/>
                        <a:pt x="2293" y="728"/>
                      </a:cubicBezTo>
                      <a:cubicBezTo>
                        <a:pt x="2276" y="736"/>
                        <a:pt x="2276" y="736"/>
                        <a:pt x="2276" y="736"/>
                      </a:cubicBezTo>
                      <a:cubicBezTo>
                        <a:pt x="2257" y="764"/>
                        <a:pt x="2257" y="764"/>
                        <a:pt x="2257" y="764"/>
                      </a:cubicBezTo>
                      <a:cubicBezTo>
                        <a:pt x="2257" y="764"/>
                        <a:pt x="2226" y="771"/>
                        <a:pt x="2224" y="777"/>
                      </a:cubicBezTo>
                      <a:cubicBezTo>
                        <a:pt x="2222" y="783"/>
                        <a:pt x="2234" y="790"/>
                        <a:pt x="2224" y="793"/>
                      </a:cubicBezTo>
                      <a:cubicBezTo>
                        <a:pt x="2215" y="797"/>
                        <a:pt x="2186" y="807"/>
                        <a:pt x="2186" y="807"/>
                      </a:cubicBezTo>
                      <a:cubicBezTo>
                        <a:pt x="2203" y="815"/>
                        <a:pt x="2203" y="815"/>
                        <a:pt x="2203" y="815"/>
                      </a:cubicBezTo>
                      <a:cubicBezTo>
                        <a:pt x="2203" y="815"/>
                        <a:pt x="2230" y="811"/>
                        <a:pt x="2231" y="814"/>
                      </a:cubicBezTo>
                      <a:cubicBezTo>
                        <a:pt x="2231" y="817"/>
                        <a:pt x="2225" y="822"/>
                        <a:pt x="2225" y="833"/>
                      </a:cubicBezTo>
                      <a:cubicBezTo>
                        <a:pt x="2225" y="844"/>
                        <a:pt x="2268" y="845"/>
                        <a:pt x="2287" y="835"/>
                      </a:cubicBezTo>
                      <a:cubicBezTo>
                        <a:pt x="2306" y="826"/>
                        <a:pt x="2296" y="808"/>
                        <a:pt x="2324" y="809"/>
                      </a:cubicBezTo>
                      <a:cubicBezTo>
                        <a:pt x="2351" y="809"/>
                        <a:pt x="2355" y="818"/>
                        <a:pt x="2355" y="818"/>
                      </a:cubicBezTo>
                      <a:cubicBezTo>
                        <a:pt x="2386" y="823"/>
                        <a:pt x="2386" y="823"/>
                        <a:pt x="2386" y="823"/>
                      </a:cubicBezTo>
                      <a:cubicBezTo>
                        <a:pt x="2390" y="834"/>
                        <a:pt x="2390" y="834"/>
                        <a:pt x="2390" y="834"/>
                      </a:cubicBezTo>
                      <a:cubicBezTo>
                        <a:pt x="2452" y="838"/>
                        <a:pt x="2452" y="838"/>
                        <a:pt x="2452" y="838"/>
                      </a:cubicBezTo>
                      <a:lnTo>
                        <a:pt x="2456" y="825"/>
                      </a:lnTo>
                      <a:close/>
                      <a:moveTo>
                        <a:pt x="2393" y="886"/>
                      </a:moveTo>
                      <a:cubicBezTo>
                        <a:pt x="2352" y="899"/>
                        <a:pt x="2393" y="913"/>
                        <a:pt x="2393" y="913"/>
                      </a:cubicBezTo>
                      <a:cubicBezTo>
                        <a:pt x="2415" y="897"/>
                        <a:pt x="2434" y="872"/>
                        <a:pt x="2393" y="886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7" name="Belize">
                  <a:extLst>
                    <a:ext uri="{FF2B5EF4-FFF2-40B4-BE49-F238E27FC236}">
                      <a16:creationId xmlns:a16="http://schemas.microsoft.com/office/drawing/2014/main" id="{8AE0B9D1-F06D-8562-FB53-B2F3482D364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71052" y="3526597"/>
                  <a:ext cx="41282" cy="77752"/>
                </a:xfrm>
                <a:custGeom>
                  <a:avLst/>
                  <a:gdLst>
                    <a:gd name="T0" fmla="*/ 72 w 72"/>
                    <a:gd name="T1" fmla="*/ 22 h 140"/>
                    <a:gd name="T2" fmla="*/ 54 w 72"/>
                    <a:gd name="T3" fmla="*/ 11 h 140"/>
                    <a:gd name="T4" fmla="*/ 51 w 72"/>
                    <a:gd name="T5" fmla="*/ 0 h 140"/>
                    <a:gd name="T6" fmla="*/ 33 w 72"/>
                    <a:gd name="T7" fmla="*/ 33 h 140"/>
                    <a:gd name="T8" fmla="*/ 23 w 72"/>
                    <a:gd name="T9" fmla="*/ 26 h 140"/>
                    <a:gd name="T10" fmla="*/ 16 w 72"/>
                    <a:gd name="T11" fmla="*/ 36 h 140"/>
                    <a:gd name="T12" fmla="*/ 0 w 72"/>
                    <a:gd name="T13" fmla="*/ 140 h 140"/>
                    <a:gd name="T14" fmla="*/ 18 w 72"/>
                    <a:gd name="T15" fmla="*/ 140 h 140"/>
                    <a:gd name="T16" fmla="*/ 28 w 72"/>
                    <a:gd name="T17" fmla="*/ 114 h 140"/>
                    <a:gd name="T18" fmla="*/ 39 w 72"/>
                    <a:gd name="T19" fmla="*/ 118 h 140"/>
                    <a:gd name="T20" fmla="*/ 55 w 72"/>
                    <a:gd name="T21" fmla="*/ 93 h 140"/>
                    <a:gd name="T22" fmla="*/ 55 w 72"/>
                    <a:gd name="T23" fmla="*/ 60 h 140"/>
                    <a:gd name="T24" fmla="*/ 72 w 72"/>
                    <a:gd name="T25" fmla="*/ 22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2" h="140">
                      <a:moveTo>
                        <a:pt x="72" y="22"/>
                      </a:moveTo>
                      <a:cubicBezTo>
                        <a:pt x="72" y="17"/>
                        <a:pt x="54" y="11"/>
                        <a:pt x="54" y="11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44" y="32"/>
                        <a:pt x="33" y="33"/>
                      </a:cubicBezTo>
                      <a:cubicBezTo>
                        <a:pt x="22" y="34"/>
                        <a:pt x="28" y="26"/>
                        <a:pt x="23" y="26"/>
                      </a:cubicBezTo>
                      <a:cubicBezTo>
                        <a:pt x="18" y="26"/>
                        <a:pt x="16" y="36"/>
                        <a:pt x="16" y="36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18" y="140"/>
                        <a:pt x="18" y="140"/>
                        <a:pt x="18" y="140"/>
                      </a:cubicBezTo>
                      <a:cubicBezTo>
                        <a:pt x="28" y="114"/>
                        <a:pt x="28" y="114"/>
                        <a:pt x="28" y="114"/>
                      </a:cubicBezTo>
                      <a:cubicBezTo>
                        <a:pt x="39" y="118"/>
                        <a:pt x="39" y="118"/>
                        <a:pt x="39" y="118"/>
                      </a:cubicBezTo>
                      <a:cubicBezTo>
                        <a:pt x="39" y="118"/>
                        <a:pt x="55" y="104"/>
                        <a:pt x="55" y="93"/>
                      </a:cubicBezTo>
                      <a:cubicBezTo>
                        <a:pt x="55" y="82"/>
                        <a:pt x="51" y="70"/>
                        <a:pt x="55" y="60"/>
                      </a:cubicBezTo>
                      <a:cubicBezTo>
                        <a:pt x="59" y="50"/>
                        <a:pt x="72" y="27"/>
                        <a:pt x="72" y="2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8" name="Alaska">
                  <a:extLst>
                    <a:ext uri="{FF2B5EF4-FFF2-40B4-BE49-F238E27FC236}">
                      <a16:creationId xmlns:a16="http://schemas.microsoft.com/office/drawing/2014/main" id="{C2048866-C2BC-C4FF-B928-BC49DE4045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837292" y="2004890"/>
                  <a:ext cx="1147961" cy="495070"/>
                </a:xfrm>
                <a:custGeom>
                  <a:avLst/>
                  <a:gdLst>
                    <a:gd name="T0" fmla="*/ 1650 w 2049"/>
                    <a:gd name="T1" fmla="*/ 628 h 886"/>
                    <a:gd name="T2" fmla="*/ 1600 w 2049"/>
                    <a:gd name="T3" fmla="*/ 619 h 886"/>
                    <a:gd name="T4" fmla="*/ 1594 w 2049"/>
                    <a:gd name="T5" fmla="*/ 717 h 886"/>
                    <a:gd name="T6" fmla="*/ 1594 w 2049"/>
                    <a:gd name="T7" fmla="*/ 777 h 886"/>
                    <a:gd name="T8" fmla="*/ 1677 w 2049"/>
                    <a:gd name="T9" fmla="*/ 696 h 886"/>
                    <a:gd name="T10" fmla="*/ 1691 w 2049"/>
                    <a:gd name="T11" fmla="*/ 558 h 886"/>
                    <a:gd name="T12" fmla="*/ 1597 w 2049"/>
                    <a:gd name="T13" fmla="*/ 572 h 886"/>
                    <a:gd name="T14" fmla="*/ 1561 w 2049"/>
                    <a:gd name="T15" fmla="*/ 513 h 886"/>
                    <a:gd name="T16" fmla="*/ 2008 w 2049"/>
                    <a:gd name="T17" fmla="*/ 53 h 886"/>
                    <a:gd name="T18" fmla="*/ 1735 w 2049"/>
                    <a:gd name="T19" fmla="*/ 24 h 886"/>
                    <a:gd name="T20" fmla="*/ 1622 w 2049"/>
                    <a:gd name="T21" fmla="*/ 0 h 886"/>
                    <a:gd name="T22" fmla="*/ 1141 w 2049"/>
                    <a:gd name="T23" fmla="*/ 107 h 886"/>
                    <a:gd name="T24" fmla="*/ 1138 w 2049"/>
                    <a:gd name="T25" fmla="*/ 211 h 886"/>
                    <a:gd name="T26" fmla="*/ 1051 w 2049"/>
                    <a:gd name="T27" fmla="*/ 238 h 886"/>
                    <a:gd name="T28" fmla="*/ 837 w 2049"/>
                    <a:gd name="T29" fmla="*/ 261 h 886"/>
                    <a:gd name="T30" fmla="*/ 939 w 2049"/>
                    <a:gd name="T31" fmla="*/ 316 h 886"/>
                    <a:gd name="T32" fmla="*/ 1037 w 2049"/>
                    <a:gd name="T33" fmla="*/ 311 h 886"/>
                    <a:gd name="T34" fmla="*/ 898 w 2049"/>
                    <a:gd name="T35" fmla="*/ 357 h 886"/>
                    <a:gd name="T36" fmla="*/ 745 w 2049"/>
                    <a:gd name="T37" fmla="*/ 404 h 886"/>
                    <a:gd name="T38" fmla="*/ 643 w 2049"/>
                    <a:gd name="T39" fmla="*/ 462 h 886"/>
                    <a:gd name="T40" fmla="*/ 689 w 2049"/>
                    <a:gd name="T41" fmla="*/ 491 h 886"/>
                    <a:gd name="T42" fmla="*/ 619 w 2049"/>
                    <a:gd name="T43" fmla="*/ 510 h 886"/>
                    <a:gd name="T44" fmla="*/ 678 w 2049"/>
                    <a:gd name="T45" fmla="*/ 554 h 886"/>
                    <a:gd name="T46" fmla="*/ 694 w 2049"/>
                    <a:gd name="T47" fmla="*/ 576 h 886"/>
                    <a:gd name="T48" fmla="*/ 785 w 2049"/>
                    <a:gd name="T49" fmla="*/ 580 h 886"/>
                    <a:gd name="T50" fmla="*/ 815 w 2049"/>
                    <a:gd name="T51" fmla="*/ 598 h 886"/>
                    <a:gd name="T52" fmla="*/ 697 w 2049"/>
                    <a:gd name="T53" fmla="*/ 654 h 886"/>
                    <a:gd name="T54" fmla="*/ 491 w 2049"/>
                    <a:gd name="T55" fmla="*/ 747 h 886"/>
                    <a:gd name="T56" fmla="*/ 385 w 2049"/>
                    <a:gd name="T57" fmla="*/ 763 h 886"/>
                    <a:gd name="T58" fmla="*/ 373 w 2049"/>
                    <a:gd name="T59" fmla="*/ 783 h 886"/>
                    <a:gd name="T60" fmla="*/ 514 w 2049"/>
                    <a:gd name="T61" fmla="*/ 746 h 886"/>
                    <a:gd name="T62" fmla="*/ 653 w 2049"/>
                    <a:gd name="T63" fmla="*/ 697 h 886"/>
                    <a:gd name="T64" fmla="*/ 841 w 2049"/>
                    <a:gd name="T65" fmla="*/ 628 h 886"/>
                    <a:gd name="T66" fmla="*/ 1015 w 2049"/>
                    <a:gd name="T67" fmla="*/ 545 h 886"/>
                    <a:gd name="T68" fmla="*/ 1234 w 2049"/>
                    <a:gd name="T69" fmla="*/ 485 h 886"/>
                    <a:gd name="T70" fmla="*/ 1075 w 2049"/>
                    <a:gd name="T71" fmla="*/ 536 h 886"/>
                    <a:gd name="T72" fmla="*/ 1211 w 2049"/>
                    <a:gd name="T73" fmla="*/ 530 h 886"/>
                    <a:gd name="T74" fmla="*/ 1336 w 2049"/>
                    <a:gd name="T75" fmla="*/ 492 h 886"/>
                    <a:gd name="T76" fmla="*/ 1472 w 2049"/>
                    <a:gd name="T77" fmla="*/ 532 h 886"/>
                    <a:gd name="T78" fmla="*/ 1541 w 2049"/>
                    <a:gd name="T79" fmla="*/ 573 h 886"/>
                    <a:gd name="T80" fmla="*/ 1630 w 2049"/>
                    <a:gd name="T81" fmla="*/ 585 h 886"/>
                    <a:gd name="T82" fmla="*/ 1679 w 2049"/>
                    <a:gd name="T83" fmla="*/ 607 h 886"/>
                    <a:gd name="T84" fmla="*/ 1636 w 2049"/>
                    <a:gd name="T85" fmla="*/ 670 h 886"/>
                    <a:gd name="T86" fmla="*/ 1660 w 2049"/>
                    <a:gd name="T87" fmla="*/ 733 h 886"/>
                    <a:gd name="T88" fmla="*/ 1623 w 2049"/>
                    <a:gd name="T89" fmla="*/ 785 h 886"/>
                    <a:gd name="T90" fmla="*/ 1707 w 2049"/>
                    <a:gd name="T91" fmla="*/ 721 h 886"/>
                    <a:gd name="T92" fmla="*/ 1598 w 2049"/>
                    <a:gd name="T93" fmla="*/ 704 h 886"/>
                    <a:gd name="T94" fmla="*/ 1546 w 2049"/>
                    <a:gd name="T95" fmla="*/ 720 h 886"/>
                    <a:gd name="T96" fmla="*/ 510 w 2049"/>
                    <a:gd name="T97" fmla="*/ 517 h 886"/>
                    <a:gd name="T98" fmla="*/ 76 w 2049"/>
                    <a:gd name="T99" fmla="*/ 849 h 886"/>
                    <a:gd name="T100" fmla="*/ 859 w 2049"/>
                    <a:gd name="T101" fmla="*/ 663 h 886"/>
                    <a:gd name="T102" fmla="*/ 881 w 2049"/>
                    <a:gd name="T103" fmla="*/ 664 h 886"/>
                    <a:gd name="T104" fmla="*/ 908 w 2049"/>
                    <a:gd name="T105" fmla="*/ 635 h 886"/>
                    <a:gd name="T106" fmla="*/ 1646 w 2049"/>
                    <a:gd name="T107" fmla="*/ 762 h 886"/>
                    <a:gd name="T108" fmla="*/ 923 w 2049"/>
                    <a:gd name="T109" fmla="*/ 630 h 886"/>
                    <a:gd name="T110" fmla="*/ 290 w 2049"/>
                    <a:gd name="T111" fmla="*/ 788 h 886"/>
                    <a:gd name="T112" fmla="*/ 221 w 2049"/>
                    <a:gd name="T113" fmla="*/ 814 h 8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49" h="886">
                      <a:moveTo>
                        <a:pt x="1636" y="622"/>
                      </a:moveTo>
                      <a:cubicBezTo>
                        <a:pt x="1628" y="629"/>
                        <a:pt x="1614" y="645"/>
                        <a:pt x="1614" y="645"/>
                      </a:cubicBezTo>
                      <a:cubicBezTo>
                        <a:pt x="1602" y="669"/>
                        <a:pt x="1602" y="669"/>
                        <a:pt x="1602" y="669"/>
                      </a:cubicBezTo>
                      <a:cubicBezTo>
                        <a:pt x="1602" y="669"/>
                        <a:pt x="1623" y="665"/>
                        <a:pt x="1633" y="656"/>
                      </a:cubicBezTo>
                      <a:cubicBezTo>
                        <a:pt x="1643" y="647"/>
                        <a:pt x="1640" y="638"/>
                        <a:pt x="1640" y="638"/>
                      </a:cubicBezTo>
                      <a:cubicBezTo>
                        <a:pt x="1650" y="628"/>
                        <a:pt x="1650" y="628"/>
                        <a:pt x="1650" y="628"/>
                      </a:cubicBezTo>
                      <a:cubicBezTo>
                        <a:pt x="1650" y="628"/>
                        <a:pt x="1644" y="615"/>
                        <a:pt x="1636" y="622"/>
                      </a:cubicBezTo>
                      <a:close/>
                      <a:moveTo>
                        <a:pt x="1600" y="619"/>
                      </a:moveTo>
                      <a:cubicBezTo>
                        <a:pt x="1600" y="619"/>
                        <a:pt x="1575" y="626"/>
                        <a:pt x="1576" y="633"/>
                      </a:cubicBezTo>
                      <a:cubicBezTo>
                        <a:pt x="1577" y="640"/>
                        <a:pt x="1586" y="650"/>
                        <a:pt x="1586" y="650"/>
                      </a:cubicBezTo>
                      <a:cubicBezTo>
                        <a:pt x="1597" y="654"/>
                        <a:pt x="1614" y="646"/>
                        <a:pt x="1614" y="636"/>
                      </a:cubicBezTo>
                      <a:cubicBezTo>
                        <a:pt x="1614" y="626"/>
                        <a:pt x="1600" y="619"/>
                        <a:pt x="1600" y="619"/>
                      </a:cubicBezTo>
                      <a:close/>
                      <a:moveTo>
                        <a:pt x="1544" y="792"/>
                      </a:moveTo>
                      <a:cubicBezTo>
                        <a:pt x="1553" y="793"/>
                        <a:pt x="1553" y="793"/>
                        <a:pt x="1553" y="793"/>
                      </a:cubicBezTo>
                      <a:cubicBezTo>
                        <a:pt x="1559" y="768"/>
                        <a:pt x="1559" y="768"/>
                        <a:pt x="1559" y="768"/>
                      </a:cubicBezTo>
                      <a:cubicBezTo>
                        <a:pt x="1548" y="773"/>
                        <a:pt x="1548" y="773"/>
                        <a:pt x="1548" y="773"/>
                      </a:cubicBezTo>
                      <a:lnTo>
                        <a:pt x="1544" y="792"/>
                      </a:lnTo>
                      <a:close/>
                      <a:moveTo>
                        <a:pt x="1594" y="717"/>
                      </a:moveTo>
                      <a:cubicBezTo>
                        <a:pt x="1581" y="726"/>
                        <a:pt x="1581" y="726"/>
                        <a:pt x="1581" y="726"/>
                      </a:cubicBezTo>
                      <a:cubicBezTo>
                        <a:pt x="1581" y="726"/>
                        <a:pt x="1587" y="732"/>
                        <a:pt x="1591" y="733"/>
                      </a:cubicBezTo>
                      <a:cubicBezTo>
                        <a:pt x="1595" y="734"/>
                        <a:pt x="1577" y="743"/>
                        <a:pt x="1573" y="745"/>
                      </a:cubicBezTo>
                      <a:cubicBezTo>
                        <a:pt x="1569" y="747"/>
                        <a:pt x="1563" y="758"/>
                        <a:pt x="1568" y="767"/>
                      </a:cubicBezTo>
                      <a:cubicBezTo>
                        <a:pt x="1573" y="776"/>
                        <a:pt x="1572" y="794"/>
                        <a:pt x="1572" y="794"/>
                      </a:cubicBezTo>
                      <a:cubicBezTo>
                        <a:pt x="1572" y="794"/>
                        <a:pt x="1586" y="786"/>
                        <a:pt x="1594" y="777"/>
                      </a:cubicBezTo>
                      <a:cubicBezTo>
                        <a:pt x="1602" y="768"/>
                        <a:pt x="1590" y="756"/>
                        <a:pt x="1590" y="756"/>
                      </a:cubicBezTo>
                      <a:cubicBezTo>
                        <a:pt x="1590" y="756"/>
                        <a:pt x="1600" y="755"/>
                        <a:pt x="1609" y="745"/>
                      </a:cubicBezTo>
                      <a:cubicBezTo>
                        <a:pt x="1618" y="735"/>
                        <a:pt x="1594" y="717"/>
                        <a:pt x="1594" y="717"/>
                      </a:cubicBezTo>
                      <a:close/>
                      <a:moveTo>
                        <a:pt x="1707" y="721"/>
                      </a:moveTo>
                      <a:cubicBezTo>
                        <a:pt x="1707" y="721"/>
                        <a:pt x="1700" y="719"/>
                        <a:pt x="1700" y="714"/>
                      </a:cubicBezTo>
                      <a:cubicBezTo>
                        <a:pt x="1700" y="710"/>
                        <a:pt x="1672" y="709"/>
                        <a:pt x="1677" y="696"/>
                      </a:cubicBezTo>
                      <a:cubicBezTo>
                        <a:pt x="1682" y="683"/>
                        <a:pt x="1688" y="666"/>
                        <a:pt x="1688" y="666"/>
                      </a:cubicBezTo>
                      <a:cubicBezTo>
                        <a:pt x="1688" y="642"/>
                        <a:pt x="1688" y="642"/>
                        <a:pt x="1688" y="642"/>
                      </a:cubicBezTo>
                      <a:cubicBezTo>
                        <a:pt x="1688" y="642"/>
                        <a:pt x="1705" y="623"/>
                        <a:pt x="1698" y="606"/>
                      </a:cubicBezTo>
                      <a:cubicBezTo>
                        <a:pt x="1692" y="588"/>
                        <a:pt x="1685" y="586"/>
                        <a:pt x="1685" y="586"/>
                      </a:cubicBezTo>
                      <a:cubicBezTo>
                        <a:pt x="1691" y="575"/>
                        <a:pt x="1691" y="575"/>
                        <a:pt x="1691" y="575"/>
                      </a:cubicBezTo>
                      <a:cubicBezTo>
                        <a:pt x="1691" y="558"/>
                        <a:pt x="1691" y="558"/>
                        <a:pt x="1691" y="558"/>
                      </a:cubicBezTo>
                      <a:cubicBezTo>
                        <a:pt x="1691" y="558"/>
                        <a:pt x="1718" y="548"/>
                        <a:pt x="1699" y="542"/>
                      </a:cubicBezTo>
                      <a:cubicBezTo>
                        <a:pt x="1681" y="537"/>
                        <a:pt x="1653" y="547"/>
                        <a:pt x="1653" y="547"/>
                      </a:cubicBezTo>
                      <a:cubicBezTo>
                        <a:pt x="1651" y="555"/>
                        <a:pt x="1651" y="555"/>
                        <a:pt x="1651" y="555"/>
                      </a:cubicBezTo>
                      <a:cubicBezTo>
                        <a:pt x="1639" y="555"/>
                        <a:pt x="1639" y="555"/>
                        <a:pt x="1639" y="555"/>
                      </a:cubicBezTo>
                      <a:cubicBezTo>
                        <a:pt x="1639" y="555"/>
                        <a:pt x="1633" y="565"/>
                        <a:pt x="1625" y="565"/>
                      </a:cubicBezTo>
                      <a:cubicBezTo>
                        <a:pt x="1618" y="565"/>
                        <a:pt x="1597" y="572"/>
                        <a:pt x="1597" y="572"/>
                      </a:cubicBezTo>
                      <a:cubicBezTo>
                        <a:pt x="1597" y="572"/>
                        <a:pt x="1581" y="585"/>
                        <a:pt x="1575" y="585"/>
                      </a:cubicBezTo>
                      <a:cubicBezTo>
                        <a:pt x="1570" y="585"/>
                        <a:pt x="1589" y="566"/>
                        <a:pt x="1589" y="566"/>
                      </a:cubicBezTo>
                      <a:cubicBezTo>
                        <a:pt x="1589" y="566"/>
                        <a:pt x="1570" y="558"/>
                        <a:pt x="1570" y="547"/>
                      </a:cubicBezTo>
                      <a:cubicBezTo>
                        <a:pt x="1570" y="537"/>
                        <a:pt x="1570" y="528"/>
                        <a:pt x="1570" y="528"/>
                      </a:cubicBezTo>
                      <a:cubicBezTo>
                        <a:pt x="1585" y="513"/>
                        <a:pt x="1585" y="513"/>
                        <a:pt x="1585" y="513"/>
                      </a:cubicBezTo>
                      <a:cubicBezTo>
                        <a:pt x="1561" y="513"/>
                        <a:pt x="1561" y="513"/>
                        <a:pt x="1561" y="513"/>
                      </a:cubicBezTo>
                      <a:cubicBezTo>
                        <a:pt x="1561" y="513"/>
                        <a:pt x="1552" y="518"/>
                        <a:pt x="1549" y="518"/>
                      </a:cubicBezTo>
                      <a:cubicBezTo>
                        <a:pt x="1549" y="518"/>
                        <a:pt x="1520" y="524"/>
                        <a:pt x="1514" y="518"/>
                      </a:cubicBezTo>
                      <a:cubicBezTo>
                        <a:pt x="1508" y="512"/>
                        <a:pt x="1534" y="498"/>
                        <a:pt x="1534" y="498"/>
                      </a:cubicBezTo>
                      <a:cubicBezTo>
                        <a:pt x="2049" y="74"/>
                        <a:pt x="2049" y="74"/>
                        <a:pt x="2049" y="74"/>
                      </a:cubicBezTo>
                      <a:cubicBezTo>
                        <a:pt x="2037" y="74"/>
                        <a:pt x="2037" y="74"/>
                        <a:pt x="2037" y="74"/>
                      </a:cubicBezTo>
                      <a:cubicBezTo>
                        <a:pt x="2037" y="74"/>
                        <a:pt x="2034" y="51"/>
                        <a:pt x="2008" y="53"/>
                      </a:cubicBezTo>
                      <a:cubicBezTo>
                        <a:pt x="1982" y="55"/>
                        <a:pt x="1951" y="64"/>
                        <a:pt x="1947" y="64"/>
                      </a:cubicBezTo>
                      <a:cubicBezTo>
                        <a:pt x="1943" y="64"/>
                        <a:pt x="1916" y="50"/>
                        <a:pt x="1912" y="48"/>
                      </a:cubicBezTo>
                      <a:cubicBezTo>
                        <a:pt x="1908" y="46"/>
                        <a:pt x="1858" y="47"/>
                        <a:pt x="1858" y="47"/>
                      </a:cubicBezTo>
                      <a:cubicBezTo>
                        <a:pt x="1858" y="47"/>
                        <a:pt x="1842" y="39"/>
                        <a:pt x="1824" y="37"/>
                      </a:cubicBezTo>
                      <a:cubicBezTo>
                        <a:pt x="1806" y="35"/>
                        <a:pt x="1735" y="38"/>
                        <a:pt x="1732" y="38"/>
                      </a:cubicBezTo>
                      <a:cubicBezTo>
                        <a:pt x="1729" y="38"/>
                        <a:pt x="1735" y="24"/>
                        <a:pt x="1735" y="24"/>
                      </a:cubicBezTo>
                      <a:cubicBezTo>
                        <a:pt x="1735" y="24"/>
                        <a:pt x="1699" y="19"/>
                        <a:pt x="1694" y="18"/>
                      </a:cubicBezTo>
                      <a:cubicBezTo>
                        <a:pt x="1689" y="17"/>
                        <a:pt x="1656" y="24"/>
                        <a:pt x="1656" y="24"/>
                      </a:cubicBezTo>
                      <a:cubicBezTo>
                        <a:pt x="1676" y="2"/>
                        <a:pt x="1676" y="2"/>
                        <a:pt x="1676" y="2"/>
                      </a:cubicBezTo>
                      <a:cubicBezTo>
                        <a:pt x="1621" y="24"/>
                        <a:pt x="1621" y="24"/>
                        <a:pt x="1621" y="24"/>
                      </a:cubicBezTo>
                      <a:cubicBezTo>
                        <a:pt x="1642" y="2"/>
                        <a:pt x="1642" y="2"/>
                        <a:pt x="1642" y="2"/>
                      </a:cubicBezTo>
                      <a:cubicBezTo>
                        <a:pt x="1622" y="0"/>
                        <a:pt x="1622" y="0"/>
                        <a:pt x="1622" y="0"/>
                      </a:cubicBezTo>
                      <a:cubicBezTo>
                        <a:pt x="1622" y="0"/>
                        <a:pt x="1591" y="22"/>
                        <a:pt x="1561" y="22"/>
                      </a:cubicBezTo>
                      <a:cubicBezTo>
                        <a:pt x="1531" y="22"/>
                        <a:pt x="1485" y="16"/>
                        <a:pt x="1477" y="24"/>
                      </a:cubicBezTo>
                      <a:cubicBezTo>
                        <a:pt x="1469" y="32"/>
                        <a:pt x="1439" y="39"/>
                        <a:pt x="1439" y="39"/>
                      </a:cubicBezTo>
                      <a:cubicBezTo>
                        <a:pt x="1439" y="39"/>
                        <a:pt x="1390" y="39"/>
                        <a:pt x="1364" y="42"/>
                      </a:cubicBezTo>
                      <a:cubicBezTo>
                        <a:pt x="1338" y="45"/>
                        <a:pt x="1277" y="91"/>
                        <a:pt x="1235" y="97"/>
                      </a:cubicBezTo>
                      <a:cubicBezTo>
                        <a:pt x="1193" y="103"/>
                        <a:pt x="1141" y="107"/>
                        <a:pt x="1141" y="107"/>
                      </a:cubicBezTo>
                      <a:cubicBezTo>
                        <a:pt x="1141" y="107"/>
                        <a:pt x="1078" y="128"/>
                        <a:pt x="1081" y="133"/>
                      </a:cubicBezTo>
                      <a:cubicBezTo>
                        <a:pt x="1084" y="138"/>
                        <a:pt x="1105" y="149"/>
                        <a:pt x="1105" y="149"/>
                      </a:cubicBezTo>
                      <a:cubicBezTo>
                        <a:pt x="1105" y="149"/>
                        <a:pt x="1118" y="172"/>
                        <a:pt x="1112" y="175"/>
                      </a:cubicBezTo>
                      <a:cubicBezTo>
                        <a:pt x="1106" y="178"/>
                        <a:pt x="1097" y="187"/>
                        <a:pt x="1097" y="187"/>
                      </a:cubicBezTo>
                      <a:cubicBezTo>
                        <a:pt x="1157" y="188"/>
                        <a:pt x="1157" y="188"/>
                        <a:pt x="1157" y="188"/>
                      </a:cubicBezTo>
                      <a:cubicBezTo>
                        <a:pt x="1138" y="211"/>
                        <a:pt x="1138" y="211"/>
                        <a:pt x="1138" y="211"/>
                      </a:cubicBezTo>
                      <a:cubicBezTo>
                        <a:pt x="1182" y="213"/>
                        <a:pt x="1182" y="213"/>
                        <a:pt x="1182" y="213"/>
                      </a:cubicBezTo>
                      <a:cubicBezTo>
                        <a:pt x="1175" y="225"/>
                        <a:pt x="1175" y="225"/>
                        <a:pt x="1175" y="225"/>
                      </a:cubicBezTo>
                      <a:cubicBezTo>
                        <a:pt x="1139" y="224"/>
                        <a:pt x="1139" y="224"/>
                        <a:pt x="1139" y="224"/>
                      </a:cubicBezTo>
                      <a:cubicBezTo>
                        <a:pt x="1132" y="232"/>
                        <a:pt x="1132" y="232"/>
                        <a:pt x="1132" y="232"/>
                      </a:cubicBezTo>
                      <a:cubicBezTo>
                        <a:pt x="1110" y="232"/>
                        <a:pt x="1110" y="232"/>
                        <a:pt x="1110" y="232"/>
                      </a:cubicBezTo>
                      <a:cubicBezTo>
                        <a:pt x="1110" y="232"/>
                        <a:pt x="1076" y="238"/>
                        <a:pt x="1051" y="238"/>
                      </a:cubicBezTo>
                      <a:cubicBezTo>
                        <a:pt x="1026" y="238"/>
                        <a:pt x="1031" y="228"/>
                        <a:pt x="1045" y="223"/>
                      </a:cubicBezTo>
                      <a:cubicBezTo>
                        <a:pt x="1059" y="218"/>
                        <a:pt x="1017" y="215"/>
                        <a:pt x="1017" y="215"/>
                      </a:cubicBezTo>
                      <a:cubicBezTo>
                        <a:pt x="1017" y="215"/>
                        <a:pt x="969" y="213"/>
                        <a:pt x="967" y="221"/>
                      </a:cubicBezTo>
                      <a:cubicBezTo>
                        <a:pt x="965" y="229"/>
                        <a:pt x="969" y="234"/>
                        <a:pt x="969" y="234"/>
                      </a:cubicBezTo>
                      <a:cubicBezTo>
                        <a:pt x="969" y="234"/>
                        <a:pt x="934" y="236"/>
                        <a:pt x="911" y="239"/>
                      </a:cubicBezTo>
                      <a:cubicBezTo>
                        <a:pt x="888" y="242"/>
                        <a:pt x="820" y="255"/>
                        <a:pt x="837" y="261"/>
                      </a:cubicBezTo>
                      <a:cubicBezTo>
                        <a:pt x="854" y="267"/>
                        <a:pt x="877" y="270"/>
                        <a:pt x="877" y="270"/>
                      </a:cubicBezTo>
                      <a:cubicBezTo>
                        <a:pt x="848" y="280"/>
                        <a:pt x="848" y="280"/>
                        <a:pt x="848" y="280"/>
                      </a:cubicBezTo>
                      <a:cubicBezTo>
                        <a:pt x="840" y="307"/>
                        <a:pt x="840" y="307"/>
                        <a:pt x="840" y="307"/>
                      </a:cubicBezTo>
                      <a:cubicBezTo>
                        <a:pt x="840" y="307"/>
                        <a:pt x="864" y="311"/>
                        <a:pt x="880" y="311"/>
                      </a:cubicBezTo>
                      <a:cubicBezTo>
                        <a:pt x="896" y="311"/>
                        <a:pt x="910" y="308"/>
                        <a:pt x="910" y="308"/>
                      </a:cubicBezTo>
                      <a:cubicBezTo>
                        <a:pt x="939" y="316"/>
                        <a:pt x="939" y="316"/>
                        <a:pt x="939" y="316"/>
                      </a:cubicBezTo>
                      <a:cubicBezTo>
                        <a:pt x="948" y="304"/>
                        <a:pt x="948" y="304"/>
                        <a:pt x="948" y="304"/>
                      </a:cubicBezTo>
                      <a:cubicBezTo>
                        <a:pt x="957" y="315"/>
                        <a:pt x="957" y="315"/>
                        <a:pt x="957" y="315"/>
                      </a:cubicBezTo>
                      <a:cubicBezTo>
                        <a:pt x="957" y="315"/>
                        <a:pt x="989" y="297"/>
                        <a:pt x="994" y="297"/>
                      </a:cubicBezTo>
                      <a:cubicBezTo>
                        <a:pt x="999" y="297"/>
                        <a:pt x="1007" y="303"/>
                        <a:pt x="1017" y="299"/>
                      </a:cubicBezTo>
                      <a:cubicBezTo>
                        <a:pt x="1027" y="295"/>
                        <a:pt x="1045" y="281"/>
                        <a:pt x="1046" y="290"/>
                      </a:cubicBezTo>
                      <a:cubicBezTo>
                        <a:pt x="1047" y="299"/>
                        <a:pt x="1037" y="311"/>
                        <a:pt x="1037" y="311"/>
                      </a:cubicBezTo>
                      <a:cubicBezTo>
                        <a:pt x="999" y="312"/>
                        <a:pt x="999" y="312"/>
                        <a:pt x="999" y="312"/>
                      </a:cubicBezTo>
                      <a:cubicBezTo>
                        <a:pt x="1004" y="333"/>
                        <a:pt x="1004" y="333"/>
                        <a:pt x="1004" y="333"/>
                      </a:cubicBezTo>
                      <a:cubicBezTo>
                        <a:pt x="1004" y="333"/>
                        <a:pt x="976" y="360"/>
                        <a:pt x="958" y="361"/>
                      </a:cubicBezTo>
                      <a:cubicBezTo>
                        <a:pt x="940" y="362"/>
                        <a:pt x="920" y="362"/>
                        <a:pt x="920" y="362"/>
                      </a:cubicBezTo>
                      <a:cubicBezTo>
                        <a:pt x="910" y="350"/>
                        <a:pt x="910" y="350"/>
                        <a:pt x="910" y="350"/>
                      </a:cubicBezTo>
                      <a:cubicBezTo>
                        <a:pt x="898" y="357"/>
                        <a:pt x="898" y="357"/>
                        <a:pt x="898" y="357"/>
                      </a:cubicBezTo>
                      <a:cubicBezTo>
                        <a:pt x="898" y="365"/>
                        <a:pt x="898" y="365"/>
                        <a:pt x="898" y="365"/>
                      </a:cubicBezTo>
                      <a:cubicBezTo>
                        <a:pt x="898" y="365"/>
                        <a:pt x="857" y="389"/>
                        <a:pt x="844" y="381"/>
                      </a:cubicBezTo>
                      <a:cubicBezTo>
                        <a:pt x="831" y="373"/>
                        <a:pt x="824" y="371"/>
                        <a:pt x="824" y="371"/>
                      </a:cubicBezTo>
                      <a:cubicBezTo>
                        <a:pt x="762" y="406"/>
                        <a:pt x="762" y="406"/>
                        <a:pt x="762" y="406"/>
                      </a:cubicBezTo>
                      <a:cubicBezTo>
                        <a:pt x="748" y="418"/>
                        <a:pt x="748" y="418"/>
                        <a:pt x="748" y="418"/>
                      </a:cubicBezTo>
                      <a:cubicBezTo>
                        <a:pt x="745" y="404"/>
                        <a:pt x="745" y="404"/>
                        <a:pt x="745" y="404"/>
                      </a:cubicBezTo>
                      <a:cubicBezTo>
                        <a:pt x="745" y="404"/>
                        <a:pt x="720" y="415"/>
                        <a:pt x="706" y="420"/>
                      </a:cubicBezTo>
                      <a:cubicBezTo>
                        <a:pt x="692" y="425"/>
                        <a:pt x="682" y="440"/>
                        <a:pt x="682" y="440"/>
                      </a:cubicBezTo>
                      <a:cubicBezTo>
                        <a:pt x="662" y="434"/>
                        <a:pt x="662" y="434"/>
                        <a:pt x="662" y="434"/>
                      </a:cubicBezTo>
                      <a:cubicBezTo>
                        <a:pt x="662" y="447"/>
                        <a:pt x="662" y="447"/>
                        <a:pt x="662" y="447"/>
                      </a:cubicBezTo>
                      <a:cubicBezTo>
                        <a:pt x="662" y="447"/>
                        <a:pt x="649" y="441"/>
                        <a:pt x="646" y="447"/>
                      </a:cubicBezTo>
                      <a:cubicBezTo>
                        <a:pt x="643" y="453"/>
                        <a:pt x="643" y="462"/>
                        <a:pt x="643" y="462"/>
                      </a:cubicBezTo>
                      <a:cubicBezTo>
                        <a:pt x="636" y="471"/>
                        <a:pt x="636" y="471"/>
                        <a:pt x="636" y="471"/>
                      </a:cubicBezTo>
                      <a:cubicBezTo>
                        <a:pt x="676" y="457"/>
                        <a:pt x="676" y="457"/>
                        <a:pt x="676" y="457"/>
                      </a:cubicBezTo>
                      <a:cubicBezTo>
                        <a:pt x="661" y="469"/>
                        <a:pt x="661" y="469"/>
                        <a:pt x="661" y="469"/>
                      </a:cubicBezTo>
                      <a:cubicBezTo>
                        <a:pt x="661" y="475"/>
                        <a:pt x="661" y="475"/>
                        <a:pt x="661" y="475"/>
                      </a:cubicBezTo>
                      <a:cubicBezTo>
                        <a:pt x="648" y="483"/>
                        <a:pt x="648" y="483"/>
                        <a:pt x="648" y="483"/>
                      </a:cubicBezTo>
                      <a:cubicBezTo>
                        <a:pt x="648" y="483"/>
                        <a:pt x="698" y="482"/>
                        <a:pt x="689" y="491"/>
                      </a:cubicBezTo>
                      <a:cubicBezTo>
                        <a:pt x="680" y="500"/>
                        <a:pt x="658" y="498"/>
                        <a:pt x="658" y="498"/>
                      </a:cubicBezTo>
                      <a:cubicBezTo>
                        <a:pt x="641" y="502"/>
                        <a:pt x="641" y="502"/>
                        <a:pt x="641" y="502"/>
                      </a:cubicBezTo>
                      <a:cubicBezTo>
                        <a:pt x="649" y="494"/>
                        <a:pt x="649" y="494"/>
                        <a:pt x="649" y="494"/>
                      </a:cubicBezTo>
                      <a:cubicBezTo>
                        <a:pt x="640" y="489"/>
                        <a:pt x="640" y="489"/>
                        <a:pt x="640" y="489"/>
                      </a:cubicBezTo>
                      <a:cubicBezTo>
                        <a:pt x="640" y="489"/>
                        <a:pt x="611" y="500"/>
                        <a:pt x="612" y="503"/>
                      </a:cubicBezTo>
                      <a:cubicBezTo>
                        <a:pt x="613" y="506"/>
                        <a:pt x="619" y="510"/>
                        <a:pt x="619" y="510"/>
                      </a:cubicBezTo>
                      <a:cubicBezTo>
                        <a:pt x="619" y="510"/>
                        <a:pt x="608" y="537"/>
                        <a:pt x="612" y="538"/>
                      </a:cubicBezTo>
                      <a:cubicBezTo>
                        <a:pt x="616" y="539"/>
                        <a:pt x="659" y="536"/>
                        <a:pt x="659" y="536"/>
                      </a:cubicBezTo>
                      <a:cubicBezTo>
                        <a:pt x="691" y="518"/>
                        <a:pt x="691" y="518"/>
                        <a:pt x="691" y="518"/>
                      </a:cubicBezTo>
                      <a:cubicBezTo>
                        <a:pt x="738" y="499"/>
                        <a:pt x="738" y="499"/>
                        <a:pt x="738" y="499"/>
                      </a:cubicBezTo>
                      <a:cubicBezTo>
                        <a:pt x="738" y="499"/>
                        <a:pt x="694" y="520"/>
                        <a:pt x="689" y="528"/>
                      </a:cubicBezTo>
                      <a:cubicBezTo>
                        <a:pt x="684" y="536"/>
                        <a:pt x="685" y="552"/>
                        <a:pt x="678" y="554"/>
                      </a:cubicBezTo>
                      <a:cubicBezTo>
                        <a:pt x="671" y="556"/>
                        <a:pt x="659" y="549"/>
                        <a:pt x="653" y="558"/>
                      </a:cubicBezTo>
                      <a:cubicBezTo>
                        <a:pt x="647" y="567"/>
                        <a:pt x="643" y="577"/>
                        <a:pt x="638" y="582"/>
                      </a:cubicBezTo>
                      <a:cubicBezTo>
                        <a:pt x="633" y="587"/>
                        <a:pt x="618" y="596"/>
                        <a:pt x="618" y="596"/>
                      </a:cubicBezTo>
                      <a:cubicBezTo>
                        <a:pt x="654" y="592"/>
                        <a:pt x="654" y="592"/>
                        <a:pt x="654" y="592"/>
                      </a:cubicBezTo>
                      <a:cubicBezTo>
                        <a:pt x="647" y="604"/>
                        <a:pt x="647" y="604"/>
                        <a:pt x="647" y="604"/>
                      </a:cubicBezTo>
                      <a:cubicBezTo>
                        <a:pt x="647" y="604"/>
                        <a:pt x="677" y="573"/>
                        <a:pt x="694" y="576"/>
                      </a:cubicBezTo>
                      <a:cubicBezTo>
                        <a:pt x="711" y="579"/>
                        <a:pt x="702" y="584"/>
                        <a:pt x="702" y="584"/>
                      </a:cubicBezTo>
                      <a:cubicBezTo>
                        <a:pt x="718" y="582"/>
                        <a:pt x="718" y="582"/>
                        <a:pt x="718" y="582"/>
                      </a:cubicBezTo>
                      <a:cubicBezTo>
                        <a:pt x="718" y="582"/>
                        <a:pt x="705" y="607"/>
                        <a:pt x="719" y="607"/>
                      </a:cubicBezTo>
                      <a:cubicBezTo>
                        <a:pt x="733" y="607"/>
                        <a:pt x="750" y="585"/>
                        <a:pt x="750" y="585"/>
                      </a:cubicBezTo>
                      <a:cubicBezTo>
                        <a:pt x="778" y="572"/>
                        <a:pt x="778" y="572"/>
                        <a:pt x="778" y="572"/>
                      </a:cubicBezTo>
                      <a:cubicBezTo>
                        <a:pt x="785" y="580"/>
                        <a:pt x="785" y="580"/>
                        <a:pt x="785" y="580"/>
                      </a:cubicBezTo>
                      <a:cubicBezTo>
                        <a:pt x="765" y="582"/>
                        <a:pt x="765" y="582"/>
                        <a:pt x="765" y="582"/>
                      </a:cubicBezTo>
                      <a:cubicBezTo>
                        <a:pt x="765" y="582"/>
                        <a:pt x="751" y="596"/>
                        <a:pt x="762" y="596"/>
                      </a:cubicBezTo>
                      <a:cubicBezTo>
                        <a:pt x="773" y="596"/>
                        <a:pt x="819" y="583"/>
                        <a:pt x="819" y="583"/>
                      </a:cubicBezTo>
                      <a:cubicBezTo>
                        <a:pt x="847" y="571"/>
                        <a:pt x="847" y="571"/>
                        <a:pt x="847" y="571"/>
                      </a:cubicBezTo>
                      <a:cubicBezTo>
                        <a:pt x="815" y="588"/>
                        <a:pt x="815" y="588"/>
                        <a:pt x="815" y="588"/>
                      </a:cubicBezTo>
                      <a:cubicBezTo>
                        <a:pt x="815" y="598"/>
                        <a:pt x="815" y="598"/>
                        <a:pt x="815" y="598"/>
                      </a:cubicBezTo>
                      <a:cubicBezTo>
                        <a:pt x="815" y="598"/>
                        <a:pt x="797" y="599"/>
                        <a:pt x="786" y="603"/>
                      </a:cubicBezTo>
                      <a:cubicBezTo>
                        <a:pt x="775" y="607"/>
                        <a:pt x="767" y="620"/>
                        <a:pt x="767" y="620"/>
                      </a:cubicBezTo>
                      <a:cubicBezTo>
                        <a:pt x="747" y="622"/>
                        <a:pt x="747" y="622"/>
                        <a:pt x="747" y="622"/>
                      </a:cubicBezTo>
                      <a:cubicBezTo>
                        <a:pt x="723" y="642"/>
                        <a:pt x="723" y="642"/>
                        <a:pt x="723" y="642"/>
                      </a:cubicBezTo>
                      <a:cubicBezTo>
                        <a:pt x="724" y="651"/>
                        <a:pt x="724" y="651"/>
                        <a:pt x="724" y="651"/>
                      </a:cubicBezTo>
                      <a:cubicBezTo>
                        <a:pt x="697" y="654"/>
                        <a:pt x="697" y="654"/>
                        <a:pt x="697" y="654"/>
                      </a:cubicBezTo>
                      <a:cubicBezTo>
                        <a:pt x="697" y="654"/>
                        <a:pt x="652" y="663"/>
                        <a:pt x="647" y="670"/>
                      </a:cubicBezTo>
                      <a:cubicBezTo>
                        <a:pt x="642" y="677"/>
                        <a:pt x="645" y="691"/>
                        <a:pt x="636" y="691"/>
                      </a:cubicBezTo>
                      <a:cubicBezTo>
                        <a:pt x="627" y="691"/>
                        <a:pt x="600" y="691"/>
                        <a:pt x="584" y="693"/>
                      </a:cubicBezTo>
                      <a:cubicBezTo>
                        <a:pt x="568" y="695"/>
                        <a:pt x="515" y="734"/>
                        <a:pt x="515" y="734"/>
                      </a:cubicBezTo>
                      <a:cubicBezTo>
                        <a:pt x="500" y="737"/>
                        <a:pt x="500" y="737"/>
                        <a:pt x="500" y="737"/>
                      </a:cubicBezTo>
                      <a:cubicBezTo>
                        <a:pt x="491" y="747"/>
                        <a:pt x="491" y="747"/>
                        <a:pt x="491" y="747"/>
                      </a:cubicBezTo>
                      <a:cubicBezTo>
                        <a:pt x="490" y="736"/>
                        <a:pt x="490" y="736"/>
                        <a:pt x="490" y="736"/>
                      </a:cubicBezTo>
                      <a:cubicBezTo>
                        <a:pt x="490" y="736"/>
                        <a:pt x="458" y="732"/>
                        <a:pt x="447" y="738"/>
                      </a:cubicBezTo>
                      <a:cubicBezTo>
                        <a:pt x="436" y="744"/>
                        <a:pt x="412" y="754"/>
                        <a:pt x="412" y="754"/>
                      </a:cubicBezTo>
                      <a:cubicBezTo>
                        <a:pt x="403" y="752"/>
                        <a:pt x="403" y="752"/>
                        <a:pt x="403" y="752"/>
                      </a:cubicBezTo>
                      <a:cubicBezTo>
                        <a:pt x="404" y="760"/>
                        <a:pt x="404" y="760"/>
                        <a:pt x="404" y="760"/>
                      </a:cubicBezTo>
                      <a:cubicBezTo>
                        <a:pt x="385" y="763"/>
                        <a:pt x="385" y="763"/>
                        <a:pt x="385" y="763"/>
                      </a:cubicBezTo>
                      <a:cubicBezTo>
                        <a:pt x="378" y="769"/>
                        <a:pt x="378" y="769"/>
                        <a:pt x="378" y="769"/>
                      </a:cubicBezTo>
                      <a:cubicBezTo>
                        <a:pt x="362" y="767"/>
                        <a:pt x="362" y="767"/>
                        <a:pt x="362" y="767"/>
                      </a:cubicBezTo>
                      <a:cubicBezTo>
                        <a:pt x="345" y="782"/>
                        <a:pt x="345" y="782"/>
                        <a:pt x="345" y="782"/>
                      </a:cubicBezTo>
                      <a:cubicBezTo>
                        <a:pt x="350" y="788"/>
                        <a:pt x="350" y="788"/>
                        <a:pt x="350" y="788"/>
                      </a:cubicBezTo>
                      <a:cubicBezTo>
                        <a:pt x="360" y="776"/>
                        <a:pt x="360" y="776"/>
                        <a:pt x="360" y="776"/>
                      </a:cubicBezTo>
                      <a:cubicBezTo>
                        <a:pt x="373" y="783"/>
                        <a:pt x="373" y="783"/>
                        <a:pt x="373" y="783"/>
                      </a:cubicBezTo>
                      <a:cubicBezTo>
                        <a:pt x="387" y="771"/>
                        <a:pt x="387" y="771"/>
                        <a:pt x="387" y="771"/>
                      </a:cubicBezTo>
                      <a:cubicBezTo>
                        <a:pt x="388" y="779"/>
                        <a:pt x="388" y="779"/>
                        <a:pt x="388" y="779"/>
                      </a:cubicBezTo>
                      <a:cubicBezTo>
                        <a:pt x="388" y="779"/>
                        <a:pt x="409" y="778"/>
                        <a:pt x="417" y="771"/>
                      </a:cubicBezTo>
                      <a:cubicBezTo>
                        <a:pt x="425" y="764"/>
                        <a:pt x="441" y="750"/>
                        <a:pt x="450" y="748"/>
                      </a:cubicBezTo>
                      <a:cubicBezTo>
                        <a:pt x="459" y="746"/>
                        <a:pt x="451" y="762"/>
                        <a:pt x="464" y="762"/>
                      </a:cubicBezTo>
                      <a:cubicBezTo>
                        <a:pt x="477" y="762"/>
                        <a:pt x="514" y="746"/>
                        <a:pt x="514" y="746"/>
                      </a:cubicBezTo>
                      <a:cubicBezTo>
                        <a:pt x="536" y="752"/>
                        <a:pt x="536" y="752"/>
                        <a:pt x="536" y="752"/>
                      </a:cubicBezTo>
                      <a:cubicBezTo>
                        <a:pt x="548" y="740"/>
                        <a:pt x="548" y="740"/>
                        <a:pt x="548" y="740"/>
                      </a:cubicBezTo>
                      <a:cubicBezTo>
                        <a:pt x="548" y="740"/>
                        <a:pt x="585" y="738"/>
                        <a:pt x="596" y="729"/>
                      </a:cubicBezTo>
                      <a:cubicBezTo>
                        <a:pt x="607" y="720"/>
                        <a:pt x="619" y="706"/>
                        <a:pt x="628" y="705"/>
                      </a:cubicBezTo>
                      <a:cubicBezTo>
                        <a:pt x="637" y="704"/>
                        <a:pt x="649" y="704"/>
                        <a:pt x="649" y="704"/>
                      </a:cubicBezTo>
                      <a:cubicBezTo>
                        <a:pt x="653" y="697"/>
                        <a:pt x="653" y="697"/>
                        <a:pt x="653" y="697"/>
                      </a:cubicBezTo>
                      <a:cubicBezTo>
                        <a:pt x="677" y="697"/>
                        <a:pt x="677" y="697"/>
                        <a:pt x="677" y="697"/>
                      </a:cubicBezTo>
                      <a:cubicBezTo>
                        <a:pt x="684" y="691"/>
                        <a:pt x="684" y="691"/>
                        <a:pt x="684" y="691"/>
                      </a:cubicBezTo>
                      <a:cubicBezTo>
                        <a:pt x="684" y="691"/>
                        <a:pt x="717" y="684"/>
                        <a:pt x="732" y="677"/>
                      </a:cubicBezTo>
                      <a:cubicBezTo>
                        <a:pt x="747" y="670"/>
                        <a:pt x="762" y="656"/>
                        <a:pt x="762" y="656"/>
                      </a:cubicBezTo>
                      <a:cubicBezTo>
                        <a:pt x="803" y="650"/>
                        <a:pt x="803" y="650"/>
                        <a:pt x="803" y="650"/>
                      </a:cubicBezTo>
                      <a:cubicBezTo>
                        <a:pt x="841" y="628"/>
                        <a:pt x="841" y="628"/>
                        <a:pt x="841" y="628"/>
                      </a:cubicBezTo>
                      <a:cubicBezTo>
                        <a:pt x="841" y="628"/>
                        <a:pt x="885" y="627"/>
                        <a:pt x="892" y="620"/>
                      </a:cubicBezTo>
                      <a:cubicBezTo>
                        <a:pt x="899" y="613"/>
                        <a:pt x="912" y="601"/>
                        <a:pt x="912" y="601"/>
                      </a:cubicBezTo>
                      <a:cubicBezTo>
                        <a:pt x="912" y="601"/>
                        <a:pt x="954" y="594"/>
                        <a:pt x="958" y="586"/>
                      </a:cubicBezTo>
                      <a:cubicBezTo>
                        <a:pt x="962" y="578"/>
                        <a:pt x="947" y="578"/>
                        <a:pt x="947" y="578"/>
                      </a:cubicBezTo>
                      <a:cubicBezTo>
                        <a:pt x="947" y="578"/>
                        <a:pt x="970" y="562"/>
                        <a:pt x="979" y="557"/>
                      </a:cubicBezTo>
                      <a:cubicBezTo>
                        <a:pt x="988" y="552"/>
                        <a:pt x="1015" y="545"/>
                        <a:pt x="1015" y="545"/>
                      </a:cubicBezTo>
                      <a:cubicBezTo>
                        <a:pt x="1066" y="526"/>
                        <a:pt x="1066" y="526"/>
                        <a:pt x="1066" y="526"/>
                      </a:cubicBezTo>
                      <a:cubicBezTo>
                        <a:pt x="1060" y="513"/>
                        <a:pt x="1060" y="513"/>
                        <a:pt x="1060" y="513"/>
                      </a:cubicBezTo>
                      <a:cubicBezTo>
                        <a:pt x="1060" y="513"/>
                        <a:pt x="1083" y="519"/>
                        <a:pt x="1090" y="514"/>
                      </a:cubicBezTo>
                      <a:cubicBezTo>
                        <a:pt x="1097" y="509"/>
                        <a:pt x="1130" y="494"/>
                        <a:pt x="1130" y="494"/>
                      </a:cubicBezTo>
                      <a:cubicBezTo>
                        <a:pt x="1130" y="494"/>
                        <a:pt x="1188" y="470"/>
                        <a:pt x="1196" y="467"/>
                      </a:cubicBezTo>
                      <a:cubicBezTo>
                        <a:pt x="1204" y="464"/>
                        <a:pt x="1234" y="485"/>
                        <a:pt x="1234" y="485"/>
                      </a:cubicBezTo>
                      <a:cubicBezTo>
                        <a:pt x="1210" y="485"/>
                        <a:pt x="1210" y="485"/>
                        <a:pt x="1210" y="485"/>
                      </a:cubicBezTo>
                      <a:cubicBezTo>
                        <a:pt x="1197" y="477"/>
                        <a:pt x="1197" y="477"/>
                        <a:pt x="1197" y="477"/>
                      </a:cubicBezTo>
                      <a:cubicBezTo>
                        <a:pt x="1174" y="493"/>
                        <a:pt x="1174" y="493"/>
                        <a:pt x="1174" y="493"/>
                      </a:cubicBezTo>
                      <a:cubicBezTo>
                        <a:pt x="1151" y="493"/>
                        <a:pt x="1151" y="493"/>
                        <a:pt x="1151" y="493"/>
                      </a:cubicBezTo>
                      <a:cubicBezTo>
                        <a:pt x="1151" y="493"/>
                        <a:pt x="1128" y="515"/>
                        <a:pt x="1119" y="518"/>
                      </a:cubicBezTo>
                      <a:cubicBezTo>
                        <a:pt x="1110" y="521"/>
                        <a:pt x="1071" y="527"/>
                        <a:pt x="1075" y="536"/>
                      </a:cubicBezTo>
                      <a:cubicBezTo>
                        <a:pt x="1079" y="545"/>
                        <a:pt x="1099" y="544"/>
                        <a:pt x="1099" y="544"/>
                      </a:cubicBezTo>
                      <a:cubicBezTo>
                        <a:pt x="1099" y="544"/>
                        <a:pt x="1079" y="552"/>
                        <a:pt x="1075" y="552"/>
                      </a:cubicBezTo>
                      <a:cubicBezTo>
                        <a:pt x="1071" y="552"/>
                        <a:pt x="1042" y="551"/>
                        <a:pt x="1042" y="557"/>
                      </a:cubicBezTo>
                      <a:cubicBezTo>
                        <a:pt x="1042" y="563"/>
                        <a:pt x="1045" y="576"/>
                        <a:pt x="1065" y="568"/>
                      </a:cubicBezTo>
                      <a:cubicBezTo>
                        <a:pt x="1085" y="560"/>
                        <a:pt x="1129" y="536"/>
                        <a:pt x="1147" y="532"/>
                      </a:cubicBezTo>
                      <a:cubicBezTo>
                        <a:pt x="1165" y="528"/>
                        <a:pt x="1197" y="537"/>
                        <a:pt x="1211" y="530"/>
                      </a:cubicBezTo>
                      <a:cubicBezTo>
                        <a:pt x="1225" y="523"/>
                        <a:pt x="1247" y="502"/>
                        <a:pt x="1247" y="502"/>
                      </a:cubicBezTo>
                      <a:cubicBezTo>
                        <a:pt x="1245" y="492"/>
                        <a:pt x="1245" y="492"/>
                        <a:pt x="1245" y="492"/>
                      </a:cubicBezTo>
                      <a:cubicBezTo>
                        <a:pt x="1245" y="492"/>
                        <a:pt x="1299" y="471"/>
                        <a:pt x="1309" y="472"/>
                      </a:cubicBezTo>
                      <a:cubicBezTo>
                        <a:pt x="1319" y="473"/>
                        <a:pt x="1322" y="483"/>
                        <a:pt x="1322" y="483"/>
                      </a:cubicBezTo>
                      <a:cubicBezTo>
                        <a:pt x="1364" y="470"/>
                        <a:pt x="1364" y="470"/>
                        <a:pt x="1364" y="470"/>
                      </a:cubicBezTo>
                      <a:cubicBezTo>
                        <a:pt x="1336" y="492"/>
                        <a:pt x="1336" y="492"/>
                        <a:pt x="1336" y="492"/>
                      </a:cubicBezTo>
                      <a:cubicBezTo>
                        <a:pt x="1350" y="498"/>
                        <a:pt x="1350" y="498"/>
                        <a:pt x="1350" y="498"/>
                      </a:cubicBezTo>
                      <a:cubicBezTo>
                        <a:pt x="1350" y="498"/>
                        <a:pt x="1346" y="510"/>
                        <a:pt x="1350" y="510"/>
                      </a:cubicBezTo>
                      <a:cubicBezTo>
                        <a:pt x="1354" y="510"/>
                        <a:pt x="1395" y="485"/>
                        <a:pt x="1395" y="485"/>
                      </a:cubicBezTo>
                      <a:cubicBezTo>
                        <a:pt x="1395" y="485"/>
                        <a:pt x="1356" y="515"/>
                        <a:pt x="1367" y="520"/>
                      </a:cubicBezTo>
                      <a:cubicBezTo>
                        <a:pt x="1378" y="525"/>
                        <a:pt x="1406" y="526"/>
                        <a:pt x="1406" y="526"/>
                      </a:cubicBezTo>
                      <a:cubicBezTo>
                        <a:pt x="1472" y="532"/>
                        <a:pt x="1472" y="532"/>
                        <a:pt x="1472" y="532"/>
                      </a:cubicBezTo>
                      <a:cubicBezTo>
                        <a:pt x="1493" y="519"/>
                        <a:pt x="1493" y="519"/>
                        <a:pt x="1493" y="519"/>
                      </a:cubicBezTo>
                      <a:cubicBezTo>
                        <a:pt x="1493" y="519"/>
                        <a:pt x="1480" y="541"/>
                        <a:pt x="1491" y="542"/>
                      </a:cubicBezTo>
                      <a:cubicBezTo>
                        <a:pt x="1502" y="543"/>
                        <a:pt x="1534" y="541"/>
                        <a:pt x="1534" y="541"/>
                      </a:cubicBezTo>
                      <a:cubicBezTo>
                        <a:pt x="1556" y="535"/>
                        <a:pt x="1556" y="535"/>
                        <a:pt x="1556" y="535"/>
                      </a:cubicBezTo>
                      <a:cubicBezTo>
                        <a:pt x="1556" y="535"/>
                        <a:pt x="1517" y="549"/>
                        <a:pt x="1520" y="557"/>
                      </a:cubicBezTo>
                      <a:cubicBezTo>
                        <a:pt x="1523" y="565"/>
                        <a:pt x="1541" y="573"/>
                        <a:pt x="1541" y="573"/>
                      </a:cubicBezTo>
                      <a:cubicBezTo>
                        <a:pt x="1541" y="573"/>
                        <a:pt x="1539" y="609"/>
                        <a:pt x="1551" y="609"/>
                      </a:cubicBezTo>
                      <a:cubicBezTo>
                        <a:pt x="1563" y="609"/>
                        <a:pt x="1594" y="606"/>
                        <a:pt x="1594" y="606"/>
                      </a:cubicBezTo>
                      <a:cubicBezTo>
                        <a:pt x="1587" y="585"/>
                        <a:pt x="1587" y="585"/>
                        <a:pt x="1587" y="585"/>
                      </a:cubicBezTo>
                      <a:cubicBezTo>
                        <a:pt x="1601" y="580"/>
                        <a:pt x="1601" y="580"/>
                        <a:pt x="1601" y="580"/>
                      </a:cubicBezTo>
                      <a:cubicBezTo>
                        <a:pt x="1610" y="591"/>
                        <a:pt x="1610" y="591"/>
                        <a:pt x="1610" y="591"/>
                      </a:cubicBezTo>
                      <a:cubicBezTo>
                        <a:pt x="1630" y="585"/>
                        <a:pt x="1630" y="585"/>
                        <a:pt x="1630" y="585"/>
                      </a:cubicBezTo>
                      <a:cubicBezTo>
                        <a:pt x="1630" y="585"/>
                        <a:pt x="1610" y="608"/>
                        <a:pt x="1621" y="612"/>
                      </a:cubicBezTo>
                      <a:cubicBezTo>
                        <a:pt x="1632" y="616"/>
                        <a:pt x="1650" y="586"/>
                        <a:pt x="1650" y="586"/>
                      </a:cubicBezTo>
                      <a:cubicBezTo>
                        <a:pt x="1670" y="557"/>
                        <a:pt x="1670" y="557"/>
                        <a:pt x="1670" y="557"/>
                      </a:cubicBezTo>
                      <a:cubicBezTo>
                        <a:pt x="1652" y="599"/>
                        <a:pt x="1652" y="599"/>
                        <a:pt x="1652" y="599"/>
                      </a:cubicBezTo>
                      <a:cubicBezTo>
                        <a:pt x="1656" y="615"/>
                        <a:pt x="1656" y="615"/>
                        <a:pt x="1656" y="615"/>
                      </a:cubicBezTo>
                      <a:cubicBezTo>
                        <a:pt x="1679" y="607"/>
                        <a:pt x="1679" y="607"/>
                        <a:pt x="1679" y="607"/>
                      </a:cubicBezTo>
                      <a:cubicBezTo>
                        <a:pt x="1664" y="623"/>
                        <a:pt x="1664" y="623"/>
                        <a:pt x="1664" y="623"/>
                      </a:cubicBezTo>
                      <a:cubicBezTo>
                        <a:pt x="1681" y="638"/>
                        <a:pt x="1681" y="638"/>
                        <a:pt x="1681" y="638"/>
                      </a:cubicBezTo>
                      <a:cubicBezTo>
                        <a:pt x="1669" y="635"/>
                        <a:pt x="1669" y="635"/>
                        <a:pt x="1669" y="635"/>
                      </a:cubicBezTo>
                      <a:cubicBezTo>
                        <a:pt x="1667" y="647"/>
                        <a:pt x="1667" y="647"/>
                        <a:pt x="1667" y="647"/>
                      </a:cubicBezTo>
                      <a:cubicBezTo>
                        <a:pt x="1648" y="660"/>
                        <a:pt x="1648" y="660"/>
                        <a:pt x="1648" y="660"/>
                      </a:cubicBezTo>
                      <a:cubicBezTo>
                        <a:pt x="1636" y="670"/>
                        <a:pt x="1636" y="670"/>
                        <a:pt x="1636" y="670"/>
                      </a:cubicBezTo>
                      <a:cubicBezTo>
                        <a:pt x="1657" y="681"/>
                        <a:pt x="1657" y="681"/>
                        <a:pt x="1657" y="681"/>
                      </a:cubicBezTo>
                      <a:cubicBezTo>
                        <a:pt x="1654" y="702"/>
                        <a:pt x="1654" y="702"/>
                        <a:pt x="1654" y="702"/>
                      </a:cubicBezTo>
                      <a:cubicBezTo>
                        <a:pt x="1642" y="714"/>
                        <a:pt x="1642" y="714"/>
                        <a:pt x="1642" y="714"/>
                      </a:cubicBezTo>
                      <a:cubicBezTo>
                        <a:pt x="1654" y="719"/>
                        <a:pt x="1654" y="719"/>
                        <a:pt x="1654" y="719"/>
                      </a:cubicBezTo>
                      <a:cubicBezTo>
                        <a:pt x="1639" y="733"/>
                        <a:pt x="1639" y="733"/>
                        <a:pt x="1639" y="733"/>
                      </a:cubicBezTo>
                      <a:cubicBezTo>
                        <a:pt x="1660" y="733"/>
                        <a:pt x="1660" y="733"/>
                        <a:pt x="1660" y="733"/>
                      </a:cubicBezTo>
                      <a:cubicBezTo>
                        <a:pt x="1685" y="724"/>
                        <a:pt x="1685" y="724"/>
                        <a:pt x="1685" y="724"/>
                      </a:cubicBezTo>
                      <a:cubicBezTo>
                        <a:pt x="1663" y="750"/>
                        <a:pt x="1663" y="750"/>
                        <a:pt x="1663" y="750"/>
                      </a:cubicBezTo>
                      <a:cubicBezTo>
                        <a:pt x="1652" y="760"/>
                        <a:pt x="1652" y="760"/>
                        <a:pt x="1652" y="760"/>
                      </a:cubicBezTo>
                      <a:cubicBezTo>
                        <a:pt x="1667" y="765"/>
                        <a:pt x="1667" y="765"/>
                        <a:pt x="1667" y="765"/>
                      </a:cubicBezTo>
                      <a:cubicBezTo>
                        <a:pt x="1637" y="777"/>
                        <a:pt x="1637" y="777"/>
                        <a:pt x="1637" y="777"/>
                      </a:cubicBezTo>
                      <a:cubicBezTo>
                        <a:pt x="1623" y="785"/>
                        <a:pt x="1623" y="785"/>
                        <a:pt x="1623" y="785"/>
                      </a:cubicBezTo>
                      <a:cubicBezTo>
                        <a:pt x="1637" y="791"/>
                        <a:pt x="1637" y="791"/>
                        <a:pt x="1637" y="791"/>
                      </a:cubicBezTo>
                      <a:cubicBezTo>
                        <a:pt x="1637" y="791"/>
                        <a:pt x="1636" y="794"/>
                        <a:pt x="1634" y="798"/>
                      </a:cubicBezTo>
                      <a:cubicBezTo>
                        <a:pt x="1655" y="788"/>
                        <a:pt x="1676" y="777"/>
                        <a:pt x="1680" y="773"/>
                      </a:cubicBezTo>
                      <a:cubicBezTo>
                        <a:pt x="1690" y="763"/>
                        <a:pt x="1690" y="747"/>
                        <a:pt x="1690" y="747"/>
                      </a:cubicBezTo>
                      <a:cubicBezTo>
                        <a:pt x="1690" y="747"/>
                        <a:pt x="1717" y="736"/>
                        <a:pt x="1717" y="728"/>
                      </a:cubicBezTo>
                      <a:cubicBezTo>
                        <a:pt x="1717" y="720"/>
                        <a:pt x="1707" y="721"/>
                        <a:pt x="1707" y="721"/>
                      </a:cubicBezTo>
                      <a:close/>
                      <a:moveTo>
                        <a:pt x="1598" y="704"/>
                      </a:moveTo>
                      <a:cubicBezTo>
                        <a:pt x="1604" y="718"/>
                        <a:pt x="1624" y="696"/>
                        <a:pt x="1624" y="696"/>
                      </a:cubicBezTo>
                      <a:cubicBezTo>
                        <a:pt x="1639" y="692"/>
                        <a:pt x="1639" y="692"/>
                        <a:pt x="1639" y="692"/>
                      </a:cubicBezTo>
                      <a:cubicBezTo>
                        <a:pt x="1638" y="682"/>
                        <a:pt x="1638" y="682"/>
                        <a:pt x="1638" y="682"/>
                      </a:cubicBezTo>
                      <a:cubicBezTo>
                        <a:pt x="1620" y="679"/>
                        <a:pt x="1620" y="679"/>
                        <a:pt x="1620" y="679"/>
                      </a:cubicBezTo>
                      <a:cubicBezTo>
                        <a:pt x="1620" y="679"/>
                        <a:pt x="1595" y="697"/>
                        <a:pt x="1598" y="704"/>
                      </a:cubicBezTo>
                      <a:close/>
                      <a:moveTo>
                        <a:pt x="1583" y="656"/>
                      </a:moveTo>
                      <a:cubicBezTo>
                        <a:pt x="1576" y="653"/>
                        <a:pt x="1559" y="664"/>
                        <a:pt x="1558" y="670"/>
                      </a:cubicBezTo>
                      <a:cubicBezTo>
                        <a:pt x="1557" y="676"/>
                        <a:pt x="1550" y="689"/>
                        <a:pt x="1550" y="689"/>
                      </a:cubicBezTo>
                      <a:cubicBezTo>
                        <a:pt x="1549" y="698"/>
                        <a:pt x="1549" y="698"/>
                        <a:pt x="1549" y="698"/>
                      </a:cubicBezTo>
                      <a:cubicBezTo>
                        <a:pt x="1549" y="698"/>
                        <a:pt x="1541" y="702"/>
                        <a:pt x="1540" y="709"/>
                      </a:cubicBezTo>
                      <a:cubicBezTo>
                        <a:pt x="1539" y="716"/>
                        <a:pt x="1546" y="720"/>
                        <a:pt x="1546" y="720"/>
                      </a:cubicBezTo>
                      <a:cubicBezTo>
                        <a:pt x="1546" y="720"/>
                        <a:pt x="1559" y="700"/>
                        <a:pt x="1576" y="687"/>
                      </a:cubicBezTo>
                      <a:cubicBezTo>
                        <a:pt x="1593" y="674"/>
                        <a:pt x="1590" y="659"/>
                        <a:pt x="1583" y="656"/>
                      </a:cubicBezTo>
                      <a:close/>
                      <a:moveTo>
                        <a:pt x="525" y="542"/>
                      </a:moveTo>
                      <a:cubicBezTo>
                        <a:pt x="547" y="540"/>
                        <a:pt x="594" y="519"/>
                        <a:pt x="578" y="515"/>
                      </a:cubicBezTo>
                      <a:cubicBezTo>
                        <a:pt x="561" y="510"/>
                        <a:pt x="539" y="507"/>
                        <a:pt x="533" y="513"/>
                      </a:cubicBezTo>
                      <a:cubicBezTo>
                        <a:pt x="527" y="519"/>
                        <a:pt x="514" y="506"/>
                        <a:pt x="510" y="517"/>
                      </a:cubicBezTo>
                      <a:cubicBezTo>
                        <a:pt x="507" y="528"/>
                        <a:pt x="513" y="543"/>
                        <a:pt x="525" y="542"/>
                      </a:cubicBezTo>
                      <a:close/>
                      <a:moveTo>
                        <a:pt x="0" y="886"/>
                      </a:moveTo>
                      <a:cubicBezTo>
                        <a:pt x="41" y="880"/>
                        <a:pt x="41" y="880"/>
                        <a:pt x="41" y="880"/>
                      </a:cubicBezTo>
                      <a:cubicBezTo>
                        <a:pt x="49" y="869"/>
                        <a:pt x="49" y="869"/>
                        <a:pt x="49" y="869"/>
                      </a:cubicBezTo>
                      <a:cubicBezTo>
                        <a:pt x="90" y="863"/>
                        <a:pt x="90" y="863"/>
                        <a:pt x="90" y="863"/>
                      </a:cubicBezTo>
                      <a:cubicBezTo>
                        <a:pt x="76" y="849"/>
                        <a:pt x="76" y="849"/>
                        <a:pt x="76" y="849"/>
                      </a:cubicBezTo>
                      <a:lnTo>
                        <a:pt x="0" y="886"/>
                      </a:lnTo>
                      <a:close/>
                      <a:moveTo>
                        <a:pt x="908" y="635"/>
                      </a:moveTo>
                      <a:cubicBezTo>
                        <a:pt x="905" y="636"/>
                        <a:pt x="892" y="641"/>
                        <a:pt x="892" y="641"/>
                      </a:cubicBezTo>
                      <a:cubicBezTo>
                        <a:pt x="892" y="641"/>
                        <a:pt x="884" y="634"/>
                        <a:pt x="879" y="635"/>
                      </a:cubicBezTo>
                      <a:cubicBezTo>
                        <a:pt x="874" y="636"/>
                        <a:pt x="875" y="651"/>
                        <a:pt x="875" y="651"/>
                      </a:cubicBezTo>
                      <a:cubicBezTo>
                        <a:pt x="859" y="663"/>
                        <a:pt x="859" y="663"/>
                        <a:pt x="859" y="663"/>
                      </a:cubicBezTo>
                      <a:cubicBezTo>
                        <a:pt x="859" y="646"/>
                        <a:pt x="859" y="646"/>
                        <a:pt x="859" y="646"/>
                      </a:cubicBezTo>
                      <a:cubicBezTo>
                        <a:pt x="859" y="646"/>
                        <a:pt x="845" y="641"/>
                        <a:pt x="831" y="654"/>
                      </a:cubicBezTo>
                      <a:cubicBezTo>
                        <a:pt x="831" y="654"/>
                        <a:pt x="814" y="665"/>
                        <a:pt x="811" y="672"/>
                      </a:cubicBezTo>
                      <a:cubicBezTo>
                        <a:pt x="809" y="680"/>
                        <a:pt x="831" y="681"/>
                        <a:pt x="831" y="681"/>
                      </a:cubicBezTo>
                      <a:cubicBezTo>
                        <a:pt x="831" y="681"/>
                        <a:pt x="861" y="681"/>
                        <a:pt x="872" y="676"/>
                      </a:cubicBezTo>
                      <a:cubicBezTo>
                        <a:pt x="884" y="671"/>
                        <a:pt x="881" y="664"/>
                        <a:pt x="881" y="664"/>
                      </a:cubicBezTo>
                      <a:cubicBezTo>
                        <a:pt x="899" y="661"/>
                        <a:pt x="899" y="661"/>
                        <a:pt x="899" y="661"/>
                      </a:cubicBezTo>
                      <a:cubicBezTo>
                        <a:pt x="900" y="655"/>
                        <a:pt x="900" y="655"/>
                        <a:pt x="900" y="655"/>
                      </a:cubicBezTo>
                      <a:cubicBezTo>
                        <a:pt x="925" y="654"/>
                        <a:pt x="925" y="654"/>
                        <a:pt x="925" y="654"/>
                      </a:cubicBezTo>
                      <a:cubicBezTo>
                        <a:pt x="931" y="638"/>
                        <a:pt x="931" y="638"/>
                        <a:pt x="931" y="638"/>
                      </a:cubicBezTo>
                      <a:cubicBezTo>
                        <a:pt x="920" y="640"/>
                        <a:pt x="920" y="640"/>
                        <a:pt x="920" y="640"/>
                      </a:cubicBezTo>
                      <a:cubicBezTo>
                        <a:pt x="920" y="640"/>
                        <a:pt x="912" y="634"/>
                        <a:pt x="908" y="635"/>
                      </a:cubicBezTo>
                      <a:close/>
                      <a:moveTo>
                        <a:pt x="107" y="860"/>
                      </a:moveTo>
                      <a:cubicBezTo>
                        <a:pt x="135" y="859"/>
                        <a:pt x="135" y="859"/>
                        <a:pt x="135" y="859"/>
                      </a:cubicBezTo>
                      <a:cubicBezTo>
                        <a:pt x="161" y="840"/>
                        <a:pt x="161" y="840"/>
                        <a:pt x="161" y="840"/>
                      </a:cubicBezTo>
                      <a:cubicBezTo>
                        <a:pt x="152" y="829"/>
                        <a:pt x="152" y="829"/>
                        <a:pt x="152" y="829"/>
                      </a:cubicBezTo>
                      <a:lnTo>
                        <a:pt x="107" y="860"/>
                      </a:lnTo>
                      <a:close/>
                      <a:moveTo>
                        <a:pt x="1646" y="762"/>
                      </a:moveTo>
                      <a:cubicBezTo>
                        <a:pt x="1652" y="749"/>
                        <a:pt x="1637" y="734"/>
                        <a:pt x="1627" y="744"/>
                      </a:cubicBezTo>
                      <a:cubicBezTo>
                        <a:pt x="1617" y="754"/>
                        <a:pt x="1611" y="784"/>
                        <a:pt x="1611" y="784"/>
                      </a:cubicBezTo>
                      <a:cubicBezTo>
                        <a:pt x="1611" y="784"/>
                        <a:pt x="1624" y="773"/>
                        <a:pt x="1629" y="773"/>
                      </a:cubicBezTo>
                      <a:cubicBezTo>
                        <a:pt x="1634" y="773"/>
                        <a:pt x="1640" y="775"/>
                        <a:pt x="1646" y="762"/>
                      </a:cubicBezTo>
                      <a:close/>
                      <a:moveTo>
                        <a:pt x="953" y="609"/>
                      </a:moveTo>
                      <a:cubicBezTo>
                        <a:pt x="940" y="618"/>
                        <a:pt x="916" y="623"/>
                        <a:pt x="923" y="630"/>
                      </a:cubicBezTo>
                      <a:cubicBezTo>
                        <a:pt x="934" y="641"/>
                        <a:pt x="959" y="629"/>
                        <a:pt x="959" y="629"/>
                      </a:cubicBezTo>
                      <a:cubicBezTo>
                        <a:pt x="966" y="620"/>
                        <a:pt x="966" y="620"/>
                        <a:pt x="966" y="620"/>
                      </a:cubicBezTo>
                      <a:cubicBezTo>
                        <a:pt x="966" y="620"/>
                        <a:pt x="982" y="624"/>
                        <a:pt x="979" y="618"/>
                      </a:cubicBezTo>
                      <a:cubicBezTo>
                        <a:pt x="977" y="612"/>
                        <a:pt x="967" y="600"/>
                        <a:pt x="953" y="609"/>
                      </a:cubicBezTo>
                      <a:close/>
                      <a:moveTo>
                        <a:pt x="331" y="777"/>
                      </a:moveTo>
                      <a:cubicBezTo>
                        <a:pt x="319" y="777"/>
                        <a:pt x="290" y="788"/>
                        <a:pt x="290" y="788"/>
                      </a:cubicBezTo>
                      <a:cubicBezTo>
                        <a:pt x="290" y="788"/>
                        <a:pt x="253" y="802"/>
                        <a:pt x="254" y="809"/>
                      </a:cubicBezTo>
                      <a:cubicBezTo>
                        <a:pt x="256" y="818"/>
                        <a:pt x="270" y="812"/>
                        <a:pt x="289" y="806"/>
                      </a:cubicBezTo>
                      <a:cubicBezTo>
                        <a:pt x="308" y="799"/>
                        <a:pt x="328" y="809"/>
                        <a:pt x="335" y="803"/>
                      </a:cubicBezTo>
                      <a:cubicBezTo>
                        <a:pt x="342" y="797"/>
                        <a:pt x="344" y="777"/>
                        <a:pt x="331" y="777"/>
                      </a:cubicBezTo>
                      <a:close/>
                      <a:moveTo>
                        <a:pt x="219" y="828"/>
                      </a:moveTo>
                      <a:cubicBezTo>
                        <a:pt x="221" y="814"/>
                        <a:pt x="221" y="814"/>
                        <a:pt x="221" y="814"/>
                      </a:cubicBezTo>
                      <a:cubicBezTo>
                        <a:pt x="184" y="829"/>
                        <a:pt x="184" y="829"/>
                        <a:pt x="184" y="829"/>
                      </a:cubicBezTo>
                      <a:lnTo>
                        <a:pt x="219" y="828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11" name="Europe and North America">
                <a:extLst>
                  <a:ext uri="{FF2B5EF4-FFF2-40B4-BE49-F238E27FC236}">
                    <a16:creationId xmlns:a16="http://schemas.microsoft.com/office/drawing/2014/main" id="{85490F2A-4E61-BFBE-5503-DABD5F9A9145}"/>
                  </a:ext>
                </a:extLst>
              </p:cNvPr>
              <p:cNvGrpSpPr/>
              <p:nvPr/>
            </p:nvGrpSpPr>
            <p:grpSpPr bwMode="gray">
              <a:xfrm>
                <a:off x="4187181" y="1387475"/>
                <a:ext cx="2724750" cy="1681765"/>
                <a:chOff x="4465059" y="1736728"/>
                <a:chExt cx="2118092" cy="1307497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120" name="United Kingdom">
                  <a:extLst>
                    <a:ext uri="{FF2B5EF4-FFF2-40B4-BE49-F238E27FC236}">
                      <a16:creationId xmlns:a16="http://schemas.microsoft.com/office/drawing/2014/main" id="{13242CD4-E1AA-9121-BFA5-321090CD0A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470122" y="2277816"/>
                  <a:ext cx="222289" cy="307833"/>
                </a:xfrm>
                <a:custGeom>
                  <a:avLst/>
                  <a:gdLst>
                    <a:gd name="T0" fmla="*/ 118 w 395"/>
                    <a:gd name="T1" fmla="*/ 256 h 549"/>
                    <a:gd name="T2" fmla="*/ 111 w 395"/>
                    <a:gd name="T3" fmla="*/ 221 h 549"/>
                    <a:gd name="T4" fmla="*/ 98 w 395"/>
                    <a:gd name="T5" fmla="*/ 248 h 549"/>
                    <a:gd name="T6" fmla="*/ 222 w 395"/>
                    <a:gd name="T7" fmla="*/ 93 h 549"/>
                    <a:gd name="T8" fmla="*/ 97 w 395"/>
                    <a:gd name="T9" fmla="*/ 159 h 549"/>
                    <a:gd name="T10" fmla="*/ 93 w 395"/>
                    <a:gd name="T11" fmla="*/ 183 h 549"/>
                    <a:gd name="T12" fmla="*/ 325 w 395"/>
                    <a:gd name="T13" fmla="*/ 1 h 549"/>
                    <a:gd name="T14" fmla="*/ 296 w 395"/>
                    <a:gd name="T15" fmla="*/ 36 h 549"/>
                    <a:gd name="T16" fmla="*/ 301 w 395"/>
                    <a:gd name="T17" fmla="*/ 12 h 549"/>
                    <a:gd name="T18" fmla="*/ 296 w 395"/>
                    <a:gd name="T19" fmla="*/ 36 h 549"/>
                    <a:gd name="T20" fmla="*/ 246 w 395"/>
                    <a:gd name="T21" fmla="*/ 96 h 549"/>
                    <a:gd name="T22" fmla="*/ 128 w 395"/>
                    <a:gd name="T23" fmla="*/ 258 h 549"/>
                    <a:gd name="T24" fmla="*/ 331 w 395"/>
                    <a:gd name="T25" fmla="*/ 402 h 549"/>
                    <a:gd name="T26" fmla="*/ 330 w 395"/>
                    <a:gd name="T27" fmla="*/ 357 h 549"/>
                    <a:gd name="T28" fmla="*/ 291 w 395"/>
                    <a:gd name="T29" fmla="*/ 314 h 549"/>
                    <a:gd name="T30" fmla="*/ 265 w 395"/>
                    <a:gd name="T31" fmla="*/ 261 h 549"/>
                    <a:gd name="T32" fmla="*/ 191 w 395"/>
                    <a:gd name="T33" fmla="*/ 235 h 549"/>
                    <a:gd name="T34" fmla="*/ 214 w 395"/>
                    <a:gd name="T35" fmla="*/ 222 h 549"/>
                    <a:gd name="T36" fmla="*/ 261 w 395"/>
                    <a:gd name="T37" fmla="*/ 177 h 549"/>
                    <a:gd name="T38" fmla="*/ 211 w 395"/>
                    <a:gd name="T39" fmla="*/ 154 h 549"/>
                    <a:gd name="T40" fmla="*/ 179 w 395"/>
                    <a:gd name="T41" fmla="*/ 147 h 549"/>
                    <a:gd name="T42" fmla="*/ 224 w 395"/>
                    <a:gd name="T43" fmla="*/ 112 h 549"/>
                    <a:gd name="T44" fmla="*/ 153 w 395"/>
                    <a:gd name="T45" fmla="*/ 110 h 549"/>
                    <a:gd name="T46" fmla="*/ 144 w 395"/>
                    <a:gd name="T47" fmla="*/ 148 h 549"/>
                    <a:gd name="T48" fmla="*/ 121 w 395"/>
                    <a:gd name="T49" fmla="*/ 162 h 549"/>
                    <a:gd name="T50" fmla="*/ 116 w 395"/>
                    <a:gd name="T51" fmla="*/ 198 h 549"/>
                    <a:gd name="T52" fmla="*/ 134 w 395"/>
                    <a:gd name="T53" fmla="*/ 202 h 549"/>
                    <a:gd name="T54" fmla="*/ 116 w 395"/>
                    <a:gd name="T55" fmla="*/ 250 h 549"/>
                    <a:gd name="T56" fmla="*/ 144 w 395"/>
                    <a:gd name="T57" fmla="*/ 251 h 549"/>
                    <a:gd name="T58" fmla="*/ 146 w 395"/>
                    <a:gd name="T59" fmla="*/ 306 h 549"/>
                    <a:gd name="T60" fmla="*/ 211 w 395"/>
                    <a:gd name="T61" fmla="*/ 295 h 549"/>
                    <a:gd name="T62" fmla="*/ 216 w 395"/>
                    <a:gd name="T63" fmla="*/ 349 h 549"/>
                    <a:gd name="T64" fmla="*/ 162 w 395"/>
                    <a:gd name="T65" fmla="*/ 377 h 549"/>
                    <a:gd name="T66" fmla="*/ 135 w 395"/>
                    <a:gd name="T67" fmla="*/ 402 h 549"/>
                    <a:gd name="T68" fmla="*/ 117 w 395"/>
                    <a:gd name="T69" fmla="*/ 448 h 549"/>
                    <a:gd name="T70" fmla="*/ 151 w 395"/>
                    <a:gd name="T71" fmla="*/ 466 h 549"/>
                    <a:gd name="T72" fmla="*/ 202 w 395"/>
                    <a:gd name="T73" fmla="*/ 467 h 549"/>
                    <a:gd name="T74" fmla="*/ 156 w 395"/>
                    <a:gd name="T75" fmla="*/ 485 h 549"/>
                    <a:gd name="T76" fmla="*/ 129 w 395"/>
                    <a:gd name="T77" fmla="*/ 516 h 549"/>
                    <a:gd name="T78" fmla="*/ 83 w 395"/>
                    <a:gd name="T79" fmla="*/ 545 h 549"/>
                    <a:gd name="T80" fmla="*/ 147 w 395"/>
                    <a:gd name="T81" fmla="*/ 530 h 549"/>
                    <a:gd name="T82" fmla="*/ 211 w 395"/>
                    <a:gd name="T83" fmla="*/ 519 h 549"/>
                    <a:gd name="T84" fmla="*/ 273 w 395"/>
                    <a:gd name="T85" fmla="*/ 520 h 549"/>
                    <a:gd name="T86" fmla="*/ 293 w 395"/>
                    <a:gd name="T87" fmla="*/ 508 h 549"/>
                    <a:gd name="T88" fmla="*/ 340 w 395"/>
                    <a:gd name="T89" fmla="*/ 474 h 549"/>
                    <a:gd name="T90" fmla="*/ 375 w 395"/>
                    <a:gd name="T91" fmla="*/ 447 h 549"/>
                    <a:gd name="T92" fmla="*/ 157 w 395"/>
                    <a:gd name="T93" fmla="*/ 325 h 549"/>
                    <a:gd name="T94" fmla="*/ 94 w 395"/>
                    <a:gd name="T95" fmla="*/ 338 h 549"/>
                    <a:gd name="T96" fmla="*/ 110 w 395"/>
                    <a:gd name="T97" fmla="*/ 308 h 549"/>
                    <a:gd name="T98" fmla="*/ 86 w 395"/>
                    <a:gd name="T99" fmla="*/ 281 h 549"/>
                    <a:gd name="T100" fmla="*/ 58 w 395"/>
                    <a:gd name="T101" fmla="*/ 288 h 549"/>
                    <a:gd name="T102" fmla="*/ 13 w 395"/>
                    <a:gd name="T103" fmla="*/ 325 h 549"/>
                    <a:gd name="T104" fmla="*/ 67 w 395"/>
                    <a:gd name="T105" fmla="*/ 335 h 549"/>
                    <a:gd name="T106" fmla="*/ 63 w 395"/>
                    <a:gd name="T107" fmla="*/ 155 h 549"/>
                    <a:gd name="T108" fmla="*/ 63 w 395"/>
                    <a:gd name="T109" fmla="*/ 155 h 549"/>
                    <a:gd name="T110" fmla="*/ 108 w 395"/>
                    <a:gd name="T111" fmla="*/ 115 h 549"/>
                    <a:gd name="T112" fmla="*/ 72 w 395"/>
                    <a:gd name="T113" fmla="*/ 128 h 549"/>
                    <a:gd name="T114" fmla="*/ 57 w 395"/>
                    <a:gd name="T115" fmla="*/ 169 h 549"/>
                    <a:gd name="T116" fmla="*/ 57 w 395"/>
                    <a:gd name="T117" fmla="*/ 169 h 5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95" h="549">
                      <a:moveTo>
                        <a:pt x="118" y="256"/>
                      </a:moveTo>
                      <a:cubicBezTo>
                        <a:pt x="110" y="256"/>
                        <a:pt x="109" y="262"/>
                        <a:pt x="106" y="277"/>
                      </a:cubicBezTo>
                      <a:cubicBezTo>
                        <a:pt x="104" y="289"/>
                        <a:pt x="126" y="256"/>
                        <a:pt x="118" y="256"/>
                      </a:cubicBezTo>
                      <a:close/>
                      <a:moveTo>
                        <a:pt x="100" y="210"/>
                      </a:moveTo>
                      <a:cubicBezTo>
                        <a:pt x="96" y="210"/>
                        <a:pt x="90" y="222"/>
                        <a:pt x="94" y="225"/>
                      </a:cubicBezTo>
                      <a:cubicBezTo>
                        <a:pt x="98" y="228"/>
                        <a:pt x="111" y="221"/>
                        <a:pt x="111" y="221"/>
                      </a:cubicBezTo>
                      <a:cubicBezTo>
                        <a:pt x="111" y="221"/>
                        <a:pt x="104" y="210"/>
                        <a:pt x="100" y="210"/>
                      </a:cubicBezTo>
                      <a:close/>
                      <a:moveTo>
                        <a:pt x="87" y="261"/>
                      </a:moveTo>
                      <a:cubicBezTo>
                        <a:pt x="102" y="261"/>
                        <a:pt x="109" y="250"/>
                        <a:pt x="98" y="248"/>
                      </a:cubicBezTo>
                      <a:cubicBezTo>
                        <a:pt x="87" y="246"/>
                        <a:pt x="78" y="261"/>
                        <a:pt x="87" y="261"/>
                      </a:cubicBezTo>
                      <a:close/>
                      <a:moveTo>
                        <a:pt x="231" y="85"/>
                      </a:moveTo>
                      <a:cubicBezTo>
                        <a:pt x="223" y="78"/>
                        <a:pt x="222" y="93"/>
                        <a:pt x="222" y="93"/>
                      </a:cubicBezTo>
                      <a:cubicBezTo>
                        <a:pt x="229" y="99"/>
                        <a:pt x="239" y="92"/>
                        <a:pt x="231" y="85"/>
                      </a:cubicBezTo>
                      <a:close/>
                      <a:moveTo>
                        <a:pt x="103" y="176"/>
                      </a:moveTo>
                      <a:cubicBezTo>
                        <a:pt x="103" y="176"/>
                        <a:pt x="107" y="159"/>
                        <a:pt x="97" y="159"/>
                      </a:cubicBezTo>
                      <a:cubicBezTo>
                        <a:pt x="87" y="159"/>
                        <a:pt x="93" y="169"/>
                        <a:pt x="93" y="169"/>
                      </a:cubicBezTo>
                      <a:cubicBezTo>
                        <a:pt x="93" y="169"/>
                        <a:pt x="85" y="166"/>
                        <a:pt x="82" y="169"/>
                      </a:cubicBezTo>
                      <a:cubicBezTo>
                        <a:pt x="79" y="172"/>
                        <a:pt x="91" y="179"/>
                        <a:pt x="93" y="183"/>
                      </a:cubicBezTo>
                      <a:cubicBezTo>
                        <a:pt x="95" y="187"/>
                        <a:pt x="110" y="184"/>
                        <a:pt x="110" y="184"/>
                      </a:cubicBezTo>
                      <a:lnTo>
                        <a:pt x="103" y="176"/>
                      </a:lnTo>
                      <a:close/>
                      <a:moveTo>
                        <a:pt x="325" y="1"/>
                      </a:moveTo>
                      <a:cubicBezTo>
                        <a:pt x="318" y="2"/>
                        <a:pt x="316" y="11"/>
                        <a:pt x="316" y="11"/>
                      </a:cubicBezTo>
                      <a:cubicBezTo>
                        <a:pt x="327" y="16"/>
                        <a:pt x="332" y="0"/>
                        <a:pt x="325" y="1"/>
                      </a:cubicBezTo>
                      <a:close/>
                      <a:moveTo>
                        <a:pt x="296" y="36"/>
                      </a:moveTo>
                      <a:cubicBezTo>
                        <a:pt x="300" y="45"/>
                        <a:pt x="300" y="45"/>
                        <a:pt x="300" y="45"/>
                      </a:cubicBezTo>
                      <a:cubicBezTo>
                        <a:pt x="305" y="49"/>
                        <a:pt x="312" y="28"/>
                        <a:pt x="311" y="24"/>
                      </a:cubicBezTo>
                      <a:cubicBezTo>
                        <a:pt x="310" y="20"/>
                        <a:pt x="301" y="12"/>
                        <a:pt x="301" y="12"/>
                      </a:cubicBezTo>
                      <a:cubicBezTo>
                        <a:pt x="300" y="21"/>
                        <a:pt x="300" y="21"/>
                        <a:pt x="300" y="21"/>
                      </a:cubicBezTo>
                      <a:cubicBezTo>
                        <a:pt x="300" y="21"/>
                        <a:pt x="287" y="25"/>
                        <a:pt x="288" y="29"/>
                      </a:cubicBezTo>
                      <a:cubicBezTo>
                        <a:pt x="289" y="33"/>
                        <a:pt x="296" y="36"/>
                        <a:pt x="296" y="36"/>
                      </a:cubicBezTo>
                      <a:close/>
                      <a:moveTo>
                        <a:pt x="239" y="94"/>
                      </a:moveTo>
                      <a:cubicBezTo>
                        <a:pt x="237" y="104"/>
                        <a:pt x="237" y="104"/>
                        <a:pt x="237" y="104"/>
                      </a:cubicBezTo>
                      <a:cubicBezTo>
                        <a:pt x="246" y="96"/>
                        <a:pt x="246" y="96"/>
                        <a:pt x="246" y="96"/>
                      </a:cubicBezTo>
                      <a:lnTo>
                        <a:pt x="239" y="94"/>
                      </a:lnTo>
                      <a:close/>
                      <a:moveTo>
                        <a:pt x="137" y="269"/>
                      </a:moveTo>
                      <a:cubicBezTo>
                        <a:pt x="143" y="265"/>
                        <a:pt x="134" y="252"/>
                        <a:pt x="128" y="258"/>
                      </a:cubicBezTo>
                      <a:cubicBezTo>
                        <a:pt x="122" y="264"/>
                        <a:pt x="130" y="273"/>
                        <a:pt x="137" y="269"/>
                      </a:cubicBezTo>
                      <a:close/>
                      <a:moveTo>
                        <a:pt x="346" y="395"/>
                      </a:moveTo>
                      <a:cubicBezTo>
                        <a:pt x="346" y="395"/>
                        <a:pt x="341" y="409"/>
                        <a:pt x="331" y="402"/>
                      </a:cubicBezTo>
                      <a:cubicBezTo>
                        <a:pt x="321" y="394"/>
                        <a:pt x="341" y="387"/>
                        <a:pt x="340" y="378"/>
                      </a:cubicBezTo>
                      <a:cubicBezTo>
                        <a:pt x="339" y="369"/>
                        <a:pt x="308" y="364"/>
                        <a:pt x="308" y="359"/>
                      </a:cubicBezTo>
                      <a:cubicBezTo>
                        <a:pt x="308" y="354"/>
                        <a:pt x="330" y="357"/>
                        <a:pt x="330" y="357"/>
                      </a:cubicBezTo>
                      <a:cubicBezTo>
                        <a:pt x="321" y="349"/>
                        <a:pt x="321" y="349"/>
                        <a:pt x="321" y="349"/>
                      </a:cubicBezTo>
                      <a:cubicBezTo>
                        <a:pt x="321" y="349"/>
                        <a:pt x="312" y="328"/>
                        <a:pt x="308" y="321"/>
                      </a:cubicBezTo>
                      <a:cubicBezTo>
                        <a:pt x="304" y="314"/>
                        <a:pt x="291" y="314"/>
                        <a:pt x="291" y="314"/>
                      </a:cubicBezTo>
                      <a:cubicBezTo>
                        <a:pt x="291" y="314"/>
                        <a:pt x="283" y="305"/>
                        <a:pt x="275" y="299"/>
                      </a:cubicBezTo>
                      <a:cubicBezTo>
                        <a:pt x="267" y="293"/>
                        <a:pt x="273" y="261"/>
                        <a:pt x="273" y="261"/>
                      </a:cubicBezTo>
                      <a:cubicBezTo>
                        <a:pt x="265" y="261"/>
                        <a:pt x="265" y="261"/>
                        <a:pt x="265" y="261"/>
                      </a:cubicBezTo>
                      <a:cubicBezTo>
                        <a:pt x="265" y="261"/>
                        <a:pt x="264" y="255"/>
                        <a:pt x="250" y="245"/>
                      </a:cubicBezTo>
                      <a:cubicBezTo>
                        <a:pt x="235" y="235"/>
                        <a:pt x="216" y="245"/>
                        <a:pt x="208" y="246"/>
                      </a:cubicBezTo>
                      <a:cubicBezTo>
                        <a:pt x="200" y="247"/>
                        <a:pt x="191" y="235"/>
                        <a:pt x="191" y="235"/>
                      </a:cubicBezTo>
                      <a:cubicBezTo>
                        <a:pt x="191" y="235"/>
                        <a:pt x="205" y="240"/>
                        <a:pt x="209" y="239"/>
                      </a:cubicBezTo>
                      <a:cubicBezTo>
                        <a:pt x="213" y="238"/>
                        <a:pt x="231" y="234"/>
                        <a:pt x="232" y="228"/>
                      </a:cubicBezTo>
                      <a:cubicBezTo>
                        <a:pt x="233" y="223"/>
                        <a:pt x="214" y="222"/>
                        <a:pt x="214" y="222"/>
                      </a:cubicBezTo>
                      <a:cubicBezTo>
                        <a:pt x="230" y="218"/>
                        <a:pt x="230" y="218"/>
                        <a:pt x="230" y="218"/>
                      </a:cubicBezTo>
                      <a:cubicBezTo>
                        <a:pt x="230" y="218"/>
                        <a:pt x="239" y="211"/>
                        <a:pt x="245" y="206"/>
                      </a:cubicBezTo>
                      <a:cubicBezTo>
                        <a:pt x="250" y="201"/>
                        <a:pt x="261" y="177"/>
                        <a:pt x="261" y="177"/>
                      </a:cubicBezTo>
                      <a:cubicBezTo>
                        <a:pt x="261" y="177"/>
                        <a:pt x="276" y="168"/>
                        <a:pt x="276" y="161"/>
                      </a:cubicBezTo>
                      <a:cubicBezTo>
                        <a:pt x="276" y="154"/>
                        <a:pt x="222" y="159"/>
                        <a:pt x="222" y="159"/>
                      </a:cubicBezTo>
                      <a:cubicBezTo>
                        <a:pt x="222" y="159"/>
                        <a:pt x="223" y="154"/>
                        <a:pt x="211" y="154"/>
                      </a:cubicBezTo>
                      <a:cubicBezTo>
                        <a:pt x="199" y="154"/>
                        <a:pt x="177" y="162"/>
                        <a:pt x="177" y="162"/>
                      </a:cubicBezTo>
                      <a:cubicBezTo>
                        <a:pt x="185" y="155"/>
                        <a:pt x="185" y="155"/>
                        <a:pt x="185" y="155"/>
                      </a:cubicBezTo>
                      <a:cubicBezTo>
                        <a:pt x="179" y="147"/>
                        <a:pt x="179" y="147"/>
                        <a:pt x="179" y="147"/>
                      </a:cubicBezTo>
                      <a:cubicBezTo>
                        <a:pt x="191" y="145"/>
                        <a:pt x="191" y="145"/>
                        <a:pt x="191" y="145"/>
                      </a:cubicBezTo>
                      <a:cubicBezTo>
                        <a:pt x="212" y="132"/>
                        <a:pt x="212" y="132"/>
                        <a:pt x="212" y="132"/>
                      </a:cubicBezTo>
                      <a:cubicBezTo>
                        <a:pt x="212" y="132"/>
                        <a:pt x="223" y="123"/>
                        <a:pt x="224" y="112"/>
                      </a:cubicBezTo>
                      <a:cubicBezTo>
                        <a:pt x="225" y="105"/>
                        <a:pt x="211" y="107"/>
                        <a:pt x="203" y="108"/>
                      </a:cubicBezTo>
                      <a:cubicBezTo>
                        <a:pt x="195" y="109"/>
                        <a:pt x="183" y="115"/>
                        <a:pt x="175" y="115"/>
                      </a:cubicBezTo>
                      <a:cubicBezTo>
                        <a:pt x="167" y="115"/>
                        <a:pt x="160" y="106"/>
                        <a:pt x="153" y="110"/>
                      </a:cubicBezTo>
                      <a:cubicBezTo>
                        <a:pt x="146" y="114"/>
                        <a:pt x="153" y="124"/>
                        <a:pt x="153" y="124"/>
                      </a:cubicBezTo>
                      <a:cubicBezTo>
                        <a:pt x="153" y="124"/>
                        <a:pt x="146" y="125"/>
                        <a:pt x="141" y="129"/>
                      </a:cubicBezTo>
                      <a:cubicBezTo>
                        <a:pt x="136" y="133"/>
                        <a:pt x="144" y="148"/>
                        <a:pt x="144" y="148"/>
                      </a:cubicBezTo>
                      <a:cubicBezTo>
                        <a:pt x="115" y="151"/>
                        <a:pt x="115" y="151"/>
                        <a:pt x="115" y="151"/>
                      </a:cubicBezTo>
                      <a:cubicBezTo>
                        <a:pt x="115" y="157"/>
                        <a:pt x="115" y="157"/>
                        <a:pt x="115" y="157"/>
                      </a:cubicBezTo>
                      <a:cubicBezTo>
                        <a:pt x="121" y="162"/>
                        <a:pt x="121" y="162"/>
                        <a:pt x="121" y="162"/>
                      </a:cubicBezTo>
                      <a:cubicBezTo>
                        <a:pt x="130" y="180"/>
                        <a:pt x="130" y="180"/>
                        <a:pt x="130" y="180"/>
                      </a:cubicBezTo>
                      <a:cubicBezTo>
                        <a:pt x="130" y="180"/>
                        <a:pt x="124" y="185"/>
                        <a:pt x="121" y="188"/>
                      </a:cubicBezTo>
                      <a:cubicBezTo>
                        <a:pt x="118" y="191"/>
                        <a:pt x="116" y="198"/>
                        <a:pt x="116" y="198"/>
                      </a:cubicBezTo>
                      <a:cubicBezTo>
                        <a:pt x="105" y="203"/>
                        <a:pt x="105" y="203"/>
                        <a:pt x="105" y="203"/>
                      </a:cubicBezTo>
                      <a:cubicBezTo>
                        <a:pt x="105" y="203"/>
                        <a:pt x="111" y="212"/>
                        <a:pt x="119" y="211"/>
                      </a:cubicBezTo>
                      <a:cubicBezTo>
                        <a:pt x="127" y="210"/>
                        <a:pt x="134" y="202"/>
                        <a:pt x="134" y="202"/>
                      </a:cubicBezTo>
                      <a:cubicBezTo>
                        <a:pt x="133" y="214"/>
                        <a:pt x="133" y="214"/>
                        <a:pt x="133" y="214"/>
                      </a:cubicBezTo>
                      <a:cubicBezTo>
                        <a:pt x="133" y="214"/>
                        <a:pt x="120" y="220"/>
                        <a:pt x="115" y="228"/>
                      </a:cubicBezTo>
                      <a:cubicBezTo>
                        <a:pt x="110" y="237"/>
                        <a:pt x="116" y="250"/>
                        <a:pt x="116" y="250"/>
                      </a:cubicBezTo>
                      <a:cubicBezTo>
                        <a:pt x="116" y="250"/>
                        <a:pt x="127" y="242"/>
                        <a:pt x="134" y="247"/>
                      </a:cubicBezTo>
                      <a:cubicBezTo>
                        <a:pt x="140" y="252"/>
                        <a:pt x="153" y="241"/>
                        <a:pt x="153" y="241"/>
                      </a:cubicBezTo>
                      <a:cubicBezTo>
                        <a:pt x="144" y="251"/>
                        <a:pt x="144" y="251"/>
                        <a:pt x="144" y="251"/>
                      </a:cubicBezTo>
                      <a:cubicBezTo>
                        <a:pt x="149" y="269"/>
                        <a:pt x="149" y="269"/>
                        <a:pt x="149" y="269"/>
                      </a:cubicBezTo>
                      <a:cubicBezTo>
                        <a:pt x="149" y="269"/>
                        <a:pt x="138" y="282"/>
                        <a:pt x="130" y="296"/>
                      </a:cubicBezTo>
                      <a:cubicBezTo>
                        <a:pt x="123" y="309"/>
                        <a:pt x="146" y="306"/>
                        <a:pt x="146" y="306"/>
                      </a:cubicBezTo>
                      <a:cubicBezTo>
                        <a:pt x="146" y="306"/>
                        <a:pt x="159" y="300"/>
                        <a:pt x="166" y="303"/>
                      </a:cubicBezTo>
                      <a:cubicBezTo>
                        <a:pt x="173" y="306"/>
                        <a:pt x="189" y="293"/>
                        <a:pt x="189" y="293"/>
                      </a:cubicBezTo>
                      <a:cubicBezTo>
                        <a:pt x="211" y="295"/>
                        <a:pt x="211" y="295"/>
                        <a:pt x="211" y="295"/>
                      </a:cubicBezTo>
                      <a:cubicBezTo>
                        <a:pt x="211" y="295"/>
                        <a:pt x="188" y="308"/>
                        <a:pt x="186" y="318"/>
                      </a:cubicBezTo>
                      <a:cubicBezTo>
                        <a:pt x="185" y="328"/>
                        <a:pt x="215" y="335"/>
                        <a:pt x="215" y="335"/>
                      </a:cubicBezTo>
                      <a:cubicBezTo>
                        <a:pt x="216" y="349"/>
                        <a:pt x="216" y="349"/>
                        <a:pt x="216" y="349"/>
                      </a:cubicBezTo>
                      <a:cubicBezTo>
                        <a:pt x="208" y="361"/>
                        <a:pt x="208" y="361"/>
                        <a:pt x="208" y="361"/>
                      </a:cubicBezTo>
                      <a:cubicBezTo>
                        <a:pt x="208" y="361"/>
                        <a:pt x="210" y="375"/>
                        <a:pt x="207" y="379"/>
                      </a:cubicBezTo>
                      <a:cubicBezTo>
                        <a:pt x="204" y="383"/>
                        <a:pt x="162" y="377"/>
                        <a:pt x="162" y="377"/>
                      </a:cubicBezTo>
                      <a:cubicBezTo>
                        <a:pt x="162" y="377"/>
                        <a:pt x="152" y="374"/>
                        <a:pt x="143" y="376"/>
                      </a:cubicBezTo>
                      <a:cubicBezTo>
                        <a:pt x="134" y="378"/>
                        <a:pt x="149" y="389"/>
                        <a:pt x="149" y="389"/>
                      </a:cubicBezTo>
                      <a:cubicBezTo>
                        <a:pt x="135" y="402"/>
                        <a:pt x="135" y="402"/>
                        <a:pt x="135" y="402"/>
                      </a:cubicBezTo>
                      <a:cubicBezTo>
                        <a:pt x="163" y="400"/>
                        <a:pt x="163" y="400"/>
                        <a:pt x="163" y="400"/>
                      </a:cubicBezTo>
                      <a:cubicBezTo>
                        <a:pt x="163" y="400"/>
                        <a:pt x="163" y="423"/>
                        <a:pt x="156" y="430"/>
                      </a:cubicBezTo>
                      <a:cubicBezTo>
                        <a:pt x="149" y="437"/>
                        <a:pt x="121" y="445"/>
                        <a:pt x="117" y="448"/>
                      </a:cubicBezTo>
                      <a:cubicBezTo>
                        <a:pt x="113" y="451"/>
                        <a:pt x="118" y="466"/>
                        <a:pt x="122" y="468"/>
                      </a:cubicBezTo>
                      <a:cubicBezTo>
                        <a:pt x="126" y="470"/>
                        <a:pt x="144" y="456"/>
                        <a:pt x="144" y="456"/>
                      </a:cubicBezTo>
                      <a:cubicBezTo>
                        <a:pt x="144" y="456"/>
                        <a:pt x="147" y="462"/>
                        <a:pt x="151" y="466"/>
                      </a:cubicBezTo>
                      <a:cubicBezTo>
                        <a:pt x="155" y="470"/>
                        <a:pt x="165" y="466"/>
                        <a:pt x="165" y="466"/>
                      </a:cubicBezTo>
                      <a:cubicBezTo>
                        <a:pt x="165" y="466"/>
                        <a:pt x="173" y="475"/>
                        <a:pt x="181" y="476"/>
                      </a:cubicBezTo>
                      <a:cubicBezTo>
                        <a:pt x="190" y="477"/>
                        <a:pt x="197" y="472"/>
                        <a:pt x="202" y="467"/>
                      </a:cubicBezTo>
                      <a:cubicBezTo>
                        <a:pt x="207" y="462"/>
                        <a:pt x="220" y="463"/>
                        <a:pt x="220" y="463"/>
                      </a:cubicBezTo>
                      <a:cubicBezTo>
                        <a:pt x="220" y="463"/>
                        <a:pt x="204" y="478"/>
                        <a:pt x="194" y="485"/>
                      </a:cubicBezTo>
                      <a:cubicBezTo>
                        <a:pt x="183" y="492"/>
                        <a:pt x="163" y="485"/>
                        <a:pt x="156" y="485"/>
                      </a:cubicBezTo>
                      <a:cubicBezTo>
                        <a:pt x="149" y="485"/>
                        <a:pt x="151" y="495"/>
                        <a:pt x="151" y="495"/>
                      </a:cubicBezTo>
                      <a:cubicBezTo>
                        <a:pt x="151" y="495"/>
                        <a:pt x="142" y="495"/>
                        <a:pt x="135" y="498"/>
                      </a:cubicBezTo>
                      <a:cubicBezTo>
                        <a:pt x="127" y="501"/>
                        <a:pt x="135" y="507"/>
                        <a:pt x="129" y="516"/>
                      </a:cubicBezTo>
                      <a:cubicBezTo>
                        <a:pt x="124" y="524"/>
                        <a:pt x="117" y="520"/>
                        <a:pt x="110" y="520"/>
                      </a:cubicBezTo>
                      <a:cubicBezTo>
                        <a:pt x="103" y="520"/>
                        <a:pt x="106" y="530"/>
                        <a:pt x="99" y="536"/>
                      </a:cubicBezTo>
                      <a:cubicBezTo>
                        <a:pt x="92" y="542"/>
                        <a:pt x="83" y="541"/>
                        <a:pt x="83" y="545"/>
                      </a:cubicBezTo>
                      <a:cubicBezTo>
                        <a:pt x="83" y="549"/>
                        <a:pt x="102" y="549"/>
                        <a:pt x="105" y="549"/>
                      </a:cubicBezTo>
                      <a:cubicBezTo>
                        <a:pt x="108" y="549"/>
                        <a:pt x="116" y="539"/>
                        <a:pt x="122" y="534"/>
                      </a:cubicBezTo>
                      <a:cubicBezTo>
                        <a:pt x="128" y="529"/>
                        <a:pt x="138" y="530"/>
                        <a:pt x="147" y="530"/>
                      </a:cubicBezTo>
                      <a:cubicBezTo>
                        <a:pt x="156" y="530"/>
                        <a:pt x="159" y="540"/>
                        <a:pt x="165" y="540"/>
                      </a:cubicBezTo>
                      <a:cubicBezTo>
                        <a:pt x="171" y="540"/>
                        <a:pt x="184" y="515"/>
                        <a:pt x="191" y="512"/>
                      </a:cubicBezTo>
                      <a:cubicBezTo>
                        <a:pt x="197" y="508"/>
                        <a:pt x="211" y="519"/>
                        <a:pt x="211" y="519"/>
                      </a:cubicBezTo>
                      <a:cubicBezTo>
                        <a:pt x="228" y="520"/>
                        <a:pt x="228" y="520"/>
                        <a:pt x="228" y="520"/>
                      </a:cubicBezTo>
                      <a:cubicBezTo>
                        <a:pt x="248" y="512"/>
                        <a:pt x="248" y="512"/>
                        <a:pt x="248" y="512"/>
                      </a:cubicBezTo>
                      <a:cubicBezTo>
                        <a:pt x="248" y="512"/>
                        <a:pt x="267" y="521"/>
                        <a:pt x="273" y="520"/>
                      </a:cubicBezTo>
                      <a:cubicBezTo>
                        <a:pt x="279" y="519"/>
                        <a:pt x="265" y="508"/>
                        <a:pt x="271" y="503"/>
                      </a:cubicBezTo>
                      <a:cubicBezTo>
                        <a:pt x="277" y="498"/>
                        <a:pt x="286" y="513"/>
                        <a:pt x="286" y="513"/>
                      </a:cubicBezTo>
                      <a:cubicBezTo>
                        <a:pt x="293" y="508"/>
                        <a:pt x="293" y="508"/>
                        <a:pt x="293" y="508"/>
                      </a:cubicBezTo>
                      <a:cubicBezTo>
                        <a:pt x="293" y="508"/>
                        <a:pt x="346" y="508"/>
                        <a:pt x="359" y="501"/>
                      </a:cubicBezTo>
                      <a:cubicBezTo>
                        <a:pt x="371" y="494"/>
                        <a:pt x="379" y="479"/>
                        <a:pt x="379" y="479"/>
                      </a:cubicBezTo>
                      <a:cubicBezTo>
                        <a:pt x="340" y="474"/>
                        <a:pt x="340" y="474"/>
                        <a:pt x="340" y="474"/>
                      </a:cubicBezTo>
                      <a:cubicBezTo>
                        <a:pt x="358" y="471"/>
                        <a:pt x="358" y="471"/>
                        <a:pt x="358" y="471"/>
                      </a:cubicBezTo>
                      <a:cubicBezTo>
                        <a:pt x="354" y="461"/>
                        <a:pt x="354" y="461"/>
                        <a:pt x="354" y="461"/>
                      </a:cubicBezTo>
                      <a:cubicBezTo>
                        <a:pt x="354" y="461"/>
                        <a:pt x="368" y="448"/>
                        <a:pt x="375" y="447"/>
                      </a:cubicBezTo>
                      <a:cubicBezTo>
                        <a:pt x="382" y="446"/>
                        <a:pt x="393" y="435"/>
                        <a:pt x="394" y="415"/>
                      </a:cubicBezTo>
                      <a:cubicBezTo>
                        <a:pt x="395" y="394"/>
                        <a:pt x="346" y="395"/>
                        <a:pt x="346" y="395"/>
                      </a:cubicBezTo>
                      <a:close/>
                      <a:moveTo>
                        <a:pt x="157" y="325"/>
                      </a:moveTo>
                      <a:cubicBezTo>
                        <a:pt x="152" y="310"/>
                        <a:pt x="147" y="330"/>
                        <a:pt x="138" y="338"/>
                      </a:cubicBezTo>
                      <a:cubicBezTo>
                        <a:pt x="138" y="338"/>
                        <a:pt x="162" y="340"/>
                        <a:pt x="157" y="325"/>
                      </a:cubicBezTo>
                      <a:close/>
                      <a:moveTo>
                        <a:pt x="94" y="338"/>
                      </a:moveTo>
                      <a:cubicBezTo>
                        <a:pt x="97" y="335"/>
                        <a:pt x="99" y="329"/>
                        <a:pt x="99" y="329"/>
                      </a:cubicBezTo>
                      <a:cubicBezTo>
                        <a:pt x="99" y="329"/>
                        <a:pt x="104" y="336"/>
                        <a:pt x="107" y="330"/>
                      </a:cubicBezTo>
                      <a:cubicBezTo>
                        <a:pt x="110" y="324"/>
                        <a:pt x="117" y="314"/>
                        <a:pt x="110" y="308"/>
                      </a:cubicBezTo>
                      <a:cubicBezTo>
                        <a:pt x="103" y="302"/>
                        <a:pt x="103" y="293"/>
                        <a:pt x="103" y="293"/>
                      </a:cubicBezTo>
                      <a:cubicBezTo>
                        <a:pt x="98" y="295"/>
                        <a:pt x="98" y="295"/>
                        <a:pt x="98" y="295"/>
                      </a:cubicBezTo>
                      <a:cubicBezTo>
                        <a:pt x="98" y="295"/>
                        <a:pt x="93" y="283"/>
                        <a:pt x="86" y="281"/>
                      </a:cubicBezTo>
                      <a:cubicBezTo>
                        <a:pt x="79" y="279"/>
                        <a:pt x="61" y="282"/>
                        <a:pt x="61" y="282"/>
                      </a:cubicBezTo>
                      <a:cubicBezTo>
                        <a:pt x="61" y="282"/>
                        <a:pt x="61" y="282"/>
                        <a:pt x="61" y="281"/>
                      </a:cubicBezTo>
                      <a:cubicBezTo>
                        <a:pt x="58" y="288"/>
                        <a:pt x="58" y="288"/>
                        <a:pt x="58" y="288"/>
                      </a:cubicBezTo>
                      <a:cubicBezTo>
                        <a:pt x="28" y="302"/>
                        <a:pt x="28" y="302"/>
                        <a:pt x="28" y="302"/>
                      </a:cubicBezTo>
                      <a:cubicBezTo>
                        <a:pt x="29" y="312"/>
                        <a:pt x="29" y="312"/>
                        <a:pt x="29" y="312"/>
                      </a:cubicBezTo>
                      <a:cubicBezTo>
                        <a:pt x="29" y="312"/>
                        <a:pt x="0" y="318"/>
                        <a:pt x="13" y="325"/>
                      </a:cubicBezTo>
                      <a:cubicBezTo>
                        <a:pt x="26" y="333"/>
                        <a:pt x="38" y="335"/>
                        <a:pt x="38" y="335"/>
                      </a:cubicBezTo>
                      <a:cubicBezTo>
                        <a:pt x="55" y="319"/>
                        <a:pt x="55" y="319"/>
                        <a:pt x="55" y="319"/>
                      </a:cubicBezTo>
                      <a:cubicBezTo>
                        <a:pt x="67" y="335"/>
                        <a:pt x="67" y="335"/>
                        <a:pt x="67" y="335"/>
                      </a:cubicBezTo>
                      <a:cubicBezTo>
                        <a:pt x="89" y="340"/>
                        <a:pt x="89" y="340"/>
                        <a:pt x="89" y="340"/>
                      </a:cubicBezTo>
                      <a:cubicBezTo>
                        <a:pt x="91" y="340"/>
                        <a:pt x="93" y="339"/>
                        <a:pt x="94" y="338"/>
                      </a:cubicBezTo>
                      <a:close/>
                      <a:moveTo>
                        <a:pt x="63" y="155"/>
                      </a:moveTo>
                      <a:cubicBezTo>
                        <a:pt x="57" y="155"/>
                        <a:pt x="54" y="155"/>
                        <a:pt x="52" y="163"/>
                      </a:cubicBezTo>
                      <a:cubicBezTo>
                        <a:pt x="66" y="163"/>
                        <a:pt x="66" y="163"/>
                        <a:pt x="66" y="163"/>
                      </a:cubicBezTo>
                      <a:cubicBezTo>
                        <a:pt x="66" y="163"/>
                        <a:pt x="69" y="155"/>
                        <a:pt x="63" y="155"/>
                      </a:cubicBezTo>
                      <a:close/>
                      <a:moveTo>
                        <a:pt x="82" y="144"/>
                      </a:moveTo>
                      <a:cubicBezTo>
                        <a:pt x="82" y="144"/>
                        <a:pt x="88" y="146"/>
                        <a:pt x="94" y="145"/>
                      </a:cubicBezTo>
                      <a:cubicBezTo>
                        <a:pt x="100" y="144"/>
                        <a:pt x="108" y="115"/>
                        <a:pt x="108" y="115"/>
                      </a:cubicBezTo>
                      <a:cubicBezTo>
                        <a:pt x="108" y="115"/>
                        <a:pt x="100" y="117"/>
                        <a:pt x="94" y="122"/>
                      </a:cubicBezTo>
                      <a:cubicBezTo>
                        <a:pt x="88" y="126"/>
                        <a:pt x="86" y="133"/>
                        <a:pt x="86" y="133"/>
                      </a:cubicBezTo>
                      <a:cubicBezTo>
                        <a:pt x="86" y="133"/>
                        <a:pt x="78" y="125"/>
                        <a:pt x="72" y="128"/>
                      </a:cubicBezTo>
                      <a:cubicBezTo>
                        <a:pt x="67" y="131"/>
                        <a:pt x="73" y="153"/>
                        <a:pt x="73" y="153"/>
                      </a:cubicBezTo>
                      <a:lnTo>
                        <a:pt x="82" y="144"/>
                      </a:lnTo>
                      <a:close/>
                      <a:moveTo>
                        <a:pt x="57" y="169"/>
                      </a:moveTo>
                      <a:cubicBezTo>
                        <a:pt x="51" y="191"/>
                        <a:pt x="51" y="191"/>
                        <a:pt x="51" y="191"/>
                      </a:cubicBezTo>
                      <a:cubicBezTo>
                        <a:pt x="62" y="177"/>
                        <a:pt x="62" y="177"/>
                        <a:pt x="62" y="177"/>
                      </a:cubicBezTo>
                      <a:lnTo>
                        <a:pt x="57" y="169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1" name="Ukraine">
                  <a:extLst>
                    <a:ext uri="{FF2B5EF4-FFF2-40B4-BE49-F238E27FC236}">
                      <a16:creationId xmlns:a16="http://schemas.microsoft.com/office/drawing/2014/main" id="{2B52D454-6D38-6FDA-9EC6-EF66F592348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162391" y="2517417"/>
                  <a:ext cx="420760" cy="231669"/>
                </a:xfrm>
                <a:custGeom>
                  <a:avLst/>
                  <a:gdLst>
                    <a:gd name="T0" fmla="*/ 51 w 750"/>
                    <a:gd name="T1" fmla="*/ 223 h 415"/>
                    <a:gd name="T2" fmla="*/ 79 w 750"/>
                    <a:gd name="T3" fmla="*/ 232 h 415"/>
                    <a:gd name="T4" fmla="*/ 132 w 750"/>
                    <a:gd name="T5" fmla="*/ 230 h 415"/>
                    <a:gd name="T6" fmla="*/ 166 w 750"/>
                    <a:gd name="T7" fmla="*/ 227 h 415"/>
                    <a:gd name="T8" fmla="*/ 209 w 750"/>
                    <a:gd name="T9" fmla="*/ 209 h 415"/>
                    <a:gd name="T10" fmla="*/ 243 w 750"/>
                    <a:gd name="T11" fmla="*/ 208 h 415"/>
                    <a:gd name="T12" fmla="*/ 274 w 750"/>
                    <a:gd name="T13" fmla="*/ 225 h 415"/>
                    <a:gd name="T14" fmla="*/ 296 w 750"/>
                    <a:gd name="T15" fmla="*/ 259 h 415"/>
                    <a:gd name="T16" fmla="*/ 311 w 750"/>
                    <a:gd name="T17" fmla="*/ 278 h 415"/>
                    <a:gd name="T18" fmla="*/ 317 w 750"/>
                    <a:gd name="T19" fmla="*/ 310 h 415"/>
                    <a:gd name="T20" fmla="*/ 304 w 750"/>
                    <a:gd name="T21" fmla="*/ 321 h 415"/>
                    <a:gd name="T22" fmla="*/ 283 w 750"/>
                    <a:gd name="T23" fmla="*/ 356 h 415"/>
                    <a:gd name="T24" fmla="*/ 281 w 750"/>
                    <a:gd name="T25" fmla="*/ 370 h 415"/>
                    <a:gd name="T26" fmla="*/ 323 w 750"/>
                    <a:gd name="T27" fmla="*/ 353 h 415"/>
                    <a:gd name="T28" fmla="*/ 391 w 750"/>
                    <a:gd name="T29" fmla="*/ 301 h 415"/>
                    <a:gd name="T30" fmla="*/ 436 w 750"/>
                    <a:gd name="T31" fmla="*/ 299 h 415"/>
                    <a:gd name="T32" fmla="*/ 420 w 750"/>
                    <a:gd name="T33" fmla="*/ 310 h 415"/>
                    <a:gd name="T34" fmla="*/ 488 w 750"/>
                    <a:gd name="T35" fmla="*/ 324 h 415"/>
                    <a:gd name="T36" fmla="*/ 499 w 750"/>
                    <a:gd name="T37" fmla="*/ 381 h 415"/>
                    <a:gd name="T38" fmla="*/ 542 w 750"/>
                    <a:gd name="T39" fmla="*/ 396 h 415"/>
                    <a:gd name="T40" fmla="*/ 591 w 750"/>
                    <a:gd name="T41" fmla="*/ 385 h 415"/>
                    <a:gd name="T42" fmla="*/ 622 w 750"/>
                    <a:gd name="T43" fmla="*/ 361 h 415"/>
                    <a:gd name="T44" fmla="*/ 553 w 750"/>
                    <a:gd name="T45" fmla="*/ 352 h 415"/>
                    <a:gd name="T46" fmla="*/ 503 w 750"/>
                    <a:gd name="T47" fmla="*/ 328 h 415"/>
                    <a:gd name="T48" fmla="*/ 537 w 750"/>
                    <a:gd name="T49" fmla="*/ 322 h 415"/>
                    <a:gd name="T50" fmla="*/ 588 w 750"/>
                    <a:gd name="T51" fmla="*/ 297 h 415"/>
                    <a:gd name="T52" fmla="*/ 679 w 750"/>
                    <a:gd name="T53" fmla="*/ 273 h 415"/>
                    <a:gd name="T54" fmla="*/ 703 w 750"/>
                    <a:gd name="T55" fmla="*/ 231 h 415"/>
                    <a:gd name="T56" fmla="*/ 727 w 750"/>
                    <a:gd name="T57" fmla="*/ 189 h 415"/>
                    <a:gd name="T58" fmla="*/ 742 w 750"/>
                    <a:gd name="T59" fmla="*/ 166 h 415"/>
                    <a:gd name="T60" fmla="*/ 709 w 750"/>
                    <a:gd name="T61" fmla="*/ 136 h 415"/>
                    <a:gd name="T62" fmla="*/ 662 w 750"/>
                    <a:gd name="T63" fmla="*/ 119 h 415"/>
                    <a:gd name="T64" fmla="*/ 620 w 750"/>
                    <a:gd name="T65" fmla="*/ 100 h 415"/>
                    <a:gd name="T66" fmla="*/ 578 w 750"/>
                    <a:gd name="T67" fmla="*/ 106 h 415"/>
                    <a:gd name="T68" fmla="*/ 540 w 750"/>
                    <a:gd name="T69" fmla="*/ 99 h 415"/>
                    <a:gd name="T70" fmla="*/ 482 w 750"/>
                    <a:gd name="T71" fmla="*/ 56 h 415"/>
                    <a:gd name="T72" fmla="*/ 486 w 750"/>
                    <a:gd name="T73" fmla="*/ 26 h 415"/>
                    <a:gd name="T74" fmla="*/ 431 w 750"/>
                    <a:gd name="T75" fmla="*/ 1 h 415"/>
                    <a:gd name="T76" fmla="*/ 398 w 750"/>
                    <a:gd name="T77" fmla="*/ 16 h 415"/>
                    <a:gd name="T78" fmla="*/ 327 w 750"/>
                    <a:gd name="T79" fmla="*/ 53 h 415"/>
                    <a:gd name="T80" fmla="*/ 273 w 750"/>
                    <a:gd name="T81" fmla="*/ 39 h 415"/>
                    <a:gd name="T82" fmla="*/ 247 w 750"/>
                    <a:gd name="T83" fmla="*/ 46 h 415"/>
                    <a:gd name="T84" fmla="*/ 224 w 750"/>
                    <a:gd name="T85" fmla="*/ 38 h 415"/>
                    <a:gd name="T86" fmla="*/ 202 w 750"/>
                    <a:gd name="T87" fmla="*/ 40 h 415"/>
                    <a:gd name="T88" fmla="*/ 157 w 750"/>
                    <a:gd name="T89" fmla="*/ 28 h 415"/>
                    <a:gd name="T90" fmla="*/ 103 w 750"/>
                    <a:gd name="T91" fmla="*/ 27 h 415"/>
                    <a:gd name="T92" fmla="*/ 47 w 750"/>
                    <a:gd name="T93" fmla="*/ 40 h 415"/>
                    <a:gd name="T94" fmla="*/ 75 w 750"/>
                    <a:gd name="T95" fmla="*/ 76 h 415"/>
                    <a:gd name="T96" fmla="*/ 58 w 750"/>
                    <a:gd name="T97" fmla="*/ 103 h 415"/>
                    <a:gd name="T98" fmla="*/ 30 w 750"/>
                    <a:gd name="T99" fmla="*/ 174 h 415"/>
                    <a:gd name="T100" fmla="*/ 1 w 750"/>
                    <a:gd name="T101" fmla="*/ 194 h 4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750" h="415">
                      <a:moveTo>
                        <a:pt x="16" y="215"/>
                      </a:moveTo>
                      <a:cubicBezTo>
                        <a:pt x="22" y="216"/>
                        <a:pt x="38" y="223"/>
                        <a:pt x="38" y="223"/>
                      </a:cubicBezTo>
                      <a:cubicBezTo>
                        <a:pt x="38" y="223"/>
                        <a:pt x="47" y="223"/>
                        <a:pt x="51" y="223"/>
                      </a:cubicBezTo>
                      <a:cubicBezTo>
                        <a:pt x="55" y="223"/>
                        <a:pt x="57" y="230"/>
                        <a:pt x="57" y="230"/>
                      </a:cubicBezTo>
                      <a:cubicBezTo>
                        <a:pt x="73" y="227"/>
                        <a:pt x="73" y="227"/>
                        <a:pt x="73" y="227"/>
                      </a:cubicBezTo>
                      <a:cubicBezTo>
                        <a:pt x="79" y="232"/>
                        <a:pt x="79" y="232"/>
                        <a:pt x="79" y="232"/>
                      </a:cubicBezTo>
                      <a:cubicBezTo>
                        <a:pt x="79" y="232"/>
                        <a:pt x="94" y="224"/>
                        <a:pt x="100" y="225"/>
                      </a:cubicBezTo>
                      <a:cubicBezTo>
                        <a:pt x="106" y="226"/>
                        <a:pt x="112" y="245"/>
                        <a:pt x="122" y="242"/>
                      </a:cubicBezTo>
                      <a:cubicBezTo>
                        <a:pt x="132" y="239"/>
                        <a:pt x="132" y="230"/>
                        <a:pt x="132" y="230"/>
                      </a:cubicBezTo>
                      <a:cubicBezTo>
                        <a:pt x="149" y="233"/>
                        <a:pt x="149" y="233"/>
                        <a:pt x="149" y="233"/>
                      </a:cubicBezTo>
                      <a:cubicBezTo>
                        <a:pt x="153" y="226"/>
                        <a:pt x="153" y="226"/>
                        <a:pt x="153" y="226"/>
                      </a:cubicBezTo>
                      <a:cubicBezTo>
                        <a:pt x="153" y="226"/>
                        <a:pt x="156" y="227"/>
                        <a:pt x="166" y="227"/>
                      </a:cubicBezTo>
                      <a:cubicBezTo>
                        <a:pt x="176" y="227"/>
                        <a:pt x="174" y="209"/>
                        <a:pt x="191" y="212"/>
                      </a:cubicBezTo>
                      <a:cubicBezTo>
                        <a:pt x="193" y="204"/>
                        <a:pt x="193" y="204"/>
                        <a:pt x="193" y="204"/>
                      </a:cubicBezTo>
                      <a:cubicBezTo>
                        <a:pt x="193" y="204"/>
                        <a:pt x="203" y="210"/>
                        <a:pt x="209" y="209"/>
                      </a:cubicBezTo>
                      <a:cubicBezTo>
                        <a:pt x="215" y="208"/>
                        <a:pt x="215" y="203"/>
                        <a:pt x="224" y="202"/>
                      </a:cubicBezTo>
                      <a:cubicBezTo>
                        <a:pt x="233" y="201"/>
                        <a:pt x="239" y="210"/>
                        <a:pt x="239" y="210"/>
                      </a:cubicBezTo>
                      <a:cubicBezTo>
                        <a:pt x="243" y="208"/>
                        <a:pt x="243" y="208"/>
                        <a:pt x="243" y="208"/>
                      </a:cubicBezTo>
                      <a:cubicBezTo>
                        <a:pt x="243" y="208"/>
                        <a:pt x="239" y="213"/>
                        <a:pt x="248" y="213"/>
                      </a:cubicBezTo>
                      <a:cubicBezTo>
                        <a:pt x="257" y="213"/>
                        <a:pt x="264" y="210"/>
                        <a:pt x="269" y="214"/>
                      </a:cubicBezTo>
                      <a:cubicBezTo>
                        <a:pt x="274" y="218"/>
                        <a:pt x="274" y="225"/>
                        <a:pt x="274" y="225"/>
                      </a:cubicBezTo>
                      <a:cubicBezTo>
                        <a:pt x="274" y="225"/>
                        <a:pt x="283" y="219"/>
                        <a:pt x="294" y="227"/>
                      </a:cubicBezTo>
                      <a:cubicBezTo>
                        <a:pt x="305" y="235"/>
                        <a:pt x="296" y="244"/>
                        <a:pt x="296" y="244"/>
                      </a:cubicBezTo>
                      <a:cubicBezTo>
                        <a:pt x="296" y="244"/>
                        <a:pt x="293" y="259"/>
                        <a:pt x="296" y="259"/>
                      </a:cubicBezTo>
                      <a:cubicBezTo>
                        <a:pt x="299" y="259"/>
                        <a:pt x="308" y="257"/>
                        <a:pt x="308" y="257"/>
                      </a:cubicBezTo>
                      <a:cubicBezTo>
                        <a:pt x="313" y="262"/>
                        <a:pt x="313" y="262"/>
                        <a:pt x="313" y="262"/>
                      </a:cubicBezTo>
                      <a:cubicBezTo>
                        <a:pt x="313" y="262"/>
                        <a:pt x="304" y="276"/>
                        <a:pt x="311" y="278"/>
                      </a:cubicBezTo>
                      <a:cubicBezTo>
                        <a:pt x="318" y="280"/>
                        <a:pt x="331" y="277"/>
                        <a:pt x="332" y="284"/>
                      </a:cubicBezTo>
                      <a:cubicBezTo>
                        <a:pt x="333" y="291"/>
                        <a:pt x="334" y="305"/>
                        <a:pt x="334" y="305"/>
                      </a:cubicBezTo>
                      <a:cubicBezTo>
                        <a:pt x="334" y="305"/>
                        <a:pt x="324" y="309"/>
                        <a:pt x="317" y="310"/>
                      </a:cubicBezTo>
                      <a:cubicBezTo>
                        <a:pt x="310" y="311"/>
                        <a:pt x="304" y="303"/>
                        <a:pt x="304" y="303"/>
                      </a:cubicBezTo>
                      <a:cubicBezTo>
                        <a:pt x="304" y="303"/>
                        <a:pt x="287" y="303"/>
                        <a:pt x="288" y="307"/>
                      </a:cubicBezTo>
                      <a:cubicBezTo>
                        <a:pt x="289" y="311"/>
                        <a:pt x="304" y="321"/>
                        <a:pt x="304" y="321"/>
                      </a:cubicBezTo>
                      <a:cubicBezTo>
                        <a:pt x="295" y="330"/>
                        <a:pt x="295" y="330"/>
                        <a:pt x="295" y="330"/>
                      </a:cubicBezTo>
                      <a:cubicBezTo>
                        <a:pt x="295" y="330"/>
                        <a:pt x="279" y="338"/>
                        <a:pt x="279" y="342"/>
                      </a:cubicBezTo>
                      <a:cubicBezTo>
                        <a:pt x="279" y="346"/>
                        <a:pt x="283" y="356"/>
                        <a:pt x="283" y="356"/>
                      </a:cubicBezTo>
                      <a:cubicBezTo>
                        <a:pt x="266" y="359"/>
                        <a:pt x="266" y="359"/>
                        <a:pt x="266" y="359"/>
                      </a:cubicBezTo>
                      <a:cubicBezTo>
                        <a:pt x="263" y="353"/>
                        <a:pt x="264" y="348"/>
                        <a:pt x="264" y="345"/>
                      </a:cubicBezTo>
                      <a:cubicBezTo>
                        <a:pt x="263" y="350"/>
                        <a:pt x="263" y="367"/>
                        <a:pt x="281" y="370"/>
                      </a:cubicBezTo>
                      <a:cubicBezTo>
                        <a:pt x="302" y="373"/>
                        <a:pt x="298" y="359"/>
                        <a:pt x="310" y="360"/>
                      </a:cubicBezTo>
                      <a:cubicBezTo>
                        <a:pt x="319" y="361"/>
                        <a:pt x="323" y="357"/>
                        <a:pt x="324" y="355"/>
                      </a:cubicBezTo>
                      <a:cubicBezTo>
                        <a:pt x="324" y="353"/>
                        <a:pt x="323" y="353"/>
                        <a:pt x="323" y="353"/>
                      </a:cubicBezTo>
                      <a:cubicBezTo>
                        <a:pt x="323" y="353"/>
                        <a:pt x="340" y="346"/>
                        <a:pt x="348" y="340"/>
                      </a:cubicBezTo>
                      <a:cubicBezTo>
                        <a:pt x="357" y="334"/>
                        <a:pt x="370" y="310"/>
                        <a:pt x="370" y="310"/>
                      </a:cubicBezTo>
                      <a:cubicBezTo>
                        <a:pt x="391" y="301"/>
                        <a:pt x="391" y="301"/>
                        <a:pt x="391" y="301"/>
                      </a:cubicBezTo>
                      <a:cubicBezTo>
                        <a:pt x="400" y="290"/>
                        <a:pt x="400" y="290"/>
                        <a:pt x="400" y="290"/>
                      </a:cubicBezTo>
                      <a:cubicBezTo>
                        <a:pt x="411" y="295"/>
                        <a:pt x="411" y="295"/>
                        <a:pt x="411" y="295"/>
                      </a:cubicBezTo>
                      <a:cubicBezTo>
                        <a:pt x="411" y="295"/>
                        <a:pt x="433" y="299"/>
                        <a:pt x="436" y="299"/>
                      </a:cubicBezTo>
                      <a:cubicBezTo>
                        <a:pt x="439" y="299"/>
                        <a:pt x="447" y="293"/>
                        <a:pt x="447" y="293"/>
                      </a:cubicBezTo>
                      <a:cubicBezTo>
                        <a:pt x="435" y="309"/>
                        <a:pt x="435" y="309"/>
                        <a:pt x="435" y="309"/>
                      </a:cubicBezTo>
                      <a:cubicBezTo>
                        <a:pt x="435" y="309"/>
                        <a:pt x="417" y="303"/>
                        <a:pt x="420" y="310"/>
                      </a:cubicBezTo>
                      <a:cubicBezTo>
                        <a:pt x="423" y="317"/>
                        <a:pt x="443" y="322"/>
                        <a:pt x="443" y="322"/>
                      </a:cubicBezTo>
                      <a:cubicBezTo>
                        <a:pt x="475" y="323"/>
                        <a:pt x="475" y="323"/>
                        <a:pt x="475" y="323"/>
                      </a:cubicBezTo>
                      <a:cubicBezTo>
                        <a:pt x="488" y="324"/>
                        <a:pt x="488" y="324"/>
                        <a:pt x="488" y="324"/>
                      </a:cubicBezTo>
                      <a:cubicBezTo>
                        <a:pt x="495" y="335"/>
                        <a:pt x="495" y="335"/>
                        <a:pt x="495" y="335"/>
                      </a:cubicBezTo>
                      <a:cubicBezTo>
                        <a:pt x="495" y="335"/>
                        <a:pt x="449" y="361"/>
                        <a:pt x="452" y="364"/>
                      </a:cubicBezTo>
                      <a:cubicBezTo>
                        <a:pt x="455" y="367"/>
                        <a:pt x="497" y="368"/>
                        <a:pt x="499" y="381"/>
                      </a:cubicBezTo>
                      <a:cubicBezTo>
                        <a:pt x="501" y="395"/>
                        <a:pt x="489" y="409"/>
                        <a:pt x="494" y="411"/>
                      </a:cubicBezTo>
                      <a:cubicBezTo>
                        <a:pt x="500" y="413"/>
                        <a:pt x="521" y="415"/>
                        <a:pt x="521" y="415"/>
                      </a:cubicBezTo>
                      <a:cubicBezTo>
                        <a:pt x="521" y="415"/>
                        <a:pt x="535" y="396"/>
                        <a:pt x="542" y="396"/>
                      </a:cubicBezTo>
                      <a:cubicBezTo>
                        <a:pt x="550" y="396"/>
                        <a:pt x="553" y="402"/>
                        <a:pt x="563" y="396"/>
                      </a:cubicBezTo>
                      <a:cubicBezTo>
                        <a:pt x="573" y="390"/>
                        <a:pt x="571" y="378"/>
                        <a:pt x="578" y="377"/>
                      </a:cubicBezTo>
                      <a:cubicBezTo>
                        <a:pt x="585" y="376"/>
                        <a:pt x="591" y="385"/>
                        <a:pt x="591" y="385"/>
                      </a:cubicBezTo>
                      <a:cubicBezTo>
                        <a:pt x="614" y="381"/>
                        <a:pt x="614" y="381"/>
                        <a:pt x="614" y="381"/>
                      </a:cubicBezTo>
                      <a:cubicBezTo>
                        <a:pt x="616" y="370"/>
                        <a:pt x="616" y="370"/>
                        <a:pt x="616" y="370"/>
                      </a:cubicBezTo>
                      <a:cubicBezTo>
                        <a:pt x="622" y="361"/>
                        <a:pt x="622" y="361"/>
                        <a:pt x="622" y="361"/>
                      </a:cubicBezTo>
                      <a:cubicBezTo>
                        <a:pt x="622" y="361"/>
                        <a:pt x="608" y="355"/>
                        <a:pt x="602" y="361"/>
                      </a:cubicBezTo>
                      <a:cubicBezTo>
                        <a:pt x="596" y="367"/>
                        <a:pt x="572" y="368"/>
                        <a:pt x="572" y="368"/>
                      </a:cubicBezTo>
                      <a:cubicBezTo>
                        <a:pt x="572" y="368"/>
                        <a:pt x="554" y="362"/>
                        <a:pt x="553" y="352"/>
                      </a:cubicBezTo>
                      <a:cubicBezTo>
                        <a:pt x="552" y="342"/>
                        <a:pt x="540" y="343"/>
                        <a:pt x="540" y="343"/>
                      </a:cubicBezTo>
                      <a:cubicBezTo>
                        <a:pt x="528" y="330"/>
                        <a:pt x="528" y="330"/>
                        <a:pt x="528" y="330"/>
                      </a:cubicBezTo>
                      <a:cubicBezTo>
                        <a:pt x="503" y="328"/>
                        <a:pt x="503" y="328"/>
                        <a:pt x="503" y="328"/>
                      </a:cubicBezTo>
                      <a:cubicBezTo>
                        <a:pt x="496" y="320"/>
                        <a:pt x="496" y="320"/>
                        <a:pt x="496" y="320"/>
                      </a:cubicBezTo>
                      <a:cubicBezTo>
                        <a:pt x="512" y="319"/>
                        <a:pt x="512" y="319"/>
                        <a:pt x="512" y="319"/>
                      </a:cubicBezTo>
                      <a:cubicBezTo>
                        <a:pt x="512" y="319"/>
                        <a:pt x="531" y="323"/>
                        <a:pt x="537" y="322"/>
                      </a:cubicBezTo>
                      <a:cubicBezTo>
                        <a:pt x="544" y="320"/>
                        <a:pt x="559" y="308"/>
                        <a:pt x="559" y="308"/>
                      </a:cubicBezTo>
                      <a:cubicBezTo>
                        <a:pt x="565" y="313"/>
                        <a:pt x="565" y="313"/>
                        <a:pt x="565" y="313"/>
                      </a:cubicBezTo>
                      <a:cubicBezTo>
                        <a:pt x="565" y="313"/>
                        <a:pt x="579" y="300"/>
                        <a:pt x="588" y="297"/>
                      </a:cubicBezTo>
                      <a:cubicBezTo>
                        <a:pt x="598" y="294"/>
                        <a:pt x="624" y="293"/>
                        <a:pt x="624" y="293"/>
                      </a:cubicBezTo>
                      <a:cubicBezTo>
                        <a:pt x="652" y="271"/>
                        <a:pt x="652" y="271"/>
                        <a:pt x="652" y="271"/>
                      </a:cubicBezTo>
                      <a:cubicBezTo>
                        <a:pt x="652" y="271"/>
                        <a:pt x="667" y="278"/>
                        <a:pt x="679" y="273"/>
                      </a:cubicBezTo>
                      <a:cubicBezTo>
                        <a:pt x="676" y="248"/>
                        <a:pt x="676" y="248"/>
                        <a:pt x="676" y="248"/>
                      </a:cubicBezTo>
                      <a:cubicBezTo>
                        <a:pt x="676" y="248"/>
                        <a:pt x="689" y="248"/>
                        <a:pt x="692" y="244"/>
                      </a:cubicBezTo>
                      <a:cubicBezTo>
                        <a:pt x="695" y="240"/>
                        <a:pt x="703" y="231"/>
                        <a:pt x="703" y="231"/>
                      </a:cubicBezTo>
                      <a:cubicBezTo>
                        <a:pt x="703" y="231"/>
                        <a:pt x="726" y="233"/>
                        <a:pt x="738" y="229"/>
                      </a:cubicBezTo>
                      <a:cubicBezTo>
                        <a:pt x="750" y="225"/>
                        <a:pt x="742" y="212"/>
                        <a:pt x="741" y="206"/>
                      </a:cubicBezTo>
                      <a:cubicBezTo>
                        <a:pt x="740" y="200"/>
                        <a:pt x="728" y="192"/>
                        <a:pt x="727" y="189"/>
                      </a:cubicBezTo>
                      <a:cubicBezTo>
                        <a:pt x="726" y="186"/>
                        <a:pt x="743" y="188"/>
                        <a:pt x="744" y="182"/>
                      </a:cubicBezTo>
                      <a:cubicBezTo>
                        <a:pt x="745" y="176"/>
                        <a:pt x="728" y="173"/>
                        <a:pt x="728" y="173"/>
                      </a:cubicBezTo>
                      <a:cubicBezTo>
                        <a:pt x="742" y="166"/>
                        <a:pt x="742" y="166"/>
                        <a:pt x="742" y="166"/>
                      </a:cubicBezTo>
                      <a:cubicBezTo>
                        <a:pt x="742" y="166"/>
                        <a:pt x="741" y="159"/>
                        <a:pt x="740" y="149"/>
                      </a:cubicBezTo>
                      <a:cubicBezTo>
                        <a:pt x="739" y="139"/>
                        <a:pt x="722" y="145"/>
                        <a:pt x="722" y="145"/>
                      </a:cubicBezTo>
                      <a:cubicBezTo>
                        <a:pt x="709" y="136"/>
                        <a:pt x="709" y="136"/>
                        <a:pt x="709" y="136"/>
                      </a:cubicBezTo>
                      <a:cubicBezTo>
                        <a:pt x="709" y="136"/>
                        <a:pt x="707" y="130"/>
                        <a:pt x="700" y="128"/>
                      </a:cubicBezTo>
                      <a:cubicBezTo>
                        <a:pt x="693" y="126"/>
                        <a:pt x="679" y="128"/>
                        <a:pt x="679" y="128"/>
                      </a:cubicBezTo>
                      <a:cubicBezTo>
                        <a:pt x="679" y="128"/>
                        <a:pt x="666" y="119"/>
                        <a:pt x="662" y="119"/>
                      </a:cubicBezTo>
                      <a:cubicBezTo>
                        <a:pt x="658" y="119"/>
                        <a:pt x="646" y="125"/>
                        <a:pt x="646" y="125"/>
                      </a:cubicBezTo>
                      <a:cubicBezTo>
                        <a:pt x="646" y="125"/>
                        <a:pt x="643" y="120"/>
                        <a:pt x="637" y="116"/>
                      </a:cubicBezTo>
                      <a:cubicBezTo>
                        <a:pt x="631" y="112"/>
                        <a:pt x="629" y="101"/>
                        <a:pt x="620" y="100"/>
                      </a:cubicBezTo>
                      <a:cubicBezTo>
                        <a:pt x="611" y="99"/>
                        <a:pt x="615" y="109"/>
                        <a:pt x="615" y="109"/>
                      </a:cubicBezTo>
                      <a:cubicBezTo>
                        <a:pt x="615" y="109"/>
                        <a:pt x="606" y="103"/>
                        <a:pt x="595" y="104"/>
                      </a:cubicBezTo>
                      <a:cubicBezTo>
                        <a:pt x="584" y="105"/>
                        <a:pt x="586" y="110"/>
                        <a:pt x="578" y="106"/>
                      </a:cubicBezTo>
                      <a:cubicBezTo>
                        <a:pt x="570" y="102"/>
                        <a:pt x="562" y="98"/>
                        <a:pt x="562" y="98"/>
                      </a:cubicBezTo>
                      <a:cubicBezTo>
                        <a:pt x="544" y="102"/>
                        <a:pt x="544" y="102"/>
                        <a:pt x="544" y="102"/>
                      </a:cubicBezTo>
                      <a:cubicBezTo>
                        <a:pt x="540" y="99"/>
                        <a:pt x="540" y="99"/>
                        <a:pt x="540" y="99"/>
                      </a:cubicBezTo>
                      <a:cubicBezTo>
                        <a:pt x="533" y="70"/>
                        <a:pt x="533" y="70"/>
                        <a:pt x="533" y="70"/>
                      </a:cubicBezTo>
                      <a:cubicBezTo>
                        <a:pt x="505" y="58"/>
                        <a:pt x="505" y="58"/>
                        <a:pt x="505" y="58"/>
                      </a:cubicBezTo>
                      <a:cubicBezTo>
                        <a:pt x="482" y="56"/>
                        <a:pt x="482" y="56"/>
                        <a:pt x="482" y="56"/>
                      </a:cubicBezTo>
                      <a:cubicBezTo>
                        <a:pt x="481" y="45"/>
                        <a:pt x="481" y="45"/>
                        <a:pt x="481" y="45"/>
                      </a:cubicBezTo>
                      <a:cubicBezTo>
                        <a:pt x="476" y="33"/>
                        <a:pt x="476" y="33"/>
                        <a:pt x="476" y="33"/>
                      </a:cubicBezTo>
                      <a:cubicBezTo>
                        <a:pt x="476" y="33"/>
                        <a:pt x="484" y="32"/>
                        <a:pt x="486" y="26"/>
                      </a:cubicBezTo>
                      <a:cubicBezTo>
                        <a:pt x="488" y="20"/>
                        <a:pt x="467" y="14"/>
                        <a:pt x="467" y="14"/>
                      </a:cubicBezTo>
                      <a:cubicBezTo>
                        <a:pt x="461" y="0"/>
                        <a:pt x="461" y="0"/>
                        <a:pt x="461" y="0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20" y="6"/>
                        <a:pt x="420" y="6"/>
                        <a:pt x="420" y="6"/>
                      </a:cubicBezTo>
                      <a:cubicBezTo>
                        <a:pt x="402" y="3"/>
                        <a:pt x="402" y="3"/>
                        <a:pt x="402" y="3"/>
                      </a:cubicBezTo>
                      <a:cubicBezTo>
                        <a:pt x="402" y="3"/>
                        <a:pt x="406" y="12"/>
                        <a:pt x="398" y="16"/>
                      </a:cubicBezTo>
                      <a:cubicBezTo>
                        <a:pt x="390" y="20"/>
                        <a:pt x="356" y="12"/>
                        <a:pt x="349" y="12"/>
                      </a:cubicBezTo>
                      <a:cubicBezTo>
                        <a:pt x="342" y="12"/>
                        <a:pt x="326" y="37"/>
                        <a:pt x="326" y="37"/>
                      </a:cubicBezTo>
                      <a:cubicBezTo>
                        <a:pt x="326" y="37"/>
                        <a:pt x="336" y="50"/>
                        <a:pt x="327" y="53"/>
                      </a:cubicBezTo>
                      <a:cubicBezTo>
                        <a:pt x="318" y="56"/>
                        <a:pt x="304" y="47"/>
                        <a:pt x="304" y="47"/>
                      </a:cubicBezTo>
                      <a:cubicBezTo>
                        <a:pt x="304" y="47"/>
                        <a:pt x="293" y="50"/>
                        <a:pt x="285" y="51"/>
                      </a:cubicBezTo>
                      <a:cubicBezTo>
                        <a:pt x="277" y="52"/>
                        <a:pt x="285" y="40"/>
                        <a:pt x="273" y="39"/>
                      </a:cubicBezTo>
                      <a:cubicBezTo>
                        <a:pt x="261" y="38"/>
                        <a:pt x="262" y="48"/>
                        <a:pt x="262" y="48"/>
                      </a:cubicBezTo>
                      <a:cubicBezTo>
                        <a:pt x="252" y="40"/>
                        <a:pt x="252" y="40"/>
                        <a:pt x="252" y="40"/>
                      </a:cubicBezTo>
                      <a:cubicBezTo>
                        <a:pt x="247" y="46"/>
                        <a:pt x="247" y="46"/>
                        <a:pt x="247" y="46"/>
                      </a:cubicBezTo>
                      <a:cubicBezTo>
                        <a:pt x="241" y="41"/>
                        <a:pt x="241" y="41"/>
                        <a:pt x="241" y="41"/>
                      </a:cubicBezTo>
                      <a:cubicBezTo>
                        <a:pt x="231" y="43"/>
                        <a:pt x="231" y="43"/>
                        <a:pt x="231" y="43"/>
                      </a:cubicBezTo>
                      <a:cubicBezTo>
                        <a:pt x="224" y="38"/>
                        <a:pt x="224" y="38"/>
                        <a:pt x="224" y="38"/>
                      </a:cubicBezTo>
                      <a:cubicBezTo>
                        <a:pt x="219" y="45"/>
                        <a:pt x="219" y="45"/>
                        <a:pt x="219" y="45"/>
                      </a:cubicBezTo>
                      <a:cubicBezTo>
                        <a:pt x="207" y="37"/>
                        <a:pt x="207" y="37"/>
                        <a:pt x="207" y="37"/>
                      </a:cubicBezTo>
                      <a:cubicBezTo>
                        <a:pt x="202" y="40"/>
                        <a:pt x="202" y="40"/>
                        <a:pt x="202" y="40"/>
                      </a:cubicBezTo>
                      <a:cubicBezTo>
                        <a:pt x="191" y="31"/>
                        <a:pt x="191" y="31"/>
                        <a:pt x="191" y="31"/>
                      </a:cubicBezTo>
                      <a:cubicBezTo>
                        <a:pt x="172" y="28"/>
                        <a:pt x="172" y="28"/>
                        <a:pt x="172" y="28"/>
                      </a:cubicBezTo>
                      <a:cubicBezTo>
                        <a:pt x="172" y="28"/>
                        <a:pt x="167" y="28"/>
                        <a:pt x="157" y="28"/>
                      </a:cubicBezTo>
                      <a:cubicBezTo>
                        <a:pt x="147" y="28"/>
                        <a:pt x="147" y="20"/>
                        <a:pt x="147" y="20"/>
                      </a:cubicBezTo>
                      <a:cubicBezTo>
                        <a:pt x="147" y="20"/>
                        <a:pt x="120" y="19"/>
                        <a:pt x="117" y="20"/>
                      </a:cubicBezTo>
                      <a:cubicBezTo>
                        <a:pt x="114" y="21"/>
                        <a:pt x="103" y="27"/>
                        <a:pt x="103" y="27"/>
                      </a:cubicBezTo>
                      <a:cubicBezTo>
                        <a:pt x="77" y="27"/>
                        <a:pt x="77" y="27"/>
                        <a:pt x="77" y="27"/>
                      </a:cubicBezTo>
                      <a:cubicBezTo>
                        <a:pt x="77" y="27"/>
                        <a:pt x="76" y="37"/>
                        <a:pt x="68" y="42"/>
                      </a:cubicBezTo>
                      <a:cubicBezTo>
                        <a:pt x="60" y="47"/>
                        <a:pt x="47" y="40"/>
                        <a:pt x="47" y="40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3"/>
                        <a:pt x="57" y="55"/>
                        <a:pt x="60" y="64"/>
                      </a:cubicBezTo>
                      <a:cubicBezTo>
                        <a:pt x="63" y="73"/>
                        <a:pt x="75" y="76"/>
                        <a:pt x="75" y="76"/>
                      </a:cubicBezTo>
                      <a:cubicBezTo>
                        <a:pt x="68" y="84"/>
                        <a:pt x="68" y="84"/>
                        <a:pt x="68" y="84"/>
                      </a:cubicBezTo>
                      <a:cubicBezTo>
                        <a:pt x="68" y="84"/>
                        <a:pt x="74" y="92"/>
                        <a:pt x="76" y="97"/>
                      </a:cubicBezTo>
                      <a:cubicBezTo>
                        <a:pt x="78" y="102"/>
                        <a:pt x="58" y="103"/>
                        <a:pt x="58" y="103"/>
                      </a:cubicBezTo>
                      <a:cubicBezTo>
                        <a:pt x="23" y="138"/>
                        <a:pt x="23" y="138"/>
                        <a:pt x="23" y="138"/>
                      </a:cubicBezTo>
                      <a:cubicBezTo>
                        <a:pt x="23" y="138"/>
                        <a:pt x="23" y="148"/>
                        <a:pt x="22" y="158"/>
                      </a:cubicBezTo>
                      <a:cubicBezTo>
                        <a:pt x="21" y="168"/>
                        <a:pt x="30" y="174"/>
                        <a:pt x="30" y="174"/>
                      </a:cubicBezTo>
                      <a:cubicBezTo>
                        <a:pt x="14" y="173"/>
                        <a:pt x="14" y="173"/>
                        <a:pt x="14" y="173"/>
                      </a:cubicBezTo>
                      <a:cubicBezTo>
                        <a:pt x="14" y="173"/>
                        <a:pt x="13" y="180"/>
                        <a:pt x="11" y="186"/>
                      </a:cubicBezTo>
                      <a:cubicBezTo>
                        <a:pt x="9" y="192"/>
                        <a:pt x="1" y="194"/>
                        <a:pt x="1" y="194"/>
                      </a:cubicBezTo>
                      <a:cubicBezTo>
                        <a:pt x="0" y="202"/>
                        <a:pt x="0" y="202"/>
                        <a:pt x="0" y="202"/>
                      </a:cubicBezTo>
                      <a:cubicBezTo>
                        <a:pt x="8" y="204"/>
                        <a:pt x="10" y="214"/>
                        <a:pt x="16" y="215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2" name="Switzerland">
                  <a:extLst>
                    <a:ext uri="{FF2B5EF4-FFF2-40B4-BE49-F238E27FC236}">
                      <a16:creationId xmlns:a16="http://schemas.microsoft.com/office/drawing/2014/main" id="{7895587A-B868-8E30-C17C-3BF73A2176B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82913" y="2647533"/>
                  <a:ext cx="109556" cy="61884"/>
                </a:xfrm>
                <a:custGeom>
                  <a:avLst/>
                  <a:gdLst>
                    <a:gd name="T0" fmla="*/ 93 w 196"/>
                    <a:gd name="T1" fmla="*/ 17 h 109"/>
                    <a:gd name="T2" fmla="*/ 81 w 196"/>
                    <a:gd name="T3" fmla="*/ 17 h 109"/>
                    <a:gd name="T4" fmla="*/ 70 w 196"/>
                    <a:gd name="T5" fmla="*/ 15 h 109"/>
                    <a:gd name="T6" fmla="*/ 70 w 196"/>
                    <a:gd name="T7" fmla="*/ 16 h 109"/>
                    <a:gd name="T8" fmla="*/ 65 w 196"/>
                    <a:gd name="T9" fmla="*/ 26 h 109"/>
                    <a:gd name="T10" fmla="*/ 52 w 196"/>
                    <a:gd name="T11" fmla="*/ 19 h 109"/>
                    <a:gd name="T12" fmla="*/ 47 w 196"/>
                    <a:gd name="T13" fmla="*/ 28 h 109"/>
                    <a:gd name="T14" fmla="*/ 36 w 196"/>
                    <a:gd name="T15" fmla="*/ 43 h 109"/>
                    <a:gd name="T16" fmla="*/ 25 w 196"/>
                    <a:gd name="T17" fmla="*/ 43 h 109"/>
                    <a:gd name="T18" fmla="*/ 22 w 196"/>
                    <a:gd name="T19" fmla="*/ 56 h 109"/>
                    <a:gd name="T20" fmla="*/ 4 w 196"/>
                    <a:gd name="T21" fmla="*/ 72 h 109"/>
                    <a:gd name="T22" fmla="*/ 10 w 196"/>
                    <a:gd name="T23" fmla="*/ 80 h 109"/>
                    <a:gd name="T24" fmla="*/ 6 w 196"/>
                    <a:gd name="T25" fmla="*/ 89 h 109"/>
                    <a:gd name="T26" fmla="*/ 24 w 196"/>
                    <a:gd name="T27" fmla="*/ 73 h 109"/>
                    <a:gd name="T28" fmla="*/ 39 w 196"/>
                    <a:gd name="T29" fmla="*/ 75 h 109"/>
                    <a:gd name="T30" fmla="*/ 38 w 196"/>
                    <a:gd name="T31" fmla="*/ 93 h 109"/>
                    <a:gd name="T32" fmla="*/ 45 w 196"/>
                    <a:gd name="T33" fmla="*/ 103 h 109"/>
                    <a:gd name="T34" fmla="*/ 52 w 196"/>
                    <a:gd name="T35" fmla="*/ 103 h 109"/>
                    <a:gd name="T36" fmla="*/ 66 w 196"/>
                    <a:gd name="T37" fmla="*/ 96 h 109"/>
                    <a:gd name="T38" fmla="*/ 86 w 196"/>
                    <a:gd name="T39" fmla="*/ 101 h 109"/>
                    <a:gd name="T40" fmla="*/ 92 w 196"/>
                    <a:gd name="T41" fmla="*/ 81 h 109"/>
                    <a:gd name="T42" fmla="*/ 103 w 196"/>
                    <a:gd name="T43" fmla="*/ 75 h 109"/>
                    <a:gd name="T44" fmla="*/ 111 w 196"/>
                    <a:gd name="T45" fmla="*/ 90 h 109"/>
                    <a:gd name="T46" fmla="*/ 116 w 196"/>
                    <a:gd name="T47" fmla="*/ 91 h 109"/>
                    <a:gd name="T48" fmla="*/ 132 w 196"/>
                    <a:gd name="T49" fmla="*/ 108 h 109"/>
                    <a:gd name="T50" fmla="*/ 133 w 196"/>
                    <a:gd name="T51" fmla="*/ 93 h 109"/>
                    <a:gd name="T52" fmla="*/ 139 w 196"/>
                    <a:gd name="T53" fmla="*/ 87 h 109"/>
                    <a:gd name="T54" fmla="*/ 144 w 196"/>
                    <a:gd name="T55" fmla="*/ 71 h 109"/>
                    <a:gd name="T56" fmla="*/ 150 w 196"/>
                    <a:gd name="T57" fmla="*/ 83 h 109"/>
                    <a:gd name="T58" fmla="*/ 164 w 196"/>
                    <a:gd name="T59" fmla="*/ 80 h 109"/>
                    <a:gd name="T60" fmla="*/ 175 w 196"/>
                    <a:gd name="T61" fmla="*/ 85 h 109"/>
                    <a:gd name="T62" fmla="*/ 180 w 196"/>
                    <a:gd name="T63" fmla="*/ 79 h 109"/>
                    <a:gd name="T64" fmla="*/ 176 w 196"/>
                    <a:gd name="T65" fmla="*/ 66 h 109"/>
                    <a:gd name="T66" fmla="*/ 189 w 196"/>
                    <a:gd name="T67" fmla="*/ 68 h 109"/>
                    <a:gd name="T68" fmla="*/ 191 w 196"/>
                    <a:gd name="T69" fmla="*/ 55 h 109"/>
                    <a:gd name="T70" fmla="*/ 196 w 196"/>
                    <a:gd name="T71" fmla="*/ 54 h 109"/>
                    <a:gd name="T72" fmla="*/ 187 w 196"/>
                    <a:gd name="T73" fmla="*/ 43 h 109"/>
                    <a:gd name="T74" fmla="*/ 171 w 196"/>
                    <a:gd name="T75" fmla="*/ 55 h 109"/>
                    <a:gd name="T76" fmla="*/ 166 w 196"/>
                    <a:gd name="T77" fmla="*/ 43 h 109"/>
                    <a:gd name="T78" fmla="*/ 154 w 196"/>
                    <a:gd name="T79" fmla="*/ 44 h 109"/>
                    <a:gd name="T80" fmla="*/ 146 w 196"/>
                    <a:gd name="T81" fmla="*/ 42 h 109"/>
                    <a:gd name="T82" fmla="*/ 153 w 196"/>
                    <a:gd name="T83" fmla="*/ 29 h 109"/>
                    <a:gd name="T84" fmla="*/ 154 w 196"/>
                    <a:gd name="T85" fmla="*/ 19 h 109"/>
                    <a:gd name="T86" fmla="*/ 150 w 196"/>
                    <a:gd name="T87" fmla="*/ 19 h 109"/>
                    <a:gd name="T88" fmla="*/ 144 w 196"/>
                    <a:gd name="T89" fmla="*/ 11 h 109"/>
                    <a:gd name="T90" fmla="*/ 134 w 196"/>
                    <a:gd name="T91" fmla="*/ 8 h 109"/>
                    <a:gd name="T92" fmla="*/ 125 w 196"/>
                    <a:gd name="T93" fmla="*/ 8 h 109"/>
                    <a:gd name="T94" fmla="*/ 109 w 196"/>
                    <a:gd name="T95" fmla="*/ 1 h 109"/>
                    <a:gd name="T96" fmla="*/ 107 w 196"/>
                    <a:gd name="T97" fmla="*/ 14 h 109"/>
                    <a:gd name="T98" fmla="*/ 103 w 196"/>
                    <a:gd name="T99" fmla="*/ 10 h 109"/>
                    <a:gd name="T100" fmla="*/ 93 w 196"/>
                    <a:gd name="T101" fmla="*/ 17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96" h="109">
                      <a:moveTo>
                        <a:pt x="93" y="17"/>
                      </a:moveTo>
                      <a:cubicBezTo>
                        <a:pt x="81" y="17"/>
                        <a:pt x="81" y="17"/>
                        <a:pt x="81" y="17"/>
                      </a:cubicBezTo>
                      <a:cubicBezTo>
                        <a:pt x="70" y="15"/>
                        <a:pt x="70" y="15"/>
                        <a:pt x="70" y="15"/>
                      </a:cubicBezTo>
                      <a:cubicBezTo>
                        <a:pt x="70" y="16"/>
                        <a:pt x="70" y="16"/>
                        <a:pt x="70" y="16"/>
                      </a:cubicBezTo>
                      <a:cubicBezTo>
                        <a:pt x="65" y="26"/>
                        <a:pt x="65" y="26"/>
                        <a:pt x="65" y="26"/>
                      </a:cubicBezTo>
                      <a:cubicBezTo>
                        <a:pt x="52" y="19"/>
                        <a:pt x="52" y="19"/>
                        <a:pt x="52" y="19"/>
                      </a:cubicBezTo>
                      <a:cubicBezTo>
                        <a:pt x="47" y="28"/>
                        <a:pt x="47" y="28"/>
                        <a:pt x="47" y="28"/>
                      </a:cubicBezTo>
                      <a:cubicBezTo>
                        <a:pt x="47" y="28"/>
                        <a:pt x="41" y="37"/>
                        <a:pt x="36" y="43"/>
                      </a:cubicBezTo>
                      <a:cubicBezTo>
                        <a:pt x="31" y="49"/>
                        <a:pt x="25" y="43"/>
                        <a:pt x="25" y="43"/>
                      </a:cubicBezTo>
                      <a:cubicBezTo>
                        <a:pt x="25" y="43"/>
                        <a:pt x="28" y="49"/>
                        <a:pt x="22" y="56"/>
                      </a:cubicBezTo>
                      <a:cubicBezTo>
                        <a:pt x="16" y="63"/>
                        <a:pt x="4" y="72"/>
                        <a:pt x="4" y="72"/>
                      </a:cubicBezTo>
                      <a:cubicBezTo>
                        <a:pt x="10" y="80"/>
                        <a:pt x="10" y="80"/>
                        <a:pt x="10" y="80"/>
                      </a:cubicBezTo>
                      <a:cubicBezTo>
                        <a:pt x="10" y="80"/>
                        <a:pt x="0" y="88"/>
                        <a:pt x="6" y="89"/>
                      </a:cubicBezTo>
                      <a:cubicBezTo>
                        <a:pt x="12" y="90"/>
                        <a:pt x="17" y="77"/>
                        <a:pt x="24" y="73"/>
                      </a:cubicBezTo>
                      <a:cubicBezTo>
                        <a:pt x="31" y="69"/>
                        <a:pt x="39" y="75"/>
                        <a:pt x="39" y="75"/>
                      </a:cubicBezTo>
                      <a:cubicBezTo>
                        <a:pt x="38" y="93"/>
                        <a:pt x="38" y="93"/>
                        <a:pt x="38" y="93"/>
                      </a:cubicBezTo>
                      <a:cubicBezTo>
                        <a:pt x="38" y="93"/>
                        <a:pt x="45" y="99"/>
                        <a:pt x="45" y="103"/>
                      </a:cubicBezTo>
                      <a:cubicBezTo>
                        <a:pt x="52" y="103"/>
                        <a:pt x="52" y="103"/>
                        <a:pt x="52" y="103"/>
                      </a:cubicBezTo>
                      <a:cubicBezTo>
                        <a:pt x="52" y="103"/>
                        <a:pt x="61" y="96"/>
                        <a:pt x="66" y="96"/>
                      </a:cubicBezTo>
                      <a:cubicBezTo>
                        <a:pt x="71" y="96"/>
                        <a:pt x="76" y="109"/>
                        <a:pt x="86" y="101"/>
                      </a:cubicBezTo>
                      <a:cubicBezTo>
                        <a:pt x="96" y="92"/>
                        <a:pt x="92" y="81"/>
                        <a:pt x="92" y="81"/>
                      </a:cubicBezTo>
                      <a:cubicBezTo>
                        <a:pt x="92" y="81"/>
                        <a:pt x="99" y="75"/>
                        <a:pt x="103" y="75"/>
                      </a:cubicBezTo>
                      <a:cubicBezTo>
                        <a:pt x="107" y="75"/>
                        <a:pt x="111" y="90"/>
                        <a:pt x="111" y="90"/>
                      </a:cubicBezTo>
                      <a:cubicBezTo>
                        <a:pt x="116" y="91"/>
                        <a:pt x="116" y="91"/>
                        <a:pt x="116" y="91"/>
                      </a:cubicBezTo>
                      <a:cubicBezTo>
                        <a:pt x="132" y="108"/>
                        <a:pt x="132" y="108"/>
                        <a:pt x="132" y="108"/>
                      </a:cubicBezTo>
                      <a:cubicBezTo>
                        <a:pt x="133" y="93"/>
                        <a:pt x="133" y="93"/>
                        <a:pt x="133" y="93"/>
                      </a:cubicBezTo>
                      <a:cubicBezTo>
                        <a:pt x="139" y="87"/>
                        <a:pt x="139" y="87"/>
                        <a:pt x="139" y="87"/>
                      </a:cubicBezTo>
                      <a:cubicBezTo>
                        <a:pt x="144" y="71"/>
                        <a:pt x="144" y="71"/>
                        <a:pt x="144" y="71"/>
                      </a:cubicBezTo>
                      <a:cubicBezTo>
                        <a:pt x="150" y="83"/>
                        <a:pt x="150" y="83"/>
                        <a:pt x="150" y="83"/>
                      </a:cubicBezTo>
                      <a:cubicBezTo>
                        <a:pt x="164" y="80"/>
                        <a:pt x="164" y="80"/>
                        <a:pt x="164" y="80"/>
                      </a:cubicBezTo>
                      <a:cubicBezTo>
                        <a:pt x="175" y="85"/>
                        <a:pt x="175" y="85"/>
                        <a:pt x="175" y="85"/>
                      </a:cubicBezTo>
                      <a:cubicBezTo>
                        <a:pt x="180" y="79"/>
                        <a:pt x="180" y="79"/>
                        <a:pt x="180" y="79"/>
                      </a:cubicBezTo>
                      <a:cubicBezTo>
                        <a:pt x="180" y="79"/>
                        <a:pt x="165" y="68"/>
                        <a:pt x="176" y="66"/>
                      </a:cubicBezTo>
                      <a:cubicBezTo>
                        <a:pt x="187" y="64"/>
                        <a:pt x="189" y="68"/>
                        <a:pt x="189" y="68"/>
                      </a:cubicBezTo>
                      <a:cubicBezTo>
                        <a:pt x="191" y="55"/>
                        <a:pt x="191" y="55"/>
                        <a:pt x="191" y="55"/>
                      </a:cubicBezTo>
                      <a:cubicBezTo>
                        <a:pt x="196" y="54"/>
                        <a:pt x="196" y="54"/>
                        <a:pt x="196" y="54"/>
                      </a:cubicBezTo>
                      <a:cubicBezTo>
                        <a:pt x="195" y="50"/>
                        <a:pt x="192" y="44"/>
                        <a:pt x="187" y="43"/>
                      </a:cubicBezTo>
                      <a:cubicBezTo>
                        <a:pt x="176" y="43"/>
                        <a:pt x="178" y="52"/>
                        <a:pt x="171" y="55"/>
                      </a:cubicBezTo>
                      <a:cubicBezTo>
                        <a:pt x="163" y="57"/>
                        <a:pt x="166" y="43"/>
                        <a:pt x="166" y="43"/>
                      </a:cubicBezTo>
                      <a:cubicBezTo>
                        <a:pt x="154" y="44"/>
                        <a:pt x="154" y="44"/>
                        <a:pt x="154" y="44"/>
                      </a:cubicBezTo>
                      <a:cubicBezTo>
                        <a:pt x="154" y="44"/>
                        <a:pt x="150" y="44"/>
                        <a:pt x="146" y="42"/>
                      </a:cubicBezTo>
                      <a:cubicBezTo>
                        <a:pt x="142" y="39"/>
                        <a:pt x="148" y="31"/>
                        <a:pt x="153" y="29"/>
                      </a:cubicBezTo>
                      <a:cubicBezTo>
                        <a:pt x="159" y="27"/>
                        <a:pt x="154" y="19"/>
                        <a:pt x="154" y="19"/>
                      </a:cubicBezTo>
                      <a:cubicBezTo>
                        <a:pt x="150" y="19"/>
                        <a:pt x="150" y="19"/>
                        <a:pt x="150" y="19"/>
                      </a:cubicBezTo>
                      <a:cubicBezTo>
                        <a:pt x="144" y="11"/>
                        <a:pt x="144" y="11"/>
                        <a:pt x="144" y="11"/>
                      </a:cubicBezTo>
                      <a:cubicBezTo>
                        <a:pt x="134" y="8"/>
                        <a:pt x="134" y="8"/>
                        <a:pt x="134" y="8"/>
                      </a:cubicBezTo>
                      <a:cubicBezTo>
                        <a:pt x="125" y="8"/>
                        <a:pt x="125" y="8"/>
                        <a:pt x="125" y="8"/>
                      </a:cubicBezTo>
                      <a:cubicBezTo>
                        <a:pt x="125" y="8"/>
                        <a:pt x="116" y="0"/>
                        <a:pt x="109" y="1"/>
                      </a:cubicBezTo>
                      <a:cubicBezTo>
                        <a:pt x="102" y="2"/>
                        <a:pt x="107" y="14"/>
                        <a:pt x="107" y="14"/>
                      </a:cubicBezTo>
                      <a:cubicBezTo>
                        <a:pt x="103" y="10"/>
                        <a:pt x="103" y="10"/>
                        <a:pt x="103" y="10"/>
                      </a:cubicBezTo>
                      <a:lnTo>
                        <a:pt x="93" y="17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3" name="Sweden">
                  <a:extLst>
                    <a:ext uri="{FF2B5EF4-FFF2-40B4-BE49-F238E27FC236}">
                      <a16:creationId xmlns:a16="http://schemas.microsoft.com/office/drawing/2014/main" id="{EAEBD0D8-AA4E-B511-B36E-48128C33B6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908347" y="2062015"/>
                  <a:ext cx="257220" cy="371304"/>
                </a:xfrm>
                <a:custGeom>
                  <a:avLst/>
                  <a:gdLst>
                    <a:gd name="T0" fmla="*/ 445 w 459"/>
                    <a:gd name="T1" fmla="*/ 95 h 664"/>
                    <a:gd name="T2" fmla="*/ 424 w 459"/>
                    <a:gd name="T3" fmla="*/ 67 h 664"/>
                    <a:gd name="T4" fmla="*/ 391 w 459"/>
                    <a:gd name="T5" fmla="*/ 26 h 664"/>
                    <a:gd name="T6" fmla="*/ 338 w 459"/>
                    <a:gd name="T7" fmla="*/ 9 h 664"/>
                    <a:gd name="T8" fmla="*/ 305 w 459"/>
                    <a:gd name="T9" fmla="*/ 14 h 664"/>
                    <a:gd name="T10" fmla="*/ 284 w 459"/>
                    <a:gd name="T11" fmla="*/ 25 h 664"/>
                    <a:gd name="T12" fmla="*/ 243 w 459"/>
                    <a:gd name="T13" fmla="*/ 25 h 664"/>
                    <a:gd name="T14" fmla="*/ 216 w 459"/>
                    <a:gd name="T15" fmla="*/ 45 h 664"/>
                    <a:gd name="T16" fmla="*/ 165 w 459"/>
                    <a:gd name="T17" fmla="*/ 71 h 664"/>
                    <a:gd name="T18" fmla="*/ 161 w 459"/>
                    <a:gd name="T19" fmla="*/ 99 h 664"/>
                    <a:gd name="T20" fmla="*/ 146 w 459"/>
                    <a:gd name="T21" fmla="*/ 128 h 664"/>
                    <a:gd name="T22" fmla="*/ 118 w 459"/>
                    <a:gd name="T23" fmla="*/ 144 h 664"/>
                    <a:gd name="T24" fmla="*/ 96 w 459"/>
                    <a:gd name="T25" fmla="*/ 194 h 664"/>
                    <a:gd name="T26" fmla="*/ 68 w 459"/>
                    <a:gd name="T27" fmla="*/ 227 h 664"/>
                    <a:gd name="T28" fmla="*/ 28 w 459"/>
                    <a:gd name="T29" fmla="*/ 260 h 664"/>
                    <a:gd name="T30" fmla="*/ 21 w 459"/>
                    <a:gd name="T31" fmla="*/ 290 h 664"/>
                    <a:gd name="T32" fmla="*/ 33 w 459"/>
                    <a:gd name="T33" fmla="*/ 334 h 664"/>
                    <a:gd name="T34" fmla="*/ 50 w 459"/>
                    <a:gd name="T35" fmla="*/ 374 h 664"/>
                    <a:gd name="T36" fmla="*/ 51 w 459"/>
                    <a:gd name="T37" fmla="*/ 409 h 664"/>
                    <a:gd name="T38" fmla="*/ 36 w 459"/>
                    <a:gd name="T39" fmla="*/ 431 h 664"/>
                    <a:gd name="T40" fmla="*/ 15 w 459"/>
                    <a:gd name="T41" fmla="*/ 452 h 664"/>
                    <a:gd name="T42" fmla="*/ 0 w 459"/>
                    <a:gd name="T43" fmla="*/ 469 h 664"/>
                    <a:gd name="T44" fmla="*/ 19 w 459"/>
                    <a:gd name="T45" fmla="*/ 515 h 664"/>
                    <a:gd name="T46" fmla="*/ 49 w 459"/>
                    <a:gd name="T47" fmla="*/ 586 h 664"/>
                    <a:gd name="T48" fmla="*/ 53 w 459"/>
                    <a:gd name="T49" fmla="*/ 607 h 664"/>
                    <a:gd name="T50" fmla="*/ 69 w 459"/>
                    <a:gd name="T51" fmla="*/ 656 h 664"/>
                    <a:gd name="T52" fmla="*/ 120 w 459"/>
                    <a:gd name="T53" fmla="*/ 631 h 664"/>
                    <a:gd name="T54" fmla="*/ 176 w 459"/>
                    <a:gd name="T55" fmla="*/ 618 h 664"/>
                    <a:gd name="T56" fmla="*/ 206 w 459"/>
                    <a:gd name="T57" fmla="*/ 549 h 664"/>
                    <a:gd name="T58" fmla="*/ 196 w 459"/>
                    <a:gd name="T59" fmla="*/ 507 h 664"/>
                    <a:gd name="T60" fmla="*/ 237 w 459"/>
                    <a:gd name="T61" fmla="*/ 489 h 664"/>
                    <a:gd name="T62" fmla="*/ 270 w 459"/>
                    <a:gd name="T63" fmla="*/ 456 h 664"/>
                    <a:gd name="T64" fmla="*/ 271 w 459"/>
                    <a:gd name="T65" fmla="*/ 409 h 664"/>
                    <a:gd name="T66" fmla="*/ 217 w 459"/>
                    <a:gd name="T67" fmla="*/ 350 h 664"/>
                    <a:gd name="T68" fmla="*/ 237 w 459"/>
                    <a:gd name="T69" fmla="*/ 303 h 664"/>
                    <a:gd name="T70" fmla="*/ 271 w 459"/>
                    <a:gd name="T71" fmla="*/ 270 h 664"/>
                    <a:gd name="T72" fmla="*/ 340 w 459"/>
                    <a:gd name="T73" fmla="*/ 249 h 664"/>
                    <a:gd name="T74" fmla="*/ 372 w 459"/>
                    <a:gd name="T75" fmla="*/ 175 h 664"/>
                    <a:gd name="T76" fmla="*/ 396 w 459"/>
                    <a:gd name="T77" fmla="*/ 144 h 664"/>
                    <a:gd name="T78" fmla="*/ 459 w 459"/>
                    <a:gd name="T79" fmla="*/ 157 h 664"/>
                    <a:gd name="T80" fmla="*/ 271 w 459"/>
                    <a:gd name="T81" fmla="*/ 583 h 664"/>
                    <a:gd name="T82" fmla="*/ 290 w 459"/>
                    <a:gd name="T83" fmla="*/ 543 h 664"/>
                    <a:gd name="T84" fmla="*/ 200 w 459"/>
                    <a:gd name="T85" fmla="*/ 597 h 664"/>
                    <a:gd name="T86" fmla="*/ 230 w 459"/>
                    <a:gd name="T87" fmla="*/ 570 h 6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59" h="664">
                      <a:moveTo>
                        <a:pt x="451" y="136"/>
                      </a:moveTo>
                      <a:cubicBezTo>
                        <a:pt x="451" y="136"/>
                        <a:pt x="436" y="126"/>
                        <a:pt x="434" y="118"/>
                      </a:cubicBezTo>
                      <a:cubicBezTo>
                        <a:pt x="432" y="110"/>
                        <a:pt x="445" y="95"/>
                        <a:pt x="445" y="95"/>
                      </a:cubicBezTo>
                      <a:cubicBezTo>
                        <a:pt x="428" y="85"/>
                        <a:pt x="428" y="85"/>
                        <a:pt x="428" y="85"/>
                      </a:cubicBezTo>
                      <a:cubicBezTo>
                        <a:pt x="432" y="72"/>
                        <a:pt x="432" y="72"/>
                        <a:pt x="432" y="72"/>
                      </a:cubicBezTo>
                      <a:cubicBezTo>
                        <a:pt x="424" y="67"/>
                        <a:pt x="424" y="67"/>
                        <a:pt x="424" y="67"/>
                      </a:cubicBezTo>
                      <a:cubicBezTo>
                        <a:pt x="424" y="67"/>
                        <a:pt x="429" y="53"/>
                        <a:pt x="430" y="48"/>
                      </a:cubicBezTo>
                      <a:cubicBezTo>
                        <a:pt x="431" y="43"/>
                        <a:pt x="413" y="38"/>
                        <a:pt x="413" y="38"/>
                      </a:cubicBezTo>
                      <a:cubicBezTo>
                        <a:pt x="391" y="26"/>
                        <a:pt x="391" y="26"/>
                        <a:pt x="391" y="26"/>
                      </a:cubicBezTo>
                      <a:cubicBezTo>
                        <a:pt x="369" y="25"/>
                        <a:pt x="369" y="25"/>
                        <a:pt x="369" y="25"/>
                      </a:cubicBezTo>
                      <a:cubicBezTo>
                        <a:pt x="361" y="17"/>
                        <a:pt x="361" y="17"/>
                        <a:pt x="361" y="17"/>
                      </a:cubicBezTo>
                      <a:cubicBezTo>
                        <a:pt x="361" y="17"/>
                        <a:pt x="348" y="13"/>
                        <a:pt x="338" y="9"/>
                      </a:cubicBezTo>
                      <a:cubicBezTo>
                        <a:pt x="332" y="7"/>
                        <a:pt x="327" y="3"/>
                        <a:pt x="324" y="1"/>
                      </a:cubicBezTo>
                      <a:cubicBezTo>
                        <a:pt x="304" y="0"/>
                        <a:pt x="304" y="0"/>
                        <a:pt x="304" y="0"/>
                      </a:cubicBezTo>
                      <a:cubicBezTo>
                        <a:pt x="305" y="14"/>
                        <a:pt x="305" y="14"/>
                        <a:pt x="305" y="14"/>
                      </a:cubicBezTo>
                      <a:cubicBezTo>
                        <a:pt x="305" y="14"/>
                        <a:pt x="298" y="11"/>
                        <a:pt x="298" y="16"/>
                      </a:cubicBezTo>
                      <a:cubicBezTo>
                        <a:pt x="298" y="21"/>
                        <a:pt x="311" y="27"/>
                        <a:pt x="303" y="29"/>
                      </a:cubicBezTo>
                      <a:cubicBezTo>
                        <a:pt x="295" y="31"/>
                        <a:pt x="284" y="25"/>
                        <a:pt x="284" y="25"/>
                      </a:cubicBezTo>
                      <a:cubicBezTo>
                        <a:pt x="275" y="25"/>
                        <a:pt x="275" y="25"/>
                        <a:pt x="275" y="25"/>
                      </a:cubicBezTo>
                      <a:cubicBezTo>
                        <a:pt x="262" y="21"/>
                        <a:pt x="262" y="21"/>
                        <a:pt x="262" y="21"/>
                      </a:cubicBezTo>
                      <a:cubicBezTo>
                        <a:pt x="243" y="25"/>
                        <a:pt x="243" y="25"/>
                        <a:pt x="243" y="25"/>
                      </a:cubicBezTo>
                      <a:cubicBezTo>
                        <a:pt x="243" y="25"/>
                        <a:pt x="243" y="12"/>
                        <a:pt x="235" y="18"/>
                      </a:cubicBezTo>
                      <a:cubicBezTo>
                        <a:pt x="227" y="24"/>
                        <a:pt x="237" y="35"/>
                        <a:pt x="234" y="40"/>
                      </a:cubicBezTo>
                      <a:cubicBezTo>
                        <a:pt x="231" y="45"/>
                        <a:pt x="216" y="45"/>
                        <a:pt x="216" y="45"/>
                      </a:cubicBezTo>
                      <a:cubicBezTo>
                        <a:pt x="190" y="49"/>
                        <a:pt x="190" y="49"/>
                        <a:pt x="190" y="49"/>
                      </a:cubicBezTo>
                      <a:cubicBezTo>
                        <a:pt x="181" y="59"/>
                        <a:pt x="181" y="59"/>
                        <a:pt x="181" y="59"/>
                      </a:cubicBezTo>
                      <a:cubicBezTo>
                        <a:pt x="181" y="59"/>
                        <a:pt x="164" y="67"/>
                        <a:pt x="165" y="71"/>
                      </a:cubicBezTo>
                      <a:cubicBezTo>
                        <a:pt x="166" y="75"/>
                        <a:pt x="177" y="83"/>
                        <a:pt x="177" y="83"/>
                      </a:cubicBezTo>
                      <a:cubicBezTo>
                        <a:pt x="172" y="93"/>
                        <a:pt x="172" y="93"/>
                        <a:pt x="172" y="93"/>
                      </a:cubicBezTo>
                      <a:cubicBezTo>
                        <a:pt x="172" y="93"/>
                        <a:pt x="167" y="94"/>
                        <a:pt x="161" y="99"/>
                      </a:cubicBezTo>
                      <a:cubicBezTo>
                        <a:pt x="155" y="104"/>
                        <a:pt x="153" y="111"/>
                        <a:pt x="153" y="111"/>
                      </a:cubicBezTo>
                      <a:cubicBezTo>
                        <a:pt x="139" y="112"/>
                        <a:pt x="139" y="112"/>
                        <a:pt x="139" y="112"/>
                      </a:cubicBezTo>
                      <a:cubicBezTo>
                        <a:pt x="139" y="112"/>
                        <a:pt x="153" y="126"/>
                        <a:pt x="146" y="128"/>
                      </a:cubicBezTo>
                      <a:cubicBezTo>
                        <a:pt x="139" y="130"/>
                        <a:pt x="130" y="135"/>
                        <a:pt x="130" y="135"/>
                      </a:cubicBezTo>
                      <a:cubicBezTo>
                        <a:pt x="116" y="128"/>
                        <a:pt x="116" y="128"/>
                        <a:pt x="116" y="128"/>
                      </a:cubicBezTo>
                      <a:cubicBezTo>
                        <a:pt x="118" y="144"/>
                        <a:pt x="118" y="144"/>
                        <a:pt x="118" y="144"/>
                      </a:cubicBezTo>
                      <a:cubicBezTo>
                        <a:pt x="115" y="149"/>
                        <a:pt x="115" y="149"/>
                        <a:pt x="115" y="149"/>
                      </a:cubicBezTo>
                      <a:cubicBezTo>
                        <a:pt x="111" y="178"/>
                        <a:pt x="111" y="178"/>
                        <a:pt x="111" y="178"/>
                      </a:cubicBezTo>
                      <a:cubicBezTo>
                        <a:pt x="111" y="178"/>
                        <a:pt x="101" y="190"/>
                        <a:pt x="96" y="194"/>
                      </a:cubicBezTo>
                      <a:cubicBezTo>
                        <a:pt x="91" y="198"/>
                        <a:pt x="82" y="204"/>
                        <a:pt x="82" y="204"/>
                      </a:cubicBezTo>
                      <a:cubicBezTo>
                        <a:pt x="82" y="204"/>
                        <a:pt x="103" y="214"/>
                        <a:pt x="99" y="223"/>
                      </a:cubicBezTo>
                      <a:cubicBezTo>
                        <a:pt x="95" y="232"/>
                        <a:pt x="68" y="227"/>
                        <a:pt x="68" y="227"/>
                      </a:cubicBezTo>
                      <a:cubicBezTo>
                        <a:pt x="68" y="227"/>
                        <a:pt x="53" y="239"/>
                        <a:pt x="46" y="244"/>
                      </a:cubicBezTo>
                      <a:cubicBezTo>
                        <a:pt x="39" y="249"/>
                        <a:pt x="33" y="254"/>
                        <a:pt x="33" y="254"/>
                      </a:cubicBezTo>
                      <a:cubicBezTo>
                        <a:pt x="28" y="260"/>
                        <a:pt x="28" y="260"/>
                        <a:pt x="28" y="260"/>
                      </a:cubicBezTo>
                      <a:cubicBezTo>
                        <a:pt x="28" y="260"/>
                        <a:pt x="22" y="265"/>
                        <a:pt x="22" y="268"/>
                      </a:cubicBezTo>
                      <a:cubicBezTo>
                        <a:pt x="22" y="271"/>
                        <a:pt x="40" y="271"/>
                        <a:pt x="34" y="277"/>
                      </a:cubicBezTo>
                      <a:cubicBezTo>
                        <a:pt x="28" y="283"/>
                        <a:pt x="19" y="285"/>
                        <a:pt x="21" y="290"/>
                      </a:cubicBezTo>
                      <a:cubicBezTo>
                        <a:pt x="23" y="295"/>
                        <a:pt x="29" y="303"/>
                        <a:pt x="29" y="303"/>
                      </a:cubicBezTo>
                      <a:cubicBezTo>
                        <a:pt x="29" y="303"/>
                        <a:pt x="40" y="310"/>
                        <a:pt x="39" y="315"/>
                      </a:cubicBezTo>
                      <a:cubicBezTo>
                        <a:pt x="38" y="320"/>
                        <a:pt x="32" y="327"/>
                        <a:pt x="33" y="334"/>
                      </a:cubicBezTo>
                      <a:cubicBezTo>
                        <a:pt x="34" y="341"/>
                        <a:pt x="42" y="348"/>
                        <a:pt x="42" y="348"/>
                      </a:cubicBezTo>
                      <a:cubicBezTo>
                        <a:pt x="42" y="348"/>
                        <a:pt x="61" y="354"/>
                        <a:pt x="59" y="361"/>
                      </a:cubicBezTo>
                      <a:cubicBezTo>
                        <a:pt x="57" y="368"/>
                        <a:pt x="50" y="374"/>
                        <a:pt x="50" y="374"/>
                      </a:cubicBezTo>
                      <a:cubicBezTo>
                        <a:pt x="35" y="377"/>
                        <a:pt x="35" y="377"/>
                        <a:pt x="35" y="377"/>
                      </a:cubicBezTo>
                      <a:cubicBezTo>
                        <a:pt x="35" y="377"/>
                        <a:pt x="41" y="394"/>
                        <a:pt x="44" y="397"/>
                      </a:cubicBezTo>
                      <a:cubicBezTo>
                        <a:pt x="47" y="400"/>
                        <a:pt x="51" y="409"/>
                        <a:pt x="51" y="409"/>
                      </a:cubicBezTo>
                      <a:cubicBezTo>
                        <a:pt x="44" y="409"/>
                        <a:pt x="44" y="409"/>
                        <a:pt x="44" y="409"/>
                      </a:cubicBezTo>
                      <a:cubicBezTo>
                        <a:pt x="44" y="426"/>
                        <a:pt x="44" y="426"/>
                        <a:pt x="44" y="426"/>
                      </a:cubicBezTo>
                      <a:cubicBezTo>
                        <a:pt x="44" y="426"/>
                        <a:pt x="41" y="431"/>
                        <a:pt x="36" y="431"/>
                      </a:cubicBezTo>
                      <a:cubicBezTo>
                        <a:pt x="31" y="431"/>
                        <a:pt x="17" y="425"/>
                        <a:pt x="19" y="431"/>
                      </a:cubicBezTo>
                      <a:cubicBezTo>
                        <a:pt x="21" y="437"/>
                        <a:pt x="21" y="441"/>
                        <a:pt x="21" y="441"/>
                      </a:cubicBezTo>
                      <a:cubicBezTo>
                        <a:pt x="21" y="441"/>
                        <a:pt x="12" y="444"/>
                        <a:pt x="15" y="452"/>
                      </a:cubicBezTo>
                      <a:cubicBezTo>
                        <a:pt x="18" y="460"/>
                        <a:pt x="24" y="461"/>
                        <a:pt x="22" y="466"/>
                      </a:cubicBezTo>
                      <a:cubicBezTo>
                        <a:pt x="20" y="471"/>
                        <a:pt x="14" y="482"/>
                        <a:pt x="14" y="482"/>
                      </a:cubicBezTo>
                      <a:cubicBezTo>
                        <a:pt x="0" y="469"/>
                        <a:pt x="0" y="469"/>
                        <a:pt x="0" y="469"/>
                      </a:cubicBezTo>
                      <a:cubicBezTo>
                        <a:pt x="2" y="510"/>
                        <a:pt x="2" y="510"/>
                        <a:pt x="2" y="510"/>
                      </a:cubicBezTo>
                      <a:cubicBezTo>
                        <a:pt x="2" y="510"/>
                        <a:pt x="16" y="499"/>
                        <a:pt x="23" y="511"/>
                      </a:cubicBezTo>
                      <a:cubicBezTo>
                        <a:pt x="30" y="523"/>
                        <a:pt x="19" y="515"/>
                        <a:pt x="19" y="515"/>
                      </a:cubicBezTo>
                      <a:cubicBezTo>
                        <a:pt x="19" y="515"/>
                        <a:pt x="14" y="549"/>
                        <a:pt x="18" y="553"/>
                      </a:cubicBezTo>
                      <a:cubicBezTo>
                        <a:pt x="22" y="557"/>
                        <a:pt x="34" y="562"/>
                        <a:pt x="34" y="562"/>
                      </a:cubicBezTo>
                      <a:cubicBezTo>
                        <a:pt x="34" y="562"/>
                        <a:pt x="43" y="579"/>
                        <a:pt x="49" y="586"/>
                      </a:cubicBezTo>
                      <a:cubicBezTo>
                        <a:pt x="55" y="593"/>
                        <a:pt x="66" y="597"/>
                        <a:pt x="66" y="597"/>
                      </a:cubicBezTo>
                      <a:cubicBezTo>
                        <a:pt x="65" y="605"/>
                        <a:pt x="65" y="605"/>
                        <a:pt x="65" y="605"/>
                      </a:cubicBezTo>
                      <a:cubicBezTo>
                        <a:pt x="53" y="607"/>
                        <a:pt x="53" y="607"/>
                        <a:pt x="53" y="607"/>
                      </a:cubicBezTo>
                      <a:cubicBezTo>
                        <a:pt x="53" y="607"/>
                        <a:pt x="51" y="615"/>
                        <a:pt x="52" y="621"/>
                      </a:cubicBezTo>
                      <a:cubicBezTo>
                        <a:pt x="53" y="627"/>
                        <a:pt x="68" y="640"/>
                        <a:pt x="68" y="640"/>
                      </a:cubicBezTo>
                      <a:cubicBezTo>
                        <a:pt x="68" y="640"/>
                        <a:pt x="64" y="653"/>
                        <a:pt x="69" y="656"/>
                      </a:cubicBezTo>
                      <a:cubicBezTo>
                        <a:pt x="74" y="659"/>
                        <a:pt x="94" y="657"/>
                        <a:pt x="94" y="657"/>
                      </a:cubicBezTo>
                      <a:cubicBezTo>
                        <a:pt x="94" y="657"/>
                        <a:pt x="122" y="664"/>
                        <a:pt x="121" y="655"/>
                      </a:cubicBezTo>
                      <a:cubicBezTo>
                        <a:pt x="120" y="646"/>
                        <a:pt x="120" y="631"/>
                        <a:pt x="120" y="631"/>
                      </a:cubicBezTo>
                      <a:cubicBezTo>
                        <a:pt x="132" y="625"/>
                        <a:pt x="132" y="625"/>
                        <a:pt x="132" y="625"/>
                      </a:cubicBezTo>
                      <a:cubicBezTo>
                        <a:pt x="133" y="615"/>
                        <a:pt x="133" y="615"/>
                        <a:pt x="133" y="615"/>
                      </a:cubicBezTo>
                      <a:cubicBezTo>
                        <a:pt x="176" y="618"/>
                        <a:pt x="176" y="618"/>
                        <a:pt x="176" y="618"/>
                      </a:cubicBezTo>
                      <a:cubicBezTo>
                        <a:pt x="185" y="623"/>
                        <a:pt x="185" y="623"/>
                        <a:pt x="185" y="623"/>
                      </a:cubicBezTo>
                      <a:cubicBezTo>
                        <a:pt x="199" y="581"/>
                        <a:pt x="199" y="581"/>
                        <a:pt x="199" y="581"/>
                      </a:cubicBezTo>
                      <a:cubicBezTo>
                        <a:pt x="199" y="581"/>
                        <a:pt x="208" y="555"/>
                        <a:pt x="206" y="549"/>
                      </a:cubicBezTo>
                      <a:cubicBezTo>
                        <a:pt x="204" y="543"/>
                        <a:pt x="198" y="532"/>
                        <a:pt x="198" y="532"/>
                      </a:cubicBezTo>
                      <a:cubicBezTo>
                        <a:pt x="198" y="532"/>
                        <a:pt x="219" y="529"/>
                        <a:pt x="217" y="518"/>
                      </a:cubicBezTo>
                      <a:cubicBezTo>
                        <a:pt x="215" y="507"/>
                        <a:pt x="196" y="507"/>
                        <a:pt x="196" y="507"/>
                      </a:cubicBezTo>
                      <a:cubicBezTo>
                        <a:pt x="209" y="502"/>
                        <a:pt x="209" y="502"/>
                        <a:pt x="209" y="502"/>
                      </a:cubicBezTo>
                      <a:cubicBezTo>
                        <a:pt x="200" y="498"/>
                        <a:pt x="200" y="498"/>
                        <a:pt x="200" y="498"/>
                      </a:cubicBezTo>
                      <a:cubicBezTo>
                        <a:pt x="200" y="498"/>
                        <a:pt x="234" y="500"/>
                        <a:pt x="237" y="489"/>
                      </a:cubicBezTo>
                      <a:cubicBezTo>
                        <a:pt x="240" y="478"/>
                        <a:pt x="245" y="472"/>
                        <a:pt x="245" y="472"/>
                      </a:cubicBezTo>
                      <a:cubicBezTo>
                        <a:pt x="245" y="472"/>
                        <a:pt x="256" y="490"/>
                        <a:pt x="266" y="478"/>
                      </a:cubicBezTo>
                      <a:cubicBezTo>
                        <a:pt x="276" y="466"/>
                        <a:pt x="270" y="456"/>
                        <a:pt x="270" y="456"/>
                      </a:cubicBezTo>
                      <a:cubicBezTo>
                        <a:pt x="270" y="456"/>
                        <a:pt x="297" y="451"/>
                        <a:pt x="290" y="437"/>
                      </a:cubicBezTo>
                      <a:cubicBezTo>
                        <a:pt x="283" y="423"/>
                        <a:pt x="271" y="420"/>
                        <a:pt x="271" y="420"/>
                      </a:cubicBezTo>
                      <a:cubicBezTo>
                        <a:pt x="271" y="409"/>
                        <a:pt x="271" y="409"/>
                        <a:pt x="271" y="409"/>
                      </a:cubicBezTo>
                      <a:cubicBezTo>
                        <a:pt x="247" y="399"/>
                        <a:pt x="247" y="399"/>
                        <a:pt x="247" y="399"/>
                      </a:cubicBezTo>
                      <a:cubicBezTo>
                        <a:pt x="247" y="399"/>
                        <a:pt x="236" y="406"/>
                        <a:pt x="228" y="399"/>
                      </a:cubicBezTo>
                      <a:cubicBezTo>
                        <a:pt x="220" y="392"/>
                        <a:pt x="217" y="350"/>
                        <a:pt x="217" y="350"/>
                      </a:cubicBezTo>
                      <a:cubicBezTo>
                        <a:pt x="217" y="350"/>
                        <a:pt x="228" y="340"/>
                        <a:pt x="229" y="329"/>
                      </a:cubicBezTo>
                      <a:cubicBezTo>
                        <a:pt x="230" y="318"/>
                        <a:pt x="219" y="308"/>
                        <a:pt x="219" y="308"/>
                      </a:cubicBezTo>
                      <a:cubicBezTo>
                        <a:pt x="219" y="308"/>
                        <a:pt x="233" y="311"/>
                        <a:pt x="237" y="303"/>
                      </a:cubicBezTo>
                      <a:cubicBezTo>
                        <a:pt x="241" y="295"/>
                        <a:pt x="232" y="283"/>
                        <a:pt x="232" y="283"/>
                      </a:cubicBezTo>
                      <a:cubicBezTo>
                        <a:pt x="232" y="283"/>
                        <a:pt x="249" y="292"/>
                        <a:pt x="254" y="287"/>
                      </a:cubicBezTo>
                      <a:cubicBezTo>
                        <a:pt x="259" y="282"/>
                        <a:pt x="271" y="270"/>
                        <a:pt x="271" y="270"/>
                      </a:cubicBezTo>
                      <a:cubicBezTo>
                        <a:pt x="291" y="273"/>
                        <a:pt x="291" y="273"/>
                        <a:pt x="291" y="273"/>
                      </a:cubicBezTo>
                      <a:cubicBezTo>
                        <a:pt x="299" y="258"/>
                        <a:pt x="299" y="258"/>
                        <a:pt x="299" y="258"/>
                      </a:cubicBezTo>
                      <a:cubicBezTo>
                        <a:pt x="299" y="258"/>
                        <a:pt x="330" y="259"/>
                        <a:pt x="340" y="249"/>
                      </a:cubicBezTo>
                      <a:cubicBezTo>
                        <a:pt x="350" y="239"/>
                        <a:pt x="364" y="213"/>
                        <a:pt x="364" y="213"/>
                      </a:cubicBezTo>
                      <a:cubicBezTo>
                        <a:pt x="352" y="198"/>
                        <a:pt x="352" y="198"/>
                        <a:pt x="352" y="198"/>
                      </a:cubicBezTo>
                      <a:cubicBezTo>
                        <a:pt x="372" y="175"/>
                        <a:pt x="372" y="175"/>
                        <a:pt x="372" y="175"/>
                      </a:cubicBezTo>
                      <a:cubicBezTo>
                        <a:pt x="361" y="162"/>
                        <a:pt x="361" y="162"/>
                        <a:pt x="361" y="162"/>
                      </a:cubicBezTo>
                      <a:cubicBezTo>
                        <a:pt x="386" y="156"/>
                        <a:pt x="386" y="156"/>
                        <a:pt x="386" y="156"/>
                      </a:cubicBezTo>
                      <a:cubicBezTo>
                        <a:pt x="396" y="144"/>
                        <a:pt x="396" y="144"/>
                        <a:pt x="396" y="144"/>
                      </a:cubicBezTo>
                      <a:cubicBezTo>
                        <a:pt x="449" y="146"/>
                        <a:pt x="449" y="146"/>
                        <a:pt x="449" y="146"/>
                      </a:cubicBezTo>
                      <a:cubicBezTo>
                        <a:pt x="457" y="159"/>
                        <a:pt x="457" y="159"/>
                        <a:pt x="457" y="159"/>
                      </a:cubicBezTo>
                      <a:cubicBezTo>
                        <a:pt x="459" y="157"/>
                        <a:pt x="459" y="157"/>
                        <a:pt x="459" y="157"/>
                      </a:cubicBezTo>
                      <a:lnTo>
                        <a:pt x="451" y="136"/>
                      </a:lnTo>
                      <a:close/>
                      <a:moveTo>
                        <a:pt x="262" y="549"/>
                      </a:moveTo>
                      <a:cubicBezTo>
                        <a:pt x="259" y="560"/>
                        <a:pt x="271" y="583"/>
                        <a:pt x="271" y="583"/>
                      </a:cubicBezTo>
                      <a:cubicBezTo>
                        <a:pt x="279" y="566"/>
                        <a:pt x="279" y="566"/>
                        <a:pt x="279" y="566"/>
                      </a:cubicBezTo>
                      <a:cubicBezTo>
                        <a:pt x="279" y="566"/>
                        <a:pt x="285" y="569"/>
                        <a:pt x="290" y="560"/>
                      </a:cubicBezTo>
                      <a:cubicBezTo>
                        <a:pt x="296" y="552"/>
                        <a:pt x="290" y="543"/>
                        <a:pt x="290" y="543"/>
                      </a:cubicBezTo>
                      <a:cubicBezTo>
                        <a:pt x="302" y="531"/>
                        <a:pt x="302" y="531"/>
                        <a:pt x="302" y="531"/>
                      </a:cubicBezTo>
                      <a:cubicBezTo>
                        <a:pt x="302" y="531"/>
                        <a:pt x="265" y="538"/>
                        <a:pt x="262" y="549"/>
                      </a:cubicBezTo>
                      <a:close/>
                      <a:moveTo>
                        <a:pt x="200" y="597"/>
                      </a:moveTo>
                      <a:cubicBezTo>
                        <a:pt x="200" y="602"/>
                        <a:pt x="199" y="615"/>
                        <a:pt x="199" y="615"/>
                      </a:cubicBezTo>
                      <a:cubicBezTo>
                        <a:pt x="207" y="615"/>
                        <a:pt x="216" y="584"/>
                        <a:pt x="216" y="584"/>
                      </a:cubicBezTo>
                      <a:cubicBezTo>
                        <a:pt x="230" y="570"/>
                        <a:pt x="230" y="570"/>
                        <a:pt x="230" y="570"/>
                      </a:cubicBezTo>
                      <a:cubicBezTo>
                        <a:pt x="226" y="557"/>
                        <a:pt x="226" y="557"/>
                        <a:pt x="226" y="557"/>
                      </a:cubicBezTo>
                      <a:cubicBezTo>
                        <a:pt x="226" y="557"/>
                        <a:pt x="200" y="591"/>
                        <a:pt x="200" y="597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4" name="Spain">
                  <a:extLst>
                    <a:ext uri="{FF2B5EF4-FFF2-40B4-BE49-F238E27FC236}">
                      <a16:creationId xmlns:a16="http://schemas.microsoft.com/office/drawing/2014/main" id="{1C53CF2C-CF25-D070-E8ED-4398D69CB92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412962" y="2768127"/>
                  <a:ext cx="331845" cy="231669"/>
                </a:xfrm>
                <a:custGeom>
                  <a:avLst/>
                  <a:gdLst>
                    <a:gd name="T0" fmla="*/ 527 w 591"/>
                    <a:gd name="T1" fmla="*/ 205 h 413"/>
                    <a:gd name="T2" fmla="*/ 511 w 591"/>
                    <a:gd name="T3" fmla="*/ 226 h 413"/>
                    <a:gd name="T4" fmla="*/ 531 w 591"/>
                    <a:gd name="T5" fmla="*/ 237 h 413"/>
                    <a:gd name="T6" fmla="*/ 536 w 591"/>
                    <a:gd name="T7" fmla="*/ 212 h 413"/>
                    <a:gd name="T8" fmla="*/ 461 w 591"/>
                    <a:gd name="T9" fmla="*/ 249 h 413"/>
                    <a:gd name="T10" fmla="*/ 560 w 591"/>
                    <a:gd name="T11" fmla="*/ 198 h 413"/>
                    <a:gd name="T12" fmla="*/ 560 w 591"/>
                    <a:gd name="T13" fmla="*/ 198 h 413"/>
                    <a:gd name="T14" fmla="*/ 534 w 591"/>
                    <a:gd name="T15" fmla="*/ 86 h 413"/>
                    <a:gd name="T16" fmla="*/ 527 w 591"/>
                    <a:gd name="T17" fmla="*/ 67 h 413"/>
                    <a:gd name="T18" fmla="*/ 514 w 591"/>
                    <a:gd name="T19" fmla="*/ 77 h 413"/>
                    <a:gd name="T20" fmla="*/ 496 w 591"/>
                    <a:gd name="T21" fmla="*/ 70 h 413"/>
                    <a:gd name="T22" fmla="*/ 479 w 591"/>
                    <a:gd name="T23" fmla="*/ 68 h 413"/>
                    <a:gd name="T24" fmla="*/ 459 w 591"/>
                    <a:gd name="T25" fmla="*/ 56 h 413"/>
                    <a:gd name="T26" fmla="*/ 437 w 591"/>
                    <a:gd name="T27" fmla="*/ 48 h 413"/>
                    <a:gd name="T28" fmla="*/ 417 w 591"/>
                    <a:gd name="T29" fmla="*/ 63 h 413"/>
                    <a:gd name="T30" fmla="*/ 395 w 591"/>
                    <a:gd name="T31" fmla="*/ 54 h 413"/>
                    <a:gd name="T32" fmla="*/ 376 w 591"/>
                    <a:gd name="T33" fmla="*/ 51 h 413"/>
                    <a:gd name="T34" fmla="*/ 342 w 591"/>
                    <a:gd name="T35" fmla="*/ 38 h 413"/>
                    <a:gd name="T36" fmla="*/ 327 w 591"/>
                    <a:gd name="T37" fmla="*/ 29 h 413"/>
                    <a:gd name="T38" fmla="*/ 320 w 591"/>
                    <a:gd name="T39" fmla="*/ 23 h 413"/>
                    <a:gd name="T40" fmla="*/ 234 w 591"/>
                    <a:gd name="T41" fmla="*/ 22 h 413"/>
                    <a:gd name="T42" fmla="*/ 156 w 591"/>
                    <a:gd name="T43" fmla="*/ 7 h 413"/>
                    <a:gd name="T44" fmla="*/ 91 w 591"/>
                    <a:gd name="T45" fmla="*/ 8 h 413"/>
                    <a:gd name="T46" fmla="*/ 49 w 591"/>
                    <a:gd name="T47" fmla="*/ 18 h 413"/>
                    <a:gd name="T48" fmla="*/ 21 w 591"/>
                    <a:gd name="T49" fmla="*/ 67 h 413"/>
                    <a:gd name="T50" fmla="*/ 15 w 591"/>
                    <a:gd name="T51" fmla="*/ 101 h 413"/>
                    <a:gd name="T52" fmla="*/ 50 w 591"/>
                    <a:gd name="T53" fmla="*/ 94 h 413"/>
                    <a:gd name="T54" fmla="*/ 61 w 591"/>
                    <a:gd name="T55" fmla="*/ 99 h 413"/>
                    <a:gd name="T56" fmla="*/ 85 w 591"/>
                    <a:gd name="T57" fmla="*/ 96 h 413"/>
                    <a:gd name="T58" fmla="*/ 115 w 591"/>
                    <a:gd name="T59" fmla="*/ 108 h 413"/>
                    <a:gd name="T60" fmla="*/ 94 w 591"/>
                    <a:gd name="T61" fmla="*/ 144 h 413"/>
                    <a:gd name="T62" fmla="*/ 96 w 591"/>
                    <a:gd name="T63" fmla="*/ 181 h 413"/>
                    <a:gd name="T64" fmla="*/ 94 w 591"/>
                    <a:gd name="T65" fmla="*/ 205 h 413"/>
                    <a:gd name="T66" fmla="*/ 61 w 591"/>
                    <a:gd name="T67" fmla="*/ 217 h 413"/>
                    <a:gd name="T68" fmla="*/ 77 w 591"/>
                    <a:gd name="T69" fmla="*/ 240 h 413"/>
                    <a:gd name="T70" fmla="*/ 66 w 591"/>
                    <a:gd name="T71" fmla="*/ 276 h 413"/>
                    <a:gd name="T72" fmla="*/ 84 w 591"/>
                    <a:gd name="T73" fmla="*/ 301 h 413"/>
                    <a:gd name="T74" fmla="*/ 60 w 591"/>
                    <a:gd name="T75" fmla="*/ 325 h 413"/>
                    <a:gd name="T76" fmla="*/ 61 w 591"/>
                    <a:gd name="T77" fmla="*/ 351 h 413"/>
                    <a:gd name="T78" fmla="*/ 81 w 591"/>
                    <a:gd name="T79" fmla="*/ 350 h 413"/>
                    <a:gd name="T80" fmla="*/ 109 w 591"/>
                    <a:gd name="T81" fmla="*/ 365 h 413"/>
                    <a:gd name="T82" fmla="*/ 110 w 591"/>
                    <a:gd name="T83" fmla="*/ 383 h 413"/>
                    <a:gd name="T84" fmla="*/ 136 w 591"/>
                    <a:gd name="T85" fmla="*/ 413 h 413"/>
                    <a:gd name="T86" fmla="*/ 177 w 591"/>
                    <a:gd name="T87" fmla="*/ 389 h 413"/>
                    <a:gd name="T88" fmla="*/ 235 w 591"/>
                    <a:gd name="T89" fmla="*/ 377 h 413"/>
                    <a:gd name="T90" fmla="*/ 265 w 591"/>
                    <a:gd name="T91" fmla="*/ 378 h 413"/>
                    <a:gd name="T92" fmla="*/ 297 w 591"/>
                    <a:gd name="T93" fmla="*/ 374 h 413"/>
                    <a:gd name="T94" fmla="*/ 331 w 591"/>
                    <a:gd name="T95" fmla="*/ 329 h 413"/>
                    <a:gd name="T96" fmla="*/ 356 w 591"/>
                    <a:gd name="T97" fmla="*/ 315 h 413"/>
                    <a:gd name="T98" fmla="*/ 401 w 591"/>
                    <a:gd name="T99" fmla="*/ 270 h 413"/>
                    <a:gd name="T100" fmla="*/ 385 w 591"/>
                    <a:gd name="T101" fmla="*/ 215 h 413"/>
                    <a:gd name="T102" fmla="*/ 424 w 591"/>
                    <a:gd name="T103" fmla="*/ 172 h 413"/>
                    <a:gd name="T104" fmla="*/ 438 w 591"/>
                    <a:gd name="T105" fmla="*/ 146 h 413"/>
                    <a:gd name="T106" fmla="*/ 514 w 591"/>
                    <a:gd name="T107" fmla="*/ 113 h 4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91" h="413">
                      <a:moveTo>
                        <a:pt x="536" y="212"/>
                      </a:moveTo>
                      <a:cubicBezTo>
                        <a:pt x="536" y="212"/>
                        <a:pt x="533" y="205"/>
                        <a:pt x="527" y="205"/>
                      </a:cubicBezTo>
                      <a:cubicBezTo>
                        <a:pt x="521" y="205"/>
                        <a:pt x="498" y="218"/>
                        <a:pt x="501" y="223"/>
                      </a:cubicBezTo>
                      <a:cubicBezTo>
                        <a:pt x="504" y="228"/>
                        <a:pt x="511" y="226"/>
                        <a:pt x="511" y="226"/>
                      </a:cubicBezTo>
                      <a:cubicBezTo>
                        <a:pt x="511" y="226"/>
                        <a:pt x="515" y="235"/>
                        <a:pt x="519" y="236"/>
                      </a:cubicBezTo>
                      <a:cubicBezTo>
                        <a:pt x="523" y="237"/>
                        <a:pt x="531" y="237"/>
                        <a:pt x="531" y="237"/>
                      </a:cubicBezTo>
                      <a:cubicBezTo>
                        <a:pt x="537" y="235"/>
                        <a:pt x="547" y="225"/>
                        <a:pt x="546" y="218"/>
                      </a:cubicBezTo>
                      <a:cubicBezTo>
                        <a:pt x="545" y="211"/>
                        <a:pt x="536" y="212"/>
                        <a:pt x="536" y="212"/>
                      </a:cubicBezTo>
                      <a:close/>
                      <a:moveTo>
                        <a:pt x="447" y="261"/>
                      </a:moveTo>
                      <a:cubicBezTo>
                        <a:pt x="456" y="270"/>
                        <a:pt x="466" y="259"/>
                        <a:pt x="461" y="249"/>
                      </a:cubicBezTo>
                      <a:cubicBezTo>
                        <a:pt x="456" y="239"/>
                        <a:pt x="447" y="261"/>
                        <a:pt x="447" y="261"/>
                      </a:cubicBezTo>
                      <a:close/>
                      <a:moveTo>
                        <a:pt x="560" y="198"/>
                      </a:moveTo>
                      <a:cubicBezTo>
                        <a:pt x="560" y="198"/>
                        <a:pt x="573" y="218"/>
                        <a:pt x="582" y="213"/>
                      </a:cubicBezTo>
                      <a:cubicBezTo>
                        <a:pt x="591" y="208"/>
                        <a:pt x="570" y="191"/>
                        <a:pt x="560" y="198"/>
                      </a:cubicBezTo>
                      <a:close/>
                      <a:moveTo>
                        <a:pt x="535" y="101"/>
                      </a:moveTo>
                      <a:cubicBezTo>
                        <a:pt x="536" y="98"/>
                        <a:pt x="534" y="86"/>
                        <a:pt x="534" y="86"/>
                      </a:cubicBezTo>
                      <a:cubicBezTo>
                        <a:pt x="542" y="81"/>
                        <a:pt x="542" y="81"/>
                        <a:pt x="542" y="81"/>
                      </a:cubicBezTo>
                      <a:cubicBezTo>
                        <a:pt x="542" y="81"/>
                        <a:pt x="530" y="75"/>
                        <a:pt x="527" y="67"/>
                      </a:cubicBezTo>
                      <a:cubicBezTo>
                        <a:pt x="521" y="67"/>
                        <a:pt x="521" y="67"/>
                        <a:pt x="521" y="67"/>
                      </a:cubicBezTo>
                      <a:cubicBezTo>
                        <a:pt x="521" y="67"/>
                        <a:pt x="521" y="77"/>
                        <a:pt x="514" y="77"/>
                      </a:cubicBezTo>
                      <a:cubicBezTo>
                        <a:pt x="507" y="77"/>
                        <a:pt x="506" y="77"/>
                        <a:pt x="506" y="77"/>
                      </a:cubicBezTo>
                      <a:cubicBezTo>
                        <a:pt x="506" y="77"/>
                        <a:pt x="499" y="69"/>
                        <a:pt x="496" y="70"/>
                      </a:cubicBezTo>
                      <a:cubicBezTo>
                        <a:pt x="493" y="71"/>
                        <a:pt x="486" y="73"/>
                        <a:pt x="486" y="73"/>
                      </a:cubicBezTo>
                      <a:cubicBezTo>
                        <a:pt x="486" y="73"/>
                        <a:pt x="483" y="67"/>
                        <a:pt x="479" y="68"/>
                      </a:cubicBezTo>
                      <a:cubicBezTo>
                        <a:pt x="475" y="69"/>
                        <a:pt x="466" y="71"/>
                        <a:pt x="466" y="71"/>
                      </a:cubicBezTo>
                      <a:cubicBezTo>
                        <a:pt x="459" y="56"/>
                        <a:pt x="459" y="56"/>
                        <a:pt x="459" y="56"/>
                      </a:cubicBezTo>
                      <a:cubicBezTo>
                        <a:pt x="450" y="55"/>
                        <a:pt x="450" y="55"/>
                        <a:pt x="450" y="55"/>
                      </a:cubicBezTo>
                      <a:cubicBezTo>
                        <a:pt x="450" y="55"/>
                        <a:pt x="450" y="48"/>
                        <a:pt x="437" y="48"/>
                      </a:cubicBezTo>
                      <a:cubicBezTo>
                        <a:pt x="424" y="48"/>
                        <a:pt x="430" y="60"/>
                        <a:pt x="430" y="60"/>
                      </a:cubicBezTo>
                      <a:cubicBezTo>
                        <a:pt x="417" y="63"/>
                        <a:pt x="417" y="63"/>
                        <a:pt x="417" y="63"/>
                      </a:cubicBezTo>
                      <a:cubicBezTo>
                        <a:pt x="415" y="55"/>
                        <a:pt x="415" y="55"/>
                        <a:pt x="415" y="55"/>
                      </a:cubicBezTo>
                      <a:cubicBezTo>
                        <a:pt x="395" y="54"/>
                        <a:pt x="395" y="54"/>
                        <a:pt x="395" y="54"/>
                      </a:cubicBezTo>
                      <a:cubicBezTo>
                        <a:pt x="395" y="54"/>
                        <a:pt x="394" y="51"/>
                        <a:pt x="390" y="49"/>
                      </a:cubicBezTo>
                      <a:cubicBezTo>
                        <a:pt x="386" y="47"/>
                        <a:pt x="376" y="51"/>
                        <a:pt x="376" y="51"/>
                      </a:cubicBezTo>
                      <a:cubicBezTo>
                        <a:pt x="376" y="51"/>
                        <a:pt x="370" y="42"/>
                        <a:pt x="363" y="41"/>
                      </a:cubicBezTo>
                      <a:cubicBezTo>
                        <a:pt x="356" y="40"/>
                        <a:pt x="342" y="38"/>
                        <a:pt x="342" y="38"/>
                      </a:cubicBezTo>
                      <a:cubicBezTo>
                        <a:pt x="342" y="38"/>
                        <a:pt x="348" y="35"/>
                        <a:pt x="342" y="28"/>
                      </a:cubicBezTo>
                      <a:cubicBezTo>
                        <a:pt x="336" y="21"/>
                        <a:pt x="327" y="29"/>
                        <a:pt x="327" y="29"/>
                      </a:cubicBezTo>
                      <a:cubicBezTo>
                        <a:pt x="326" y="23"/>
                        <a:pt x="326" y="23"/>
                        <a:pt x="326" y="23"/>
                      </a:cubicBezTo>
                      <a:cubicBezTo>
                        <a:pt x="324" y="23"/>
                        <a:pt x="322" y="23"/>
                        <a:pt x="320" y="23"/>
                      </a:cubicBezTo>
                      <a:cubicBezTo>
                        <a:pt x="301" y="23"/>
                        <a:pt x="254" y="14"/>
                        <a:pt x="254" y="14"/>
                      </a:cubicBezTo>
                      <a:cubicBezTo>
                        <a:pt x="234" y="22"/>
                        <a:pt x="234" y="22"/>
                        <a:pt x="234" y="22"/>
                      </a:cubicBezTo>
                      <a:cubicBezTo>
                        <a:pt x="196" y="18"/>
                        <a:pt x="196" y="18"/>
                        <a:pt x="196" y="18"/>
                      </a:cubicBezTo>
                      <a:cubicBezTo>
                        <a:pt x="196" y="18"/>
                        <a:pt x="171" y="4"/>
                        <a:pt x="156" y="7"/>
                      </a:cubicBezTo>
                      <a:cubicBezTo>
                        <a:pt x="141" y="10"/>
                        <a:pt x="120" y="11"/>
                        <a:pt x="115" y="11"/>
                      </a:cubicBezTo>
                      <a:cubicBezTo>
                        <a:pt x="110" y="11"/>
                        <a:pt x="91" y="8"/>
                        <a:pt x="91" y="8"/>
                      </a:cubicBezTo>
                      <a:cubicBezTo>
                        <a:pt x="91" y="8"/>
                        <a:pt x="81" y="0"/>
                        <a:pt x="75" y="0"/>
                      </a:cubicBezTo>
                      <a:cubicBezTo>
                        <a:pt x="69" y="0"/>
                        <a:pt x="49" y="18"/>
                        <a:pt x="49" y="18"/>
                      </a:cubicBezTo>
                      <a:cubicBezTo>
                        <a:pt x="49" y="18"/>
                        <a:pt x="4" y="25"/>
                        <a:pt x="2" y="38"/>
                      </a:cubicBezTo>
                      <a:cubicBezTo>
                        <a:pt x="0" y="51"/>
                        <a:pt x="21" y="67"/>
                        <a:pt x="21" y="67"/>
                      </a:cubicBezTo>
                      <a:cubicBezTo>
                        <a:pt x="13" y="90"/>
                        <a:pt x="13" y="90"/>
                        <a:pt x="13" y="90"/>
                      </a:cubicBezTo>
                      <a:cubicBezTo>
                        <a:pt x="13" y="90"/>
                        <a:pt x="14" y="94"/>
                        <a:pt x="15" y="101"/>
                      </a:cubicBezTo>
                      <a:cubicBezTo>
                        <a:pt x="20" y="95"/>
                        <a:pt x="27" y="88"/>
                        <a:pt x="36" y="88"/>
                      </a:cubicBezTo>
                      <a:cubicBezTo>
                        <a:pt x="50" y="88"/>
                        <a:pt x="55" y="89"/>
                        <a:pt x="50" y="94"/>
                      </a:cubicBezTo>
                      <a:cubicBezTo>
                        <a:pt x="45" y="99"/>
                        <a:pt x="38" y="103"/>
                        <a:pt x="44" y="103"/>
                      </a:cubicBezTo>
                      <a:cubicBezTo>
                        <a:pt x="50" y="103"/>
                        <a:pt x="54" y="99"/>
                        <a:pt x="61" y="99"/>
                      </a:cubicBezTo>
                      <a:cubicBezTo>
                        <a:pt x="68" y="99"/>
                        <a:pt x="70" y="108"/>
                        <a:pt x="78" y="104"/>
                      </a:cubicBezTo>
                      <a:cubicBezTo>
                        <a:pt x="86" y="100"/>
                        <a:pt x="76" y="96"/>
                        <a:pt x="85" y="96"/>
                      </a:cubicBezTo>
                      <a:cubicBezTo>
                        <a:pt x="94" y="96"/>
                        <a:pt x="110" y="93"/>
                        <a:pt x="114" y="95"/>
                      </a:cubicBezTo>
                      <a:cubicBezTo>
                        <a:pt x="118" y="97"/>
                        <a:pt x="115" y="108"/>
                        <a:pt x="115" y="108"/>
                      </a:cubicBezTo>
                      <a:cubicBezTo>
                        <a:pt x="115" y="108"/>
                        <a:pt x="129" y="109"/>
                        <a:pt x="128" y="117"/>
                      </a:cubicBezTo>
                      <a:cubicBezTo>
                        <a:pt x="127" y="125"/>
                        <a:pt x="95" y="140"/>
                        <a:pt x="94" y="144"/>
                      </a:cubicBezTo>
                      <a:cubicBezTo>
                        <a:pt x="93" y="148"/>
                        <a:pt x="102" y="153"/>
                        <a:pt x="102" y="153"/>
                      </a:cubicBezTo>
                      <a:cubicBezTo>
                        <a:pt x="102" y="153"/>
                        <a:pt x="97" y="178"/>
                        <a:pt x="96" y="181"/>
                      </a:cubicBezTo>
                      <a:cubicBezTo>
                        <a:pt x="95" y="184"/>
                        <a:pt x="90" y="188"/>
                        <a:pt x="90" y="188"/>
                      </a:cubicBezTo>
                      <a:cubicBezTo>
                        <a:pt x="90" y="188"/>
                        <a:pt x="94" y="202"/>
                        <a:pt x="94" y="205"/>
                      </a:cubicBezTo>
                      <a:cubicBezTo>
                        <a:pt x="94" y="208"/>
                        <a:pt x="86" y="215"/>
                        <a:pt x="82" y="216"/>
                      </a:cubicBezTo>
                      <a:cubicBezTo>
                        <a:pt x="78" y="217"/>
                        <a:pt x="61" y="217"/>
                        <a:pt x="61" y="217"/>
                      </a:cubicBezTo>
                      <a:cubicBezTo>
                        <a:pt x="77" y="231"/>
                        <a:pt x="77" y="231"/>
                        <a:pt x="77" y="231"/>
                      </a:cubicBezTo>
                      <a:cubicBezTo>
                        <a:pt x="77" y="240"/>
                        <a:pt x="77" y="240"/>
                        <a:pt x="77" y="240"/>
                      </a:cubicBezTo>
                      <a:cubicBezTo>
                        <a:pt x="77" y="240"/>
                        <a:pt x="90" y="242"/>
                        <a:pt x="88" y="250"/>
                      </a:cubicBezTo>
                      <a:cubicBezTo>
                        <a:pt x="86" y="258"/>
                        <a:pt x="62" y="272"/>
                        <a:pt x="66" y="276"/>
                      </a:cubicBezTo>
                      <a:cubicBezTo>
                        <a:pt x="70" y="280"/>
                        <a:pt x="75" y="294"/>
                        <a:pt x="75" y="294"/>
                      </a:cubicBezTo>
                      <a:cubicBezTo>
                        <a:pt x="75" y="294"/>
                        <a:pt x="88" y="295"/>
                        <a:pt x="84" y="301"/>
                      </a:cubicBezTo>
                      <a:cubicBezTo>
                        <a:pt x="80" y="307"/>
                        <a:pt x="70" y="308"/>
                        <a:pt x="70" y="308"/>
                      </a:cubicBezTo>
                      <a:cubicBezTo>
                        <a:pt x="70" y="308"/>
                        <a:pt x="62" y="318"/>
                        <a:pt x="60" y="325"/>
                      </a:cubicBezTo>
                      <a:cubicBezTo>
                        <a:pt x="58" y="332"/>
                        <a:pt x="59" y="340"/>
                        <a:pt x="59" y="340"/>
                      </a:cubicBezTo>
                      <a:cubicBezTo>
                        <a:pt x="61" y="351"/>
                        <a:pt x="61" y="351"/>
                        <a:pt x="61" y="351"/>
                      </a:cubicBezTo>
                      <a:cubicBezTo>
                        <a:pt x="62" y="351"/>
                        <a:pt x="62" y="351"/>
                        <a:pt x="62" y="351"/>
                      </a:cubicBezTo>
                      <a:cubicBezTo>
                        <a:pt x="81" y="350"/>
                        <a:pt x="81" y="350"/>
                        <a:pt x="81" y="350"/>
                      </a:cubicBezTo>
                      <a:cubicBezTo>
                        <a:pt x="97" y="365"/>
                        <a:pt x="97" y="365"/>
                        <a:pt x="97" y="365"/>
                      </a:cubicBezTo>
                      <a:cubicBezTo>
                        <a:pt x="109" y="365"/>
                        <a:pt x="109" y="365"/>
                        <a:pt x="109" y="365"/>
                      </a:cubicBezTo>
                      <a:cubicBezTo>
                        <a:pt x="103" y="382"/>
                        <a:pt x="103" y="382"/>
                        <a:pt x="103" y="382"/>
                      </a:cubicBezTo>
                      <a:cubicBezTo>
                        <a:pt x="110" y="383"/>
                        <a:pt x="110" y="383"/>
                        <a:pt x="110" y="383"/>
                      </a:cubicBezTo>
                      <a:cubicBezTo>
                        <a:pt x="110" y="383"/>
                        <a:pt x="110" y="403"/>
                        <a:pt x="117" y="406"/>
                      </a:cubicBezTo>
                      <a:cubicBezTo>
                        <a:pt x="124" y="409"/>
                        <a:pt x="136" y="413"/>
                        <a:pt x="136" y="413"/>
                      </a:cubicBezTo>
                      <a:cubicBezTo>
                        <a:pt x="136" y="413"/>
                        <a:pt x="153" y="401"/>
                        <a:pt x="156" y="395"/>
                      </a:cubicBezTo>
                      <a:cubicBezTo>
                        <a:pt x="159" y="389"/>
                        <a:pt x="177" y="389"/>
                        <a:pt x="177" y="389"/>
                      </a:cubicBezTo>
                      <a:cubicBezTo>
                        <a:pt x="196" y="377"/>
                        <a:pt x="196" y="377"/>
                        <a:pt x="196" y="377"/>
                      </a:cubicBezTo>
                      <a:cubicBezTo>
                        <a:pt x="196" y="377"/>
                        <a:pt x="229" y="379"/>
                        <a:pt x="235" y="377"/>
                      </a:cubicBezTo>
                      <a:cubicBezTo>
                        <a:pt x="241" y="375"/>
                        <a:pt x="251" y="371"/>
                        <a:pt x="251" y="371"/>
                      </a:cubicBezTo>
                      <a:cubicBezTo>
                        <a:pt x="251" y="371"/>
                        <a:pt x="259" y="379"/>
                        <a:pt x="265" y="378"/>
                      </a:cubicBezTo>
                      <a:cubicBezTo>
                        <a:pt x="271" y="377"/>
                        <a:pt x="287" y="370"/>
                        <a:pt x="287" y="370"/>
                      </a:cubicBezTo>
                      <a:cubicBezTo>
                        <a:pt x="287" y="370"/>
                        <a:pt x="286" y="382"/>
                        <a:pt x="297" y="374"/>
                      </a:cubicBezTo>
                      <a:cubicBezTo>
                        <a:pt x="308" y="366"/>
                        <a:pt x="310" y="347"/>
                        <a:pt x="310" y="347"/>
                      </a:cubicBezTo>
                      <a:cubicBezTo>
                        <a:pt x="331" y="329"/>
                        <a:pt x="331" y="329"/>
                        <a:pt x="331" y="329"/>
                      </a:cubicBezTo>
                      <a:cubicBezTo>
                        <a:pt x="354" y="328"/>
                        <a:pt x="354" y="328"/>
                        <a:pt x="354" y="328"/>
                      </a:cubicBezTo>
                      <a:cubicBezTo>
                        <a:pt x="356" y="315"/>
                        <a:pt x="356" y="315"/>
                        <a:pt x="356" y="315"/>
                      </a:cubicBezTo>
                      <a:cubicBezTo>
                        <a:pt x="356" y="315"/>
                        <a:pt x="367" y="286"/>
                        <a:pt x="370" y="284"/>
                      </a:cubicBezTo>
                      <a:cubicBezTo>
                        <a:pt x="373" y="282"/>
                        <a:pt x="400" y="279"/>
                        <a:pt x="401" y="270"/>
                      </a:cubicBezTo>
                      <a:cubicBezTo>
                        <a:pt x="402" y="261"/>
                        <a:pt x="379" y="249"/>
                        <a:pt x="379" y="249"/>
                      </a:cubicBezTo>
                      <a:cubicBezTo>
                        <a:pt x="379" y="249"/>
                        <a:pt x="377" y="226"/>
                        <a:pt x="385" y="215"/>
                      </a:cubicBezTo>
                      <a:cubicBezTo>
                        <a:pt x="393" y="204"/>
                        <a:pt x="404" y="191"/>
                        <a:pt x="404" y="191"/>
                      </a:cubicBezTo>
                      <a:cubicBezTo>
                        <a:pt x="404" y="191"/>
                        <a:pt x="421" y="173"/>
                        <a:pt x="424" y="172"/>
                      </a:cubicBezTo>
                      <a:cubicBezTo>
                        <a:pt x="427" y="171"/>
                        <a:pt x="439" y="163"/>
                        <a:pt x="436" y="161"/>
                      </a:cubicBezTo>
                      <a:cubicBezTo>
                        <a:pt x="433" y="159"/>
                        <a:pt x="428" y="151"/>
                        <a:pt x="438" y="146"/>
                      </a:cubicBezTo>
                      <a:cubicBezTo>
                        <a:pt x="448" y="141"/>
                        <a:pt x="472" y="136"/>
                        <a:pt x="485" y="131"/>
                      </a:cubicBezTo>
                      <a:cubicBezTo>
                        <a:pt x="498" y="126"/>
                        <a:pt x="514" y="113"/>
                        <a:pt x="514" y="113"/>
                      </a:cubicBezTo>
                      <a:cubicBezTo>
                        <a:pt x="514" y="113"/>
                        <a:pt x="534" y="104"/>
                        <a:pt x="535" y="10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5" name="Slovenia">
                  <a:extLst>
                    <a:ext uri="{FF2B5EF4-FFF2-40B4-BE49-F238E27FC236}">
                      <a16:creationId xmlns:a16="http://schemas.microsoft.com/office/drawing/2014/main" id="{BE5F3E0D-945A-A7C9-50F9-33EEB6CACBF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57569" y="2674509"/>
                  <a:ext cx="77801" cy="44429"/>
                </a:xfrm>
                <a:custGeom>
                  <a:avLst/>
                  <a:gdLst>
                    <a:gd name="T0" fmla="*/ 18 w 138"/>
                    <a:gd name="T1" fmla="*/ 80 h 80"/>
                    <a:gd name="T2" fmla="*/ 27 w 138"/>
                    <a:gd name="T3" fmla="*/ 79 h 80"/>
                    <a:gd name="T4" fmla="*/ 29 w 138"/>
                    <a:gd name="T5" fmla="*/ 70 h 80"/>
                    <a:gd name="T6" fmla="*/ 35 w 138"/>
                    <a:gd name="T7" fmla="*/ 76 h 80"/>
                    <a:gd name="T8" fmla="*/ 47 w 138"/>
                    <a:gd name="T9" fmla="*/ 75 h 80"/>
                    <a:gd name="T10" fmla="*/ 53 w 138"/>
                    <a:gd name="T11" fmla="*/ 67 h 80"/>
                    <a:gd name="T12" fmla="*/ 59 w 138"/>
                    <a:gd name="T13" fmla="*/ 75 h 80"/>
                    <a:gd name="T14" fmla="*/ 72 w 138"/>
                    <a:gd name="T15" fmla="*/ 75 h 80"/>
                    <a:gd name="T16" fmla="*/ 82 w 138"/>
                    <a:gd name="T17" fmla="*/ 75 h 80"/>
                    <a:gd name="T18" fmla="*/ 83 w 138"/>
                    <a:gd name="T19" fmla="*/ 62 h 80"/>
                    <a:gd name="T20" fmla="*/ 93 w 138"/>
                    <a:gd name="T21" fmla="*/ 61 h 80"/>
                    <a:gd name="T22" fmla="*/ 100 w 138"/>
                    <a:gd name="T23" fmla="*/ 53 h 80"/>
                    <a:gd name="T24" fmla="*/ 97 w 138"/>
                    <a:gd name="T25" fmla="*/ 40 h 80"/>
                    <a:gd name="T26" fmla="*/ 106 w 138"/>
                    <a:gd name="T27" fmla="*/ 36 h 80"/>
                    <a:gd name="T28" fmla="*/ 122 w 138"/>
                    <a:gd name="T29" fmla="*/ 32 h 80"/>
                    <a:gd name="T30" fmla="*/ 125 w 138"/>
                    <a:gd name="T31" fmla="*/ 24 h 80"/>
                    <a:gd name="T32" fmla="*/ 138 w 138"/>
                    <a:gd name="T33" fmla="*/ 22 h 80"/>
                    <a:gd name="T34" fmla="*/ 128 w 138"/>
                    <a:gd name="T35" fmla="*/ 15 h 80"/>
                    <a:gd name="T36" fmla="*/ 125 w 138"/>
                    <a:gd name="T37" fmla="*/ 5 h 80"/>
                    <a:gd name="T38" fmla="*/ 118 w 138"/>
                    <a:gd name="T39" fmla="*/ 0 h 80"/>
                    <a:gd name="T40" fmla="*/ 115 w 138"/>
                    <a:gd name="T41" fmla="*/ 8 h 80"/>
                    <a:gd name="T42" fmla="*/ 113 w 138"/>
                    <a:gd name="T43" fmla="*/ 20 h 80"/>
                    <a:gd name="T44" fmla="*/ 97 w 138"/>
                    <a:gd name="T45" fmla="*/ 15 h 80"/>
                    <a:gd name="T46" fmla="*/ 90 w 138"/>
                    <a:gd name="T47" fmla="*/ 19 h 80"/>
                    <a:gd name="T48" fmla="*/ 57 w 138"/>
                    <a:gd name="T49" fmla="*/ 18 h 80"/>
                    <a:gd name="T50" fmla="*/ 50 w 138"/>
                    <a:gd name="T51" fmla="*/ 27 h 80"/>
                    <a:gd name="T52" fmla="*/ 35 w 138"/>
                    <a:gd name="T53" fmla="*/ 25 h 80"/>
                    <a:gd name="T54" fmla="*/ 26 w 138"/>
                    <a:gd name="T55" fmla="*/ 21 h 80"/>
                    <a:gd name="T56" fmla="*/ 14 w 138"/>
                    <a:gd name="T57" fmla="*/ 25 h 80"/>
                    <a:gd name="T58" fmla="*/ 5 w 138"/>
                    <a:gd name="T59" fmla="*/ 25 h 80"/>
                    <a:gd name="T60" fmla="*/ 0 w 138"/>
                    <a:gd name="T61" fmla="*/ 34 h 80"/>
                    <a:gd name="T62" fmla="*/ 8 w 138"/>
                    <a:gd name="T63" fmla="*/ 37 h 80"/>
                    <a:gd name="T64" fmla="*/ 3 w 138"/>
                    <a:gd name="T65" fmla="*/ 62 h 80"/>
                    <a:gd name="T66" fmla="*/ 23 w 138"/>
                    <a:gd name="T67" fmla="*/ 70 h 80"/>
                    <a:gd name="T68" fmla="*/ 18 w 138"/>
                    <a:gd name="T69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38" h="80">
                      <a:moveTo>
                        <a:pt x="18" y="80"/>
                      </a:move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29" y="70"/>
                        <a:pt x="29" y="70"/>
                        <a:pt x="29" y="70"/>
                      </a:cubicBezTo>
                      <a:cubicBezTo>
                        <a:pt x="35" y="76"/>
                        <a:pt x="35" y="76"/>
                        <a:pt x="35" y="76"/>
                      </a:cubicBezTo>
                      <a:cubicBezTo>
                        <a:pt x="47" y="75"/>
                        <a:pt x="47" y="75"/>
                        <a:pt x="47" y="75"/>
                      </a:cubicBezTo>
                      <a:cubicBezTo>
                        <a:pt x="53" y="67"/>
                        <a:pt x="53" y="67"/>
                        <a:pt x="53" y="67"/>
                      </a:cubicBezTo>
                      <a:cubicBezTo>
                        <a:pt x="53" y="67"/>
                        <a:pt x="53" y="74"/>
                        <a:pt x="59" y="75"/>
                      </a:cubicBezTo>
                      <a:cubicBezTo>
                        <a:pt x="65" y="76"/>
                        <a:pt x="72" y="75"/>
                        <a:pt x="72" y="75"/>
                      </a:cubicBezTo>
                      <a:cubicBezTo>
                        <a:pt x="72" y="75"/>
                        <a:pt x="77" y="77"/>
                        <a:pt x="82" y="75"/>
                      </a:cubicBezTo>
                      <a:cubicBezTo>
                        <a:pt x="87" y="73"/>
                        <a:pt x="83" y="62"/>
                        <a:pt x="83" y="62"/>
                      </a:cubicBezTo>
                      <a:cubicBezTo>
                        <a:pt x="93" y="61"/>
                        <a:pt x="93" y="61"/>
                        <a:pt x="93" y="61"/>
                      </a:cubicBezTo>
                      <a:cubicBezTo>
                        <a:pt x="100" y="53"/>
                        <a:pt x="100" y="53"/>
                        <a:pt x="100" y="53"/>
                      </a:cubicBezTo>
                      <a:cubicBezTo>
                        <a:pt x="100" y="53"/>
                        <a:pt x="97" y="44"/>
                        <a:pt x="97" y="40"/>
                      </a:cubicBezTo>
                      <a:cubicBezTo>
                        <a:pt x="97" y="36"/>
                        <a:pt x="106" y="36"/>
                        <a:pt x="106" y="36"/>
                      </a:cubicBezTo>
                      <a:cubicBezTo>
                        <a:pt x="106" y="36"/>
                        <a:pt x="116" y="36"/>
                        <a:pt x="122" y="32"/>
                      </a:cubicBezTo>
                      <a:cubicBezTo>
                        <a:pt x="128" y="28"/>
                        <a:pt x="125" y="24"/>
                        <a:pt x="125" y="24"/>
                      </a:cubicBezTo>
                      <a:cubicBezTo>
                        <a:pt x="138" y="22"/>
                        <a:pt x="138" y="22"/>
                        <a:pt x="138" y="22"/>
                      </a:cubicBezTo>
                      <a:cubicBezTo>
                        <a:pt x="128" y="15"/>
                        <a:pt x="128" y="15"/>
                        <a:pt x="128" y="15"/>
                      </a:cubicBezTo>
                      <a:cubicBezTo>
                        <a:pt x="125" y="5"/>
                        <a:pt x="125" y="5"/>
                        <a:pt x="125" y="5"/>
                      </a:cubicBezTo>
                      <a:cubicBezTo>
                        <a:pt x="118" y="0"/>
                        <a:pt x="118" y="0"/>
                        <a:pt x="118" y="0"/>
                      </a:cubicBezTo>
                      <a:cubicBezTo>
                        <a:pt x="115" y="8"/>
                        <a:pt x="115" y="8"/>
                        <a:pt x="115" y="8"/>
                      </a:cubicBezTo>
                      <a:cubicBezTo>
                        <a:pt x="113" y="20"/>
                        <a:pt x="113" y="20"/>
                        <a:pt x="113" y="20"/>
                      </a:cubicBezTo>
                      <a:cubicBezTo>
                        <a:pt x="97" y="15"/>
                        <a:pt x="97" y="15"/>
                        <a:pt x="97" y="15"/>
                      </a:cubicBezTo>
                      <a:cubicBezTo>
                        <a:pt x="90" y="19"/>
                        <a:pt x="90" y="19"/>
                        <a:pt x="90" y="19"/>
                      </a:cubicBezTo>
                      <a:cubicBezTo>
                        <a:pt x="57" y="18"/>
                        <a:pt x="57" y="18"/>
                        <a:pt x="57" y="18"/>
                      </a:cubicBezTo>
                      <a:cubicBezTo>
                        <a:pt x="57" y="18"/>
                        <a:pt x="57" y="27"/>
                        <a:pt x="50" y="27"/>
                      </a:cubicBezTo>
                      <a:cubicBezTo>
                        <a:pt x="43" y="27"/>
                        <a:pt x="35" y="25"/>
                        <a:pt x="35" y="25"/>
                      </a:cubicBezTo>
                      <a:cubicBezTo>
                        <a:pt x="35" y="25"/>
                        <a:pt x="29" y="21"/>
                        <a:pt x="26" y="21"/>
                      </a:cubicBezTo>
                      <a:cubicBezTo>
                        <a:pt x="23" y="21"/>
                        <a:pt x="14" y="25"/>
                        <a:pt x="14" y="25"/>
                      </a:cubicBezTo>
                      <a:cubicBezTo>
                        <a:pt x="5" y="25"/>
                        <a:pt x="5" y="25"/>
                        <a:pt x="5" y="25"/>
                      </a:cubicBezTo>
                      <a:cubicBezTo>
                        <a:pt x="4" y="30"/>
                        <a:pt x="0" y="34"/>
                        <a:pt x="0" y="34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3" y="62"/>
                        <a:pt x="3" y="62"/>
                        <a:pt x="3" y="62"/>
                      </a:cubicBezTo>
                      <a:cubicBezTo>
                        <a:pt x="3" y="62"/>
                        <a:pt x="26" y="66"/>
                        <a:pt x="23" y="70"/>
                      </a:cubicBezTo>
                      <a:cubicBezTo>
                        <a:pt x="22" y="72"/>
                        <a:pt x="20" y="76"/>
                        <a:pt x="18" y="80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6" name="Slovakia">
                  <a:extLst>
                    <a:ext uri="{FF2B5EF4-FFF2-40B4-BE49-F238E27FC236}">
                      <a16:creationId xmlns:a16="http://schemas.microsoft.com/office/drawing/2014/main" id="{A7A098F8-0B1F-DF92-D17A-8BAEE8CF6AE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38546" y="2596757"/>
                  <a:ext cx="133373" cy="55537"/>
                </a:xfrm>
                <a:custGeom>
                  <a:avLst/>
                  <a:gdLst>
                    <a:gd name="T0" fmla="*/ 233 w 239"/>
                    <a:gd name="T1" fmla="*/ 23 h 98"/>
                    <a:gd name="T2" fmla="*/ 214 w 239"/>
                    <a:gd name="T3" fmla="*/ 19 h 98"/>
                    <a:gd name="T4" fmla="*/ 194 w 239"/>
                    <a:gd name="T5" fmla="*/ 6 h 98"/>
                    <a:gd name="T6" fmla="*/ 170 w 239"/>
                    <a:gd name="T7" fmla="*/ 14 h 98"/>
                    <a:gd name="T8" fmla="*/ 159 w 239"/>
                    <a:gd name="T9" fmla="*/ 10 h 98"/>
                    <a:gd name="T10" fmla="*/ 140 w 239"/>
                    <a:gd name="T11" fmla="*/ 9 h 98"/>
                    <a:gd name="T12" fmla="*/ 132 w 239"/>
                    <a:gd name="T13" fmla="*/ 18 h 98"/>
                    <a:gd name="T14" fmla="*/ 126 w 239"/>
                    <a:gd name="T15" fmla="*/ 11 h 98"/>
                    <a:gd name="T16" fmla="*/ 119 w 239"/>
                    <a:gd name="T17" fmla="*/ 11 h 98"/>
                    <a:gd name="T18" fmla="*/ 111 w 239"/>
                    <a:gd name="T19" fmla="*/ 2 h 98"/>
                    <a:gd name="T20" fmla="*/ 91 w 239"/>
                    <a:gd name="T21" fmla="*/ 8 h 98"/>
                    <a:gd name="T22" fmla="*/ 83 w 239"/>
                    <a:gd name="T23" fmla="*/ 2 h 98"/>
                    <a:gd name="T24" fmla="*/ 72 w 239"/>
                    <a:gd name="T25" fmla="*/ 9 h 98"/>
                    <a:gd name="T26" fmla="*/ 58 w 239"/>
                    <a:gd name="T27" fmla="*/ 15 h 98"/>
                    <a:gd name="T28" fmla="*/ 58 w 239"/>
                    <a:gd name="T29" fmla="*/ 28 h 98"/>
                    <a:gd name="T30" fmla="*/ 36 w 239"/>
                    <a:gd name="T31" fmla="*/ 40 h 98"/>
                    <a:gd name="T32" fmla="*/ 24 w 239"/>
                    <a:gd name="T33" fmla="*/ 39 h 98"/>
                    <a:gd name="T34" fmla="*/ 12 w 239"/>
                    <a:gd name="T35" fmla="*/ 41 h 98"/>
                    <a:gd name="T36" fmla="*/ 3 w 239"/>
                    <a:gd name="T37" fmla="*/ 46 h 98"/>
                    <a:gd name="T38" fmla="*/ 1 w 239"/>
                    <a:gd name="T39" fmla="*/ 60 h 98"/>
                    <a:gd name="T40" fmla="*/ 0 w 239"/>
                    <a:gd name="T41" fmla="*/ 70 h 98"/>
                    <a:gd name="T42" fmla="*/ 7 w 239"/>
                    <a:gd name="T43" fmla="*/ 75 h 98"/>
                    <a:gd name="T44" fmla="*/ 7 w 239"/>
                    <a:gd name="T45" fmla="*/ 87 h 98"/>
                    <a:gd name="T46" fmla="*/ 7 w 239"/>
                    <a:gd name="T47" fmla="*/ 87 h 98"/>
                    <a:gd name="T48" fmla="*/ 13 w 239"/>
                    <a:gd name="T49" fmla="*/ 92 h 98"/>
                    <a:gd name="T50" fmla="*/ 20 w 239"/>
                    <a:gd name="T51" fmla="*/ 81 h 98"/>
                    <a:gd name="T52" fmla="*/ 40 w 239"/>
                    <a:gd name="T53" fmla="*/ 97 h 98"/>
                    <a:gd name="T54" fmla="*/ 81 w 239"/>
                    <a:gd name="T55" fmla="*/ 94 h 98"/>
                    <a:gd name="T56" fmla="*/ 87 w 239"/>
                    <a:gd name="T57" fmla="*/ 78 h 98"/>
                    <a:gd name="T58" fmla="*/ 111 w 239"/>
                    <a:gd name="T59" fmla="*/ 81 h 98"/>
                    <a:gd name="T60" fmla="*/ 118 w 239"/>
                    <a:gd name="T61" fmla="*/ 73 h 98"/>
                    <a:gd name="T62" fmla="*/ 144 w 239"/>
                    <a:gd name="T63" fmla="*/ 69 h 98"/>
                    <a:gd name="T64" fmla="*/ 155 w 239"/>
                    <a:gd name="T65" fmla="*/ 53 h 98"/>
                    <a:gd name="T66" fmla="*/ 171 w 239"/>
                    <a:gd name="T67" fmla="*/ 53 h 98"/>
                    <a:gd name="T68" fmla="*/ 174 w 239"/>
                    <a:gd name="T69" fmla="*/ 63 h 98"/>
                    <a:gd name="T70" fmla="*/ 183 w 239"/>
                    <a:gd name="T71" fmla="*/ 64 h 98"/>
                    <a:gd name="T72" fmla="*/ 188 w 239"/>
                    <a:gd name="T73" fmla="*/ 53 h 98"/>
                    <a:gd name="T74" fmla="*/ 194 w 239"/>
                    <a:gd name="T75" fmla="*/ 63 h 98"/>
                    <a:gd name="T76" fmla="*/ 223 w 239"/>
                    <a:gd name="T77" fmla="*/ 59 h 98"/>
                    <a:gd name="T78" fmla="*/ 223 w 239"/>
                    <a:gd name="T79" fmla="*/ 59 h 98"/>
                    <a:gd name="T80" fmla="*/ 224 w 239"/>
                    <a:gd name="T81" fmla="*/ 51 h 98"/>
                    <a:gd name="T82" fmla="*/ 234 w 239"/>
                    <a:gd name="T83" fmla="*/ 43 h 98"/>
                    <a:gd name="T84" fmla="*/ 237 w 239"/>
                    <a:gd name="T85" fmla="*/ 30 h 98"/>
                    <a:gd name="T86" fmla="*/ 233 w 239"/>
                    <a:gd name="T87" fmla="*/ 23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39" h="98">
                      <a:moveTo>
                        <a:pt x="233" y="23"/>
                      </a:moveTo>
                      <a:cubicBezTo>
                        <a:pt x="227" y="23"/>
                        <a:pt x="221" y="25"/>
                        <a:pt x="214" y="19"/>
                      </a:cubicBezTo>
                      <a:cubicBezTo>
                        <a:pt x="207" y="13"/>
                        <a:pt x="208" y="6"/>
                        <a:pt x="194" y="6"/>
                      </a:cubicBezTo>
                      <a:cubicBezTo>
                        <a:pt x="180" y="6"/>
                        <a:pt x="175" y="14"/>
                        <a:pt x="170" y="14"/>
                      </a:cubicBezTo>
                      <a:cubicBezTo>
                        <a:pt x="165" y="14"/>
                        <a:pt x="159" y="10"/>
                        <a:pt x="159" y="10"/>
                      </a:cubicBezTo>
                      <a:cubicBezTo>
                        <a:pt x="140" y="9"/>
                        <a:pt x="140" y="9"/>
                        <a:pt x="140" y="9"/>
                      </a:cubicBezTo>
                      <a:cubicBezTo>
                        <a:pt x="140" y="9"/>
                        <a:pt x="141" y="18"/>
                        <a:pt x="132" y="18"/>
                      </a:cubicBezTo>
                      <a:cubicBezTo>
                        <a:pt x="123" y="18"/>
                        <a:pt x="126" y="11"/>
                        <a:pt x="126" y="11"/>
                      </a:cubicBezTo>
                      <a:cubicBezTo>
                        <a:pt x="119" y="11"/>
                        <a:pt x="119" y="11"/>
                        <a:pt x="119" y="11"/>
                      </a:cubicBezTo>
                      <a:cubicBezTo>
                        <a:pt x="119" y="11"/>
                        <a:pt x="118" y="4"/>
                        <a:pt x="111" y="2"/>
                      </a:cubicBezTo>
                      <a:cubicBezTo>
                        <a:pt x="104" y="0"/>
                        <a:pt x="94" y="8"/>
                        <a:pt x="91" y="8"/>
                      </a:cubicBezTo>
                      <a:cubicBezTo>
                        <a:pt x="89" y="8"/>
                        <a:pt x="86" y="5"/>
                        <a:pt x="83" y="2"/>
                      </a:cubicBezTo>
                      <a:cubicBezTo>
                        <a:pt x="72" y="9"/>
                        <a:pt x="72" y="9"/>
                        <a:pt x="72" y="9"/>
                      </a:cubicBezTo>
                      <a:cubicBezTo>
                        <a:pt x="58" y="15"/>
                        <a:pt x="58" y="15"/>
                        <a:pt x="58" y="15"/>
                      </a:cubicBezTo>
                      <a:cubicBezTo>
                        <a:pt x="58" y="28"/>
                        <a:pt x="58" y="28"/>
                        <a:pt x="58" y="28"/>
                      </a:cubicBezTo>
                      <a:cubicBezTo>
                        <a:pt x="58" y="28"/>
                        <a:pt x="43" y="35"/>
                        <a:pt x="36" y="40"/>
                      </a:cubicBezTo>
                      <a:cubicBezTo>
                        <a:pt x="31" y="43"/>
                        <a:pt x="25" y="41"/>
                        <a:pt x="24" y="39"/>
                      </a:cubicBezTo>
                      <a:cubicBezTo>
                        <a:pt x="21" y="40"/>
                        <a:pt x="15" y="40"/>
                        <a:pt x="12" y="41"/>
                      </a:cubicBezTo>
                      <a:cubicBezTo>
                        <a:pt x="8" y="42"/>
                        <a:pt x="3" y="46"/>
                        <a:pt x="3" y="46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6" y="69"/>
                        <a:pt x="7" y="75"/>
                      </a:cubicBezTo>
                      <a:cubicBezTo>
                        <a:pt x="7" y="78"/>
                        <a:pt x="7" y="83"/>
                        <a:pt x="7" y="87"/>
                      </a:cubicBezTo>
                      <a:cubicBezTo>
                        <a:pt x="7" y="87"/>
                        <a:pt x="7" y="87"/>
                        <a:pt x="7" y="87"/>
                      </a:cubicBezTo>
                      <a:cubicBezTo>
                        <a:pt x="13" y="92"/>
                        <a:pt x="13" y="92"/>
                        <a:pt x="13" y="92"/>
                      </a:cubicBezTo>
                      <a:cubicBezTo>
                        <a:pt x="20" y="81"/>
                        <a:pt x="20" y="81"/>
                        <a:pt x="20" y="81"/>
                      </a:cubicBezTo>
                      <a:cubicBezTo>
                        <a:pt x="20" y="81"/>
                        <a:pt x="23" y="98"/>
                        <a:pt x="40" y="97"/>
                      </a:cubicBezTo>
                      <a:cubicBezTo>
                        <a:pt x="57" y="96"/>
                        <a:pt x="81" y="94"/>
                        <a:pt x="81" y="94"/>
                      </a:cubicBezTo>
                      <a:cubicBezTo>
                        <a:pt x="87" y="78"/>
                        <a:pt x="87" y="78"/>
                        <a:pt x="87" y="78"/>
                      </a:cubicBezTo>
                      <a:cubicBezTo>
                        <a:pt x="111" y="81"/>
                        <a:pt x="111" y="81"/>
                        <a:pt x="111" y="81"/>
                      </a:cubicBezTo>
                      <a:cubicBezTo>
                        <a:pt x="118" y="73"/>
                        <a:pt x="118" y="73"/>
                        <a:pt x="118" y="73"/>
                      </a:cubicBezTo>
                      <a:cubicBezTo>
                        <a:pt x="118" y="73"/>
                        <a:pt x="141" y="72"/>
                        <a:pt x="144" y="69"/>
                      </a:cubicBezTo>
                      <a:cubicBezTo>
                        <a:pt x="147" y="66"/>
                        <a:pt x="155" y="53"/>
                        <a:pt x="155" y="53"/>
                      </a:cubicBezTo>
                      <a:cubicBezTo>
                        <a:pt x="171" y="53"/>
                        <a:pt x="171" y="53"/>
                        <a:pt x="171" y="53"/>
                      </a:cubicBezTo>
                      <a:cubicBezTo>
                        <a:pt x="174" y="63"/>
                        <a:pt x="174" y="63"/>
                        <a:pt x="174" y="63"/>
                      </a:cubicBezTo>
                      <a:cubicBezTo>
                        <a:pt x="183" y="64"/>
                        <a:pt x="183" y="64"/>
                        <a:pt x="183" y="64"/>
                      </a:cubicBezTo>
                      <a:cubicBezTo>
                        <a:pt x="183" y="64"/>
                        <a:pt x="183" y="53"/>
                        <a:pt x="188" y="53"/>
                      </a:cubicBezTo>
                      <a:cubicBezTo>
                        <a:pt x="193" y="53"/>
                        <a:pt x="194" y="63"/>
                        <a:pt x="194" y="63"/>
                      </a:cubicBezTo>
                      <a:cubicBezTo>
                        <a:pt x="194" y="63"/>
                        <a:pt x="215" y="57"/>
                        <a:pt x="223" y="59"/>
                      </a:cubicBezTo>
                      <a:cubicBezTo>
                        <a:pt x="223" y="59"/>
                        <a:pt x="223" y="59"/>
                        <a:pt x="223" y="59"/>
                      </a:cubicBezTo>
                      <a:cubicBezTo>
                        <a:pt x="224" y="51"/>
                        <a:pt x="224" y="51"/>
                        <a:pt x="224" y="51"/>
                      </a:cubicBezTo>
                      <a:cubicBezTo>
                        <a:pt x="224" y="51"/>
                        <a:pt x="232" y="49"/>
                        <a:pt x="234" y="43"/>
                      </a:cubicBezTo>
                      <a:cubicBezTo>
                        <a:pt x="236" y="37"/>
                        <a:pt x="237" y="30"/>
                        <a:pt x="237" y="30"/>
                      </a:cubicBezTo>
                      <a:cubicBezTo>
                        <a:pt x="237" y="30"/>
                        <a:pt x="239" y="23"/>
                        <a:pt x="233" y="23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7" name="Serbia">
                  <a:extLst>
                    <a:ext uri="{FF2B5EF4-FFF2-40B4-BE49-F238E27FC236}">
                      <a16:creationId xmlns:a16="http://schemas.microsoft.com/office/drawing/2014/main" id="{DD4657A1-D024-31DF-47F0-2F068924656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087769" y="2693546"/>
                  <a:ext cx="104793" cy="130115"/>
                </a:xfrm>
                <a:custGeom>
                  <a:avLst/>
                  <a:gdLst>
                    <a:gd name="T0" fmla="*/ 167 w 185"/>
                    <a:gd name="T1" fmla="*/ 152 h 233"/>
                    <a:gd name="T2" fmla="*/ 160 w 185"/>
                    <a:gd name="T3" fmla="*/ 140 h 233"/>
                    <a:gd name="T4" fmla="*/ 166 w 185"/>
                    <a:gd name="T5" fmla="*/ 120 h 233"/>
                    <a:gd name="T6" fmla="*/ 161 w 185"/>
                    <a:gd name="T7" fmla="*/ 102 h 233"/>
                    <a:gd name="T8" fmla="*/ 171 w 185"/>
                    <a:gd name="T9" fmla="*/ 88 h 233"/>
                    <a:gd name="T10" fmla="*/ 139 w 185"/>
                    <a:gd name="T11" fmla="*/ 91 h 233"/>
                    <a:gd name="T12" fmla="*/ 117 w 185"/>
                    <a:gd name="T13" fmla="*/ 82 h 233"/>
                    <a:gd name="T14" fmla="*/ 115 w 185"/>
                    <a:gd name="T15" fmla="*/ 56 h 233"/>
                    <a:gd name="T16" fmla="*/ 91 w 185"/>
                    <a:gd name="T17" fmla="*/ 48 h 233"/>
                    <a:gd name="T18" fmla="*/ 77 w 185"/>
                    <a:gd name="T19" fmla="*/ 27 h 233"/>
                    <a:gd name="T20" fmla="*/ 48 w 185"/>
                    <a:gd name="T21" fmla="*/ 6 h 233"/>
                    <a:gd name="T22" fmla="*/ 18 w 185"/>
                    <a:gd name="T23" fmla="*/ 17 h 233"/>
                    <a:gd name="T24" fmla="*/ 0 w 185"/>
                    <a:gd name="T25" fmla="*/ 21 h 233"/>
                    <a:gd name="T26" fmla="*/ 6 w 185"/>
                    <a:gd name="T27" fmla="*/ 40 h 233"/>
                    <a:gd name="T28" fmla="*/ 8 w 185"/>
                    <a:gd name="T29" fmla="*/ 53 h 233"/>
                    <a:gd name="T30" fmla="*/ 12 w 185"/>
                    <a:gd name="T31" fmla="*/ 65 h 233"/>
                    <a:gd name="T32" fmla="*/ 5 w 185"/>
                    <a:gd name="T33" fmla="*/ 72 h 233"/>
                    <a:gd name="T34" fmla="*/ 27 w 185"/>
                    <a:gd name="T35" fmla="*/ 76 h 233"/>
                    <a:gd name="T36" fmla="*/ 15 w 185"/>
                    <a:gd name="T37" fmla="*/ 106 h 233"/>
                    <a:gd name="T38" fmla="*/ 37 w 185"/>
                    <a:gd name="T39" fmla="*/ 118 h 233"/>
                    <a:gd name="T40" fmla="*/ 35 w 185"/>
                    <a:gd name="T41" fmla="*/ 140 h 233"/>
                    <a:gd name="T42" fmla="*/ 41 w 185"/>
                    <a:gd name="T43" fmla="*/ 153 h 233"/>
                    <a:gd name="T44" fmla="*/ 58 w 185"/>
                    <a:gd name="T45" fmla="*/ 174 h 233"/>
                    <a:gd name="T46" fmla="*/ 65 w 185"/>
                    <a:gd name="T47" fmla="*/ 199 h 233"/>
                    <a:gd name="T48" fmla="*/ 71 w 185"/>
                    <a:gd name="T49" fmla="*/ 211 h 233"/>
                    <a:gd name="T50" fmla="*/ 84 w 185"/>
                    <a:gd name="T51" fmla="*/ 221 h 233"/>
                    <a:gd name="T52" fmla="*/ 95 w 185"/>
                    <a:gd name="T53" fmla="*/ 229 h 233"/>
                    <a:gd name="T54" fmla="*/ 112 w 185"/>
                    <a:gd name="T55" fmla="*/ 221 h 233"/>
                    <a:gd name="T56" fmla="*/ 128 w 185"/>
                    <a:gd name="T57" fmla="*/ 213 h 233"/>
                    <a:gd name="T58" fmla="*/ 158 w 185"/>
                    <a:gd name="T59" fmla="*/ 207 h 233"/>
                    <a:gd name="T60" fmla="*/ 165 w 185"/>
                    <a:gd name="T61" fmla="*/ 192 h 233"/>
                    <a:gd name="T62" fmla="*/ 177 w 185"/>
                    <a:gd name="T63" fmla="*/ 180 h 233"/>
                    <a:gd name="T64" fmla="*/ 180 w 185"/>
                    <a:gd name="T65" fmla="*/ 159 h 233"/>
                    <a:gd name="T66" fmla="*/ 27 w 185"/>
                    <a:gd name="T67" fmla="*/ 144 h 233"/>
                    <a:gd name="T68" fmla="*/ 24 w 185"/>
                    <a:gd name="T69" fmla="*/ 144 h 233"/>
                    <a:gd name="T70" fmla="*/ 24 w 185"/>
                    <a:gd name="T71" fmla="*/ 144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85" h="233">
                      <a:moveTo>
                        <a:pt x="180" y="159"/>
                      </a:moveTo>
                      <a:cubicBezTo>
                        <a:pt x="167" y="152"/>
                        <a:pt x="167" y="152"/>
                        <a:pt x="167" y="152"/>
                      </a:cubicBezTo>
                      <a:cubicBezTo>
                        <a:pt x="169" y="145"/>
                        <a:pt x="169" y="145"/>
                        <a:pt x="169" y="145"/>
                      </a:cubicBezTo>
                      <a:cubicBezTo>
                        <a:pt x="160" y="140"/>
                        <a:pt x="160" y="140"/>
                        <a:pt x="160" y="140"/>
                      </a:cubicBezTo>
                      <a:cubicBezTo>
                        <a:pt x="157" y="128"/>
                        <a:pt x="157" y="128"/>
                        <a:pt x="157" y="128"/>
                      </a:cubicBezTo>
                      <a:cubicBezTo>
                        <a:pt x="166" y="120"/>
                        <a:pt x="166" y="120"/>
                        <a:pt x="166" y="120"/>
                      </a:cubicBezTo>
                      <a:cubicBezTo>
                        <a:pt x="168" y="106"/>
                        <a:pt x="168" y="106"/>
                        <a:pt x="168" y="106"/>
                      </a:cubicBezTo>
                      <a:cubicBezTo>
                        <a:pt x="161" y="102"/>
                        <a:pt x="161" y="102"/>
                        <a:pt x="161" y="102"/>
                      </a:cubicBezTo>
                      <a:cubicBezTo>
                        <a:pt x="168" y="94"/>
                        <a:pt x="168" y="94"/>
                        <a:pt x="168" y="94"/>
                      </a:cubicBezTo>
                      <a:cubicBezTo>
                        <a:pt x="171" y="88"/>
                        <a:pt x="171" y="88"/>
                        <a:pt x="171" y="88"/>
                      </a:cubicBezTo>
                      <a:cubicBezTo>
                        <a:pt x="155" y="84"/>
                        <a:pt x="155" y="84"/>
                        <a:pt x="155" y="84"/>
                      </a:cubicBezTo>
                      <a:cubicBezTo>
                        <a:pt x="139" y="91"/>
                        <a:pt x="139" y="91"/>
                        <a:pt x="139" y="91"/>
                      </a:cubicBezTo>
                      <a:cubicBezTo>
                        <a:pt x="133" y="84"/>
                        <a:pt x="133" y="84"/>
                        <a:pt x="133" y="84"/>
                      </a:cubicBezTo>
                      <a:cubicBezTo>
                        <a:pt x="117" y="82"/>
                        <a:pt x="117" y="82"/>
                        <a:pt x="117" y="82"/>
                      </a:cubicBezTo>
                      <a:cubicBezTo>
                        <a:pt x="112" y="71"/>
                        <a:pt x="112" y="71"/>
                        <a:pt x="112" y="71"/>
                      </a:cubicBezTo>
                      <a:cubicBezTo>
                        <a:pt x="112" y="71"/>
                        <a:pt x="117" y="62"/>
                        <a:pt x="115" y="56"/>
                      </a:cubicBezTo>
                      <a:cubicBezTo>
                        <a:pt x="113" y="50"/>
                        <a:pt x="101" y="49"/>
                        <a:pt x="99" y="54"/>
                      </a:cubicBezTo>
                      <a:cubicBezTo>
                        <a:pt x="97" y="59"/>
                        <a:pt x="91" y="48"/>
                        <a:pt x="91" y="48"/>
                      </a:cubicBezTo>
                      <a:cubicBezTo>
                        <a:pt x="83" y="25"/>
                        <a:pt x="83" y="25"/>
                        <a:pt x="83" y="25"/>
                      </a:cubicBezTo>
                      <a:cubicBezTo>
                        <a:pt x="77" y="27"/>
                        <a:pt x="77" y="27"/>
                        <a:pt x="77" y="27"/>
                      </a:cubicBezTo>
                      <a:cubicBezTo>
                        <a:pt x="62" y="13"/>
                        <a:pt x="62" y="13"/>
                        <a:pt x="62" y="13"/>
                      </a:cubicBezTo>
                      <a:cubicBezTo>
                        <a:pt x="48" y="6"/>
                        <a:pt x="48" y="6"/>
                        <a:pt x="48" y="6"/>
                      </a:cubicBezTo>
                      <a:cubicBezTo>
                        <a:pt x="48" y="6"/>
                        <a:pt x="33" y="0"/>
                        <a:pt x="30" y="6"/>
                      </a:cubicBezTo>
                      <a:cubicBezTo>
                        <a:pt x="27" y="12"/>
                        <a:pt x="18" y="17"/>
                        <a:pt x="18" y="17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6" y="40"/>
                        <a:pt x="6" y="40"/>
                        <a:pt x="6" y="40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8" y="53"/>
                        <a:pt x="8" y="53"/>
                        <a:pt x="8" y="53"/>
                      </a:cubicBezTo>
                      <a:cubicBezTo>
                        <a:pt x="8" y="53"/>
                        <a:pt x="24" y="56"/>
                        <a:pt x="25" y="59"/>
                      </a:cubicBezTo>
                      <a:cubicBezTo>
                        <a:pt x="26" y="62"/>
                        <a:pt x="12" y="65"/>
                        <a:pt x="12" y="65"/>
                      </a:cubicBezTo>
                      <a:cubicBezTo>
                        <a:pt x="10" y="72"/>
                        <a:pt x="10" y="72"/>
                        <a:pt x="10" y="72"/>
                      </a:cubicBezTo>
                      <a:cubicBezTo>
                        <a:pt x="5" y="72"/>
                        <a:pt x="5" y="72"/>
                        <a:pt x="5" y="72"/>
                      </a:cubicBezTo>
                      <a:cubicBezTo>
                        <a:pt x="8" y="77"/>
                        <a:pt x="8" y="77"/>
                        <a:pt x="8" y="77"/>
                      </a:cubicBezTo>
                      <a:cubicBezTo>
                        <a:pt x="8" y="77"/>
                        <a:pt x="27" y="71"/>
                        <a:pt x="27" y="76"/>
                      </a:cubicBezTo>
                      <a:cubicBezTo>
                        <a:pt x="27" y="81"/>
                        <a:pt x="15" y="95"/>
                        <a:pt x="15" y="95"/>
                      </a:cubicBezTo>
                      <a:cubicBezTo>
                        <a:pt x="15" y="106"/>
                        <a:pt x="15" y="106"/>
                        <a:pt x="15" y="106"/>
                      </a:cubicBezTo>
                      <a:cubicBezTo>
                        <a:pt x="15" y="106"/>
                        <a:pt x="19" y="103"/>
                        <a:pt x="26" y="105"/>
                      </a:cubicBezTo>
                      <a:cubicBezTo>
                        <a:pt x="33" y="107"/>
                        <a:pt x="37" y="118"/>
                        <a:pt x="37" y="118"/>
                      </a:cubicBezTo>
                      <a:cubicBezTo>
                        <a:pt x="23" y="120"/>
                        <a:pt x="23" y="120"/>
                        <a:pt x="23" y="120"/>
                      </a:cubicBezTo>
                      <a:cubicBezTo>
                        <a:pt x="23" y="120"/>
                        <a:pt x="37" y="133"/>
                        <a:pt x="35" y="140"/>
                      </a:cubicBezTo>
                      <a:cubicBezTo>
                        <a:pt x="34" y="142"/>
                        <a:pt x="33" y="143"/>
                        <a:pt x="31" y="143"/>
                      </a:cubicBezTo>
                      <a:cubicBezTo>
                        <a:pt x="41" y="153"/>
                        <a:pt x="41" y="153"/>
                        <a:pt x="41" y="153"/>
                      </a:cubicBezTo>
                      <a:cubicBezTo>
                        <a:pt x="50" y="160"/>
                        <a:pt x="50" y="160"/>
                        <a:pt x="50" y="160"/>
                      </a:cubicBezTo>
                      <a:cubicBezTo>
                        <a:pt x="58" y="174"/>
                        <a:pt x="58" y="174"/>
                        <a:pt x="58" y="174"/>
                      </a:cubicBezTo>
                      <a:cubicBezTo>
                        <a:pt x="64" y="170"/>
                        <a:pt x="64" y="170"/>
                        <a:pt x="64" y="170"/>
                      </a:cubicBezTo>
                      <a:cubicBezTo>
                        <a:pt x="65" y="199"/>
                        <a:pt x="65" y="199"/>
                        <a:pt x="65" y="199"/>
                      </a:cubicBezTo>
                      <a:cubicBezTo>
                        <a:pt x="63" y="196"/>
                        <a:pt x="63" y="196"/>
                        <a:pt x="63" y="196"/>
                      </a:cubicBezTo>
                      <a:cubicBezTo>
                        <a:pt x="71" y="211"/>
                        <a:pt x="71" y="211"/>
                        <a:pt x="71" y="211"/>
                      </a:cubicBezTo>
                      <a:cubicBezTo>
                        <a:pt x="80" y="211"/>
                        <a:pt x="80" y="211"/>
                        <a:pt x="80" y="211"/>
                      </a:cubicBezTo>
                      <a:cubicBezTo>
                        <a:pt x="84" y="221"/>
                        <a:pt x="84" y="221"/>
                        <a:pt x="84" y="221"/>
                      </a:cubicBezTo>
                      <a:cubicBezTo>
                        <a:pt x="84" y="233"/>
                        <a:pt x="84" y="233"/>
                        <a:pt x="84" y="233"/>
                      </a:cubicBezTo>
                      <a:cubicBezTo>
                        <a:pt x="95" y="229"/>
                        <a:pt x="95" y="229"/>
                        <a:pt x="95" y="229"/>
                      </a:cubicBezTo>
                      <a:cubicBezTo>
                        <a:pt x="100" y="221"/>
                        <a:pt x="100" y="221"/>
                        <a:pt x="100" y="221"/>
                      </a:cubicBezTo>
                      <a:cubicBezTo>
                        <a:pt x="100" y="221"/>
                        <a:pt x="105" y="221"/>
                        <a:pt x="112" y="221"/>
                      </a:cubicBezTo>
                      <a:cubicBezTo>
                        <a:pt x="119" y="221"/>
                        <a:pt x="115" y="213"/>
                        <a:pt x="115" y="213"/>
                      </a:cubicBezTo>
                      <a:cubicBezTo>
                        <a:pt x="128" y="213"/>
                        <a:pt x="128" y="213"/>
                        <a:pt x="128" y="213"/>
                      </a:cubicBezTo>
                      <a:cubicBezTo>
                        <a:pt x="132" y="209"/>
                        <a:pt x="132" y="209"/>
                        <a:pt x="132" y="209"/>
                      </a:cubicBezTo>
                      <a:cubicBezTo>
                        <a:pt x="158" y="207"/>
                        <a:pt x="158" y="207"/>
                        <a:pt x="158" y="207"/>
                      </a:cubicBezTo>
                      <a:cubicBezTo>
                        <a:pt x="158" y="207"/>
                        <a:pt x="166" y="206"/>
                        <a:pt x="167" y="203"/>
                      </a:cubicBezTo>
                      <a:cubicBezTo>
                        <a:pt x="168" y="200"/>
                        <a:pt x="165" y="192"/>
                        <a:pt x="165" y="192"/>
                      </a:cubicBezTo>
                      <a:cubicBezTo>
                        <a:pt x="165" y="192"/>
                        <a:pt x="162" y="185"/>
                        <a:pt x="164" y="181"/>
                      </a:cubicBezTo>
                      <a:cubicBezTo>
                        <a:pt x="166" y="177"/>
                        <a:pt x="177" y="180"/>
                        <a:pt x="177" y="180"/>
                      </a:cubicBezTo>
                      <a:cubicBezTo>
                        <a:pt x="177" y="180"/>
                        <a:pt x="181" y="173"/>
                        <a:pt x="183" y="169"/>
                      </a:cubicBezTo>
                      <a:cubicBezTo>
                        <a:pt x="185" y="165"/>
                        <a:pt x="180" y="159"/>
                        <a:pt x="180" y="159"/>
                      </a:cubicBezTo>
                      <a:close/>
                      <a:moveTo>
                        <a:pt x="24" y="144"/>
                      </a:moveTo>
                      <a:cubicBezTo>
                        <a:pt x="25" y="144"/>
                        <a:pt x="26" y="144"/>
                        <a:pt x="27" y="144"/>
                      </a:cubicBezTo>
                      <a:cubicBezTo>
                        <a:pt x="26" y="144"/>
                        <a:pt x="25" y="144"/>
                        <a:pt x="24" y="144"/>
                      </a:cubicBezTo>
                      <a:close/>
                      <a:moveTo>
                        <a:pt x="24" y="144"/>
                      </a:moveTo>
                      <a:cubicBezTo>
                        <a:pt x="22" y="144"/>
                        <a:pt x="19" y="144"/>
                        <a:pt x="18" y="143"/>
                      </a:cubicBezTo>
                      <a:cubicBezTo>
                        <a:pt x="19" y="144"/>
                        <a:pt x="22" y="144"/>
                        <a:pt x="24" y="14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8" name="Romania">
                  <a:extLst>
                    <a:ext uri="{FF2B5EF4-FFF2-40B4-BE49-F238E27FC236}">
                      <a16:creationId xmlns:a16="http://schemas.microsoft.com/office/drawing/2014/main" id="{AB399C37-B36E-9BF6-B63E-8C5BF387DF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122697" y="2634839"/>
                  <a:ext cx="230227" cy="138049"/>
                </a:xfrm>
                <a:custGeom>
                  <a:avLst/>
                  <a:gdLst>
                    <a:gd name="T0" fmla="*/ 360 w 411"/>
                    <a:gd name="T1" fmla="*/ 241 h 248"/>
                    <a:gd name="T2" fmla="*/ 379 w 411"/>
                    <a:gd name="T3" fmla="*/ 187 h 248"/>
                    <a:gd name="T4" fmla="*/ 396 w 411"/>
                    <a:gd name="T5" fmla="*/ 146 h 248"/>
                    <a:gd name="T6" fmla="*/ 353 w 411"/>
                    <a:gd name="T7" fmla="*/ 161 h 248"/>
                    <a:gd name="T8" fmla="*/ 330 w 411"/>
                    <a:gd name="T9" fmla="*/ 121 h 248"/>
                    <a:gd name="T10" fmla="*/ 332 w 411"/>
                    <a:gd name="T11" fmla="*/ 98 h 248"/>
                    <a:gd name="T12" fmla="*/ 317 w 411"/>
                    <a:gd name="T13" fmla="*/ 66 h 248"/>
                    <a:gd name="T14" fmla="*/ 307 w 411"/>
                    <a:gd name="T15" fmla="*/ 55 h 248"/>
                    <a:gd name="T16" fmla="*/ 286 w 411"/>
                    <a:gd name="T17" fmla="*/ 32 h 248"/>
                    <a:gd name="T18" fmla="*/ 263 w 411"/>
                    <a:gd name="T19" fmla="*/ 3 h 248"/>
                    <a:gd name="T20" fmla="*/ 225 w 411"/>
                    <a:gd name="T21" fmla="*/ 17 h 248"/>
                    <a:gd name="T22" fmla="*/ 204 w 411"/>
                    <a:gd name="T23" fmla="*/ 21 h 248"/>
                    <a:gd name="T24" fmla="*/ 172 w 411"/>
                    <a:gd name="T25" fmla="*/ 16 h 248"/>
                    <a:gd name="T26" fmla="*/ 145 w 411"/>
                    <a:gd name="T27" fmla="*/ 18 h 248"/>
                    <a:gd name="T28" fmla="*/ 123 w 411"/>
                    <a:gd name="T29" fmla="*/ 14 h 248"/>
                    <a:gd name="T30" fmla="*/ 90 w 411"/>
                    <a:gd name="T31" fmla="*/ 28 h 248"/>
                    <a:gd name="T32" fmla="*/ 69 w 411"/>
                    <a:gd name="T33" fmla="*/ 53 h 248"/>
                    <a:gd name="T34" fmla="*/ 46 w 411"/>
                    <a:gd name="T35" fmla="*/ 83 h 248"/>
                    <a:gd name="T36" fmla="*/ 29 w 411"/>
                    <a:gd name="T37" fmla="*/ 107 h 248"/>
                    <a:gd name="T38" fmla="*/ 16 w 411"/>
                    <a:gd name="T39" fmla="*/ 114 h 248"/>
                    <a:gd name="T40" fmla="*/ 1 w 411"/>
                    <a:gd name="T41" fmla="*/ 119 h 248"/>
                    <a:gd name="T42" fmla="*/ 22 w 411"/>
                    <a:gd name="T43" fmla="*/ 131 h 248"/>
                    <a:gd name="T44" fmla="*/ 38 w 411"/>
                    <a:gd name="T45" fmla="*/ 160 h 248"/>
                    <a:gd name="T46" fmla="*/ 51 w 411"/>
                    <a:gd name="T47" fmla="*/ 177 h 248"/>
                    <a:gd name="T48" fmla="*/ 72 w 411"/>
                    <a:gd name="T49" fmla="*/ 190 h 248"/>
                    <a:gd name="T50" fmla="*/ 94 w 411"/>
                    <a:gd name="T51" fmla="*/ 190 h 248"/>
                    <a:gd name="T52" fmla="*/ 107 w 411"/>
                    <a:gd name="T53" fmla="*/ 200 h 248"/>
                    <a:gd name="T54" fmla="*/ 107 w 411"/>
                    <a:gd name="T55" fmla="*/ 212 h 248"/>
                    <a:gd name="T56" fmla="*/ 113 w 411"/>
                    <a:gd name="T57" fmla="*/ 219 h 248"/>
                    <a:gd name="T58" fmla="*/ 118 w 411"/>
                    <a:gd name="T59" fmla="*/ 236 h 248"/>
                    <a:gd name="T60" fmla="*/ 142 w 411"/>
                    <a:gd name="T61" fmla="*/ 232 h 248"/>
                    <a:gd name="T62" fmla="*/ 180 w 411"/>
                    <a:gd name="T63" fmla="*/ 244 h 248"/>
                    <a:gd name="T64" fmla="*/ 201 w 411"/>
                    <a:gd name="T65" fmla="*/ 240 h 248"/>
                    <a:gd name="T66" fmla="*/ 236 w 411"/>
                    <a:gd name="T67" fmla="*/ 247 h 248"/>
                    <a:gd name="T68" fmla="*/ 266 w 411"/>
                    <a:gd name="T69" fmla="*/ 229 h 248"/>
                    <a:gd name="T70" fmla="*/ 284 w 411"/>
                    <a:gd name="T71" fmla="*/ 226 h 248"/>
                    <a:gd name="T72" fmla="*/ 315 w 411"/>
                    <a:gd name="T73" fmla="*/ 228 h 248"/>
                    <a:gd name="T74" fmla="*/ 341 w 411"/>
                    <a:gd name="T75" fmla="*/ 240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411" h="248">
                      <a:moveTo>
                        <a:pt x="341" y="240"/>
                      </a:moveTo>
                      <a:cubicBezTo>
                        <a:pt x="344" y="242"/>
                        <a:pt x="353" y="242"/>
                        <a:pt x="360" y="241"/>
                      </a:cubicBezTo>
                      <a:cubicBezTo>
                        <a:pt x="358" y="230"/>
                        <a:pt x="359" y="216"/>
                        <a:pt x="364" y="209"/>
                      </a:cubicBezTo>
                      <a:cubicBezTo>
                        <a:pt x="373" y="197"/>
                        <a:pt x="379" y="187"/>
                        <a:pt x="379" y="187"/>
                      </a:cubicBezTo>
                      <a:cubicBezTo>
                        <a:pt x="379" y="187"/>
                        <a:pt x="411" y="197"/>
                        <a:pt x="407" y="174"/>
                      </a:cubicBezTo>
                      <a:cubicBezTo>
                        <a:pt x="404" y="158"/>
                        <a:pt x="399" y="149"/>
                        <a:pt x="396" y="146"/>
                      </a:cubicBezTo>
                      <a:cubicBezTo>
                        <a:pt x="395" y="148"/>
                        <a:pt x="391" y="152"/>
                        <a:pt x="382" y="151"/>
                      </a:cubicBezTo>
                      <a:cubicBezTo>
                        <a:pt x="370" y="150"/>
                        <a:pt x="374" y="164"/>
                        <a:pt x="353" y="161"/>
                      </a:cubicBezTo>
                      <a:cubicBezTo>
                        <a:pt x="332" y="158"/>
                        <a:pt x="336" y="135"/>
                        <a:pt x="336" y="135"/>
                      </a:cubicBezTo>
                      <a:cubicBezTo>
                        <a:pt x="336" y="135"/>
                        <a:pt x="330" y="128"/>
                        <a:pt x="330" y="121"/>
                      </a:cubicBezTo>
                      <a:cubicBezTo>
                        <a:pt x="330" y="114"/>
                        <a:pt x="337" y="101"/>
                        <a:pt x="337" y="101"/>
                      </a:cubicBezTo>
                      <a:cubicBezTo>
                        <a:pt x="332" y="98"/>
                        <a:pt x="332" y="98"/>
                        <a:pt x="332" y="98"/>
                      </a:cubicBezTo>
                      <a:cubicBezTo>
                        <a:pt x="332" y="98"/>
                        <a:pt x="335" y="85"/>
                        <a:pt x="334" y="76"/>
                      </a:cubicBezTo>
                      <a:cubicBezTo>
                        <a:pt x="333" y="67"/>
                        <a:pt x="317" y="66"/>
                        <a:pt x="317" y="66"/>
                      </a:cubicBezTo>
                      <a:cubicBezTo>
                        <a:pt x="315" y="56"/>
                        <a:pt x="315" y="56"/>
                        <a:pt x="315" y="56"/>
                      </a:cubicBezTo>
                      <a:cubicBezTo>
                        <a:pt x="307" y="55"/>
                        <a:pt x="307" y="55"/>
                        <a:pt x="307" y="55"/>
                      </a:cubicBezTo>
                      <a:cubicBezTo>
                        <a:pt x="301" y="41"/>
                        <a:pt x="301" y="41"/>
                        <a:pt x="301" y="41"/>
                      </a:cubicBezTo>
                      <a:cubicBezTo>
                        <a:pt x="286" y="32"/>
                        <a:pt x="286" y="32"/>
                        <a:pt x="286" y="32"/>
                      </a:cubicBezTo>
                      <a:cubicBezTo>
                        <a:pt x="287" y="22"/>
                        <a:pt x="287" y="22"/>
                        <a:pt x="287" y="22"/>
                      </a:cubicBezTo>
                      <a:cubicBezTo>
                        <a:pt x="287" y="22"/>
                        <a:pt x="280" y="6"/>
                        <a:pt x="263" y="3"/>
                      </a:cubicBezTo>
                      <a:cubicBezTo>
                        <a:pt x="246" y="0"/>
                        <a:pt x="248" y="18"/>
                        <a:pt x="238" y="18"/>
                      </a:cubicBezTo>
                      <a:cubicBezTo>
                        <a:pt x="228" y="18"/>
                        <a:pt x="225" y="17"/>
                        <a:pt x="225" y="17"/>
                      </a:cubicBezTo>
                      <a:cubicBezTo>
                        <a:pt x="221" y="24"/>
                        <a:pt x="221" y="24"/>
                        <a:pt x="221" y="24"/>
                      </a:cubicBezTo>
                      <a:cubicBezTo>
                        <a:pt x="204" y="21"/>
                        <a:pt x="204" y="21"/>
                        <a:pt x="204" y="21"/>
                      </a:cubicBezTo>
                      <a:cubicBezTo>
                        <a:pt x="204" y="21"/>
                        <a:pt x="204" y="30"/>
                        <a:pt x="194" y="33"/>
                      </a:cubicBezTo>
                      <a:cubicBezTo>
                        <a:pt x="184" y="36"/>
                        <a:pt x="178" y="17"/>
                        <a:pt x="172" y="16"/>
                      </a:cubicBezTo>
                      <a:cubicBezTo>
                        <a:pt x="166" y="15"/>
                        <a:pt x="151" y="23"/>
                        <a:pt x="151" y="23"/>
                      </a:cubicBezTo>
                      <a:cubicBezTo>
                        <a:pt x="145" y="18"/>
                        <a:pt x="145" y="18"/>
                        <a:pt x="145" y="18"/>
                      </a:cubicBezTo>
                      <a:cubicBezTo>
                        <a:pt x="129" y="21"/>
                        <a:pt x="129" y="21"/>
                        <a:pt x="129" y="21"/>
                      </a:cubicBezTo>
                      <a:cubicBezTo>
                        <a:pt x="129" y="21"/>
                        <a:pt x="127" y="14"/>
                        <a:pt x="123" y="14"/>
                      </a:cubicBezTo>
                      <a:cubicBezTo>
                        <a:pt x="119" y="14"/>
                        <a:pt x="110" y="14"/>
                        <a:pt x="110" y="14"/>
                      </a:cubicBezTo>
                      <a:cubicBezTo>
                        <a:pt x="110" y="14"/>
                        <a:pt x="100" y="27"/>
                        <a:pt x="90" y="28"/>
                      </a:cubicBezTo>
                      <a:cubicBezTo>
                        <a:pt x="80" y="29"/>
                        <a:pt x="71" y="29"/>
                        <a:pt x="70" y="35"/>
                      </a:cubicBezTo>
                      <a:cubicBezTo>
                        <a:pt x="69" y="41"/>
                        <a:pt x="69" y="53"/>
                        <a:pt x="69" y="53"/>
                      </a:cubicBezTo>
                      <a:cubicBezTo>
                        <a:pt x="69" y="53"/>
                        <a:pt x="72" y="65"/>
                        <a:pt x="62" y="70"/>
                      </a:cubicBezTo>
                      <a:cubicBezTo>
                        <a:pt x="52" y="75"/>
                        <a:pt x="46" y="83"/>
                        <a:pt x="46" y="83"/>
                      </a:cubicBezTo>
                      <a:cubicBezTo>
                        <a:pt x="46" y="83"/>
                        <a:pt x="51" y="91"/>
                        <a:pt x="45" y="97"/>
                      </a:cubicBezTo>
                      <a:cubicBezTo>
                        <a:pt x="39" y="103"/>
                        <a:pt x="29" y="107"/>
                        <a:pt x="29" y="107"/>
                      </a:cubicBezTo>
                      <a:cubicBezTo>
                        <a:pt x="18" y="105"/>
                        <a:pt x="18" y="105"/>
                        <a:pt x="18" y="105"/>
                      </a:cubicBezTo>
                      <a:cubicBezTo>
                        <a:pt x="16" y="114"/>
                        <a:pt x="16" y="114"/>
                        <a:pt x="16" y="114"/>
                      </a:cubicBezTo>
                      <a:cubicBezTo>
                        <a:pt x="0" y="118"/>
                        <a:pt x="0" y="118"/>
                        <a:pt x="0" y="118"/>
                      </a:cubicBezTo>
                      <a:cubicBezTo>
                        <a:pt x="1" y="119"/>
                        <a:pt x="1" y="119"/>
                        <a:pt x="1" y="119"/>
                      </a:cubicBezTo>
                      <a:cubicBezTo>
                        <a:pt x="16" y="133"/>
                        <a:pt x="16" y="133"/>
                        <a:pt x="16" y="133"/>
                      </a:cubicBezTo>
                      <a:cubicBezTo>
                        <a:pt x="22" y="131"/>
                        <a:pt x="22" y="131"/>
                        <a:pt x="22" y="131"/>
                      </a:cubicBezTo>
                      <a:cubicBezTo>
                        <a:pt x="30" y="154"/>
                        <a:pt x="30" y="154"/>
                        <a:pt x="30" y="154"/>
                      </a:cubicBezTo>
                      <a:cubicBezTo>
                        <a:pt x="30" y="154"/>
                        <a:pt x="36" y="165"/>
                        <a:pt x="38" y="160"/>
                      </a:cubicBezTo>
                      <a:cubicBezTo>
                        <a:pt x="40" y="155"/>
                        <a:pt x="52" y="156"/>
                        <a:pt x="54" y="162"/>
                      </a:cubicBezTo>
                      <a:cubicBezTo>
                        <a:pt x="56" y="168"/>
                        <a:pt x="51" y="177"/>
                        <a:pt x="51" y="177"/>
                      </a:cubicBezTo>
                      <a:cubicBezTo>
                        <a:pt x="56" y="188"/>
                        <a:pt x="56" y="188"/>
                        <a:pt x="56" y="188"/>
                      </a:cubicBezTo>
                      <a:cubicBezTo>
                        <a:pt x="72" y="190"/>
                        <a:pt x="72" y="190"/>
                        <a:pt x="72" y="190"/>
                      </a:cubicBezTo>
                      <a:cubicBezTo>
                        <a:pt x="78" y="197"/>
                        <a:pt x="78" y="197"/>
                        <a:pt x="78" y="197"/>
                      </a:cubicBezTo>
                      <a:cubicBezTo>
                        <a:pt x="94" y="190"/>
                        <a:pt x="94" y="190"/>
                        <a:pt x="94" y="190"/>
                      </a:cubicBezTo>
                      <a:cubicBezTo>
                        <a:pt x="110" y="194"/>
                        <a:pt x="110" y="194"/>
                        <a:pt x="110" y="194"/>
                      </a:cubicBezTo>
                      <a:cubicBezTo>
                        <a:pt x="107" y="200"/>
                        <a:pt x="107" y="200"/>
                        <a:pt x="107" y="200"/>
                      </a:cubicBezTo>
                      <a:cubicBezTo>
                        <a:pt x="100" y="208"/>
                        <a:pt x="100" y="208"/>
                        <a:pt x="100" y="208"/>
                      </a:cubicBezTo>
                      <a:cubicBezTo>
                        <a:pt x="107" y="212"/>
                        <a:pt x="107" y="212"/>
                        <a:pt x="107" y="212"/>
                      </a:cubicBezTo>
                      <a:cubicBezTo>
                        <a:pt x="106" y="218"/>
                        <a:pt x="106" y="218"/>
                        <a:pt x="106" y="218"/>
                      </a:cubicBezTo>
                      <a:cubicBezTo>
                        <a:pt x="113" y="219"/>
                        <a:pt x="113" y="219"/>
                        <a:pt x="113" y="219"/>
                      </a:cubicBezTo>
                      <a:cubicBezTo>
                        <a:pt x="113" y="219"/>
                        <a:pt x="123" y="219"/>
                        <a:pt x="125" y="223"/>
                      </a:cubicBezTo>
                      <a:cubicBezTo>
                        <a:pt x="127" y="227"/>
                        <a:pt x="118" y="232"/>
                        <a:pt x="118" y="236"/>
                      </a:cubicBezTo>
                      <a:cubicBezTo>
                        <a:pt x="118" y="240"/>
                        <a:pt x="135" y="239"/>
                        <a:pt x="135" y="239"/>
                      </a:cubicBezTo>
                      <a:cubicBezTo>
                        <a:pt x="142" y="232"/>
                        <a:pt x="142" y="232"/>
                        <a:pt x="142" y="232"/>
                      </a:cubicBezTo>
                      <a:cubicBezTo>
                        <a:pt x="158" y="239"/>
                        <a:pt x="158" y="239"/>
                        <a:pt x="158" y="239"/>
                      </a:cubicBezTo>
                      <a:cubicBezTo>
                        <a:pt x="158" y="239"/>
                        <a:pt x="167" y="244"/>
                        <a:pt x="180" y="244"/>
                      </a:cubicBezTo>
                      <a:cubicBezTo>
                        <a:pt x="193" y="244"/>
                        <a:pt x="188" y="235"/>
                        <a:pt x="188" y="235"/>
                      </a:cubicBezTo>
                      <a:cubicBezTo>
                        <a:pt x="201" y="240"/>
                        <a:pt x="201" y="240"/>
                        <a:pt x="201" y="240"/>
                      </a:cubicBezTo>
                      <a:cubicBezTo>
                        <a:pt x="214" y="241"/>
                        <a:pt x="214" y="241"/>
                        <a:pt x="214" y="241"/>
                      </a:cubicBezTo>
                      <a:cubicBezTo>
                        <a:pt x="214" y="241"/>
                        <a:pt x="225" y="246"/>
                        <a:pt x="236" y="247"/>
                      </a:cubicBezTo>
                      <a:cubicBezTo>
                        <a:pt x="247" y="248"/>
                        <a:pt x="246" y="232"/>
                        <a:pt x="253" y="230"/>
                      </a:cubicBezTo>
                      <a:cubicBezTo>
                        <a:pt x="260" y="228"/>
                        <a:pt x="266" y="229"/>
                        <a:pt x="266" y="229"/>
                      </a:cubicBezTo>
                      <a:cubicBezTo>
                        <a:pt x="265" y="224"/>
                        <a:pt x="265" y="224"/>
                        <a:pt x="265" y="224"/>
                      </a:cubicBezTo>
                      <a:cubicBezTo>
                        <a:pt x="284" y="226"/>
                        <a:pt x="284" y="226"/>
                        <a:pt x="284" y="226"/>
                      </a:cubicBezTo>
                      <a:cubicBezTo>
                        <a:pt x="284" y="226"/>
                        <a:pt x="281" y="220"/>
                        <a:pt x="290" y="220"/>
                      </a:cubicBezTo>
                      <a:cubicBezTo>
                        <a:pt x="299" y="220"/>
                        <a:pt x="306" y="228"/>
                        <a:pt x="315" y="228"/>
                      </a:cubicBezTo>
                      <a:cubicBezTo>
                        <a:pt x="324" y="228"/>
                        <a:pt x="333" y="230"/>
                        <a:pt x="333" y="230"/>
                      </a:cubicBezTo>
                      <a:cubicBezTo>
                        <a:pt x="333" y="230"/>
                        <a:pt x="336" y="237"/>
                        <a:pt x="341" y="240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9" name="Portugal">
                  <a:extLst>
                    <a:ext uri="{FF2B5EF4-FFF2-40B4-BE49-F238E27FC236}">
                      <a16:creationId xmlns:a16="http://schemas.microsoft.com/office/drawing/2014/main" id="{878A6B2F-3FBE-9BCE-7529-BE4F55BD46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98672" y="2817318"/>
                  <a:ext cx="87327" cy="155504"/>
                </a:xfrm>
                <a:custGeom>
                  <a:avLst/>
                  <a:gdLst>
                    <a:gd name="T0" fmla="*/ 141 w 155"/>
                    <a:gd name="T1" fmla="*/ 20 h 277"/>
                    <a:gd name="T2" fmla="*/ 140 w 155"/>
                    <a:gd name="T3" fmla="*/ 7 h 277"/>
                    <a:gd name="T4" fmla="*/ 111 w 155"/>
                    <a:gd name="T5" fmla="*/ 8 h 277"/>
                    <a:gd name="T6" fmla="*/ 104 w 155"/>
                    <a:gd name="T7" fmla="*/ 16 h 277"/>
                    <a:gd name="T8" fmla="*/ 87 w 155"/>
                    <a:gd name="T9" fmla="*/ 11 h 277"/>
                    <a:gd name="T10" fmla="*/ 70 w 155"/>
                    <a:gd name="T11" fmla="*/ 15 h 277"/>
                    <a:gd name="T12" fmla="*/ 76 w 155"/>
                    <a:gd name="T13" fmla="*/ 6 h 277"/>
                    <a:gd name="T14" fmla="*/ 62 w 155"/>
                    <a:gd name="T15" fmla="*/ 0 h 277"/>
                    <a:gd name="T16" fmla="*/ 41 w 155"/>
                    <a:gd name="T17" fmla="*/ 13 h 277"/>
                    <a:gd name="T18" fmla="*/ 46 w 155"/>
                    <a:gd name="T19" fmla="*/ 53 h 277"/>
                    <a:gd name="T20" fmla="*/ 23 w 155"/>
                    <a:gd name="T21" fmla="*/ 114 h 277"/>
                    <a:gd name="T22" fmla="*/ 9 w 155"/>
                    <a:gd name="T23" fmla="*/ 146 h 277"/>
                    <a:gd name="T24" fmla="*/ 6 w 155"/>
                    <a:gd name="T25" fmla="*/ 180 h 277"/>
                    <a:gd name="T26" fmla="*/ 23 w 155"/>
                    <a:gd name="T27" fmla="*/ 191 h 277"/>
                    <a:gd name="T28" fmla="*/ 30 w 155"/>
                    <a:gd name="T29" fmla="*/ 228 h 277"/>
                    <a:gd name="T30" fmla="*/ 20 w 155"/>
                    <a:gd name="T31" fmla="*/ 271 h 277"/>
                    <a:gd name="T32" fmla="*/ 52 w 155"/>
                    <a:gd name="T33" fmla="*/ 268 h 277"/>
                    <a:gd name="T34" fmla="*/ 62 w 155"/>
                    <a:gd name="T35" fmla="*/ 276 h 277"/>
                    <a:gd name="T36" fmla="*/ 87 w 155"/>
                    <a:gd name="T37" fmla="*/ 263 h 277"/>
                    <a:gd name="T38" fmla="*/ 85 w 155"/>
                    <a:gd name="T39" fmla="*/ 252 h 277"/>
                    <a:gd name="T40" fmla="*/ 86 w 155"/>
                    <a:gd name="T41" fmla="*/ 237 h 277"/>
                    <a:gd name="T42" fmla="*/ 96 w 155"/>
                    <a:gd name="T43" fmla="*/ 220 h 277"/>
                    <a:gd name="T44" fmla="*/ 110 w 155"/>
                    <a:gd name="T45" fmla="*/ 213 h 277"/>
                    <a:gd name="T46" fmla="*/ 101 w 155"/>
                    <a:gd name="T47" fmla="*/ 206 h 277"/>
                    <a:gd name="T48" fmla="*/ 92 w 155"/>
                    <a:gd name="T49" fmla="*/ 188 h 277"/>
                    <a:gd name="T50" fmla="*/ 114 w 155"/>
                    <a:gd name="T51" fmla="*/ 162 h 277"/>
                    <a:gd name="T52" fmla="*/ 103 w 155"/>
                    <a:gd name="T53" fmla="*/ 152 h 277"/>
                    <a:gd name="T54" fmla="*/ 103 w 155"/>
                    <a:gd name="T55" fmla="*/ 143 h 277"/>
                    <a:gd name="T56" fmla="*/ 87 w 155"/>
                    <a:gd name="T57" fmla="*/ 129 h 277"/>
                    <a:gd name="T58" fmla="*/ 108 w 155"/>
                    <a:gd name="T59" fmla="*/ 128 h 277"/>
                    <a:gd name="T60" fmla="*/ 120 w 155"/>
                    <a:gd name="T61" fmla="*/ 117 h 277"/>
                    <a:gd name="T62" fmla="*/ 116 w 155"/>
                    <a:gd name="T63" fmla="*/ 100 h 277"/>
                    <a:gd name="T64" fmla="*/ 122 w 155"/>
                    <a:gd name="T65" fmla="*/ 93 h 277"/>
                    <a:gd name="T66" fmla="*/ 128 w 155"/>
                    <a:gd name="T67" fmla="*/ 65 h 277"/>
                    <a:gd name="T68" fmla="*/ 120 w 155"/>
                    <a:gd name="T69" fmla="*/ 56 h 277"/>
                    <a:gd name="T70" fmla="*/ 154 w 155"/>
                    <a:gd name="T71" fmla="*/ 29 h 277"/>
                    <a:gd name="T72" fmla="*/ 141 w 155"/>
                    <a:gd name="T73" fmla="*/ 2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55" h="277">
                      <a:moveTo>
                        <a:pt x="141" y="20"/>
                      </a:moveTo>
                      <a:cubicBezTo>
                        <a:pt x="141" y="20"/>
                        <a:pt x="144" y="9"/>
                        <a:pt x="140" y="7"/>
                      </a:cubicBezTo>
                      <a:cubicBezTo>
                        <a:pt x="136" y="5"/>
                        <a:pt x="120" y="8"/>
                        <a:pt x="111" y="8"/>
                      </a:cubicBezTo>
                      <a:cubicBezTo>
                        <a:pt x="102" y="8"/>
                        <a:pt x="112" y="12"/>
                        <a:pt x="104" y="16"/>
                      </a:cubicBezTo>
                      <a:cubicBezTo>
                        <a:pt x="96" y="20"/>
                        <a:pt x="94" y="11"/>
                        <a:pt x="87" y="11"/>
                      </a:cubicBezTo>
                      <a:cubicBezTo>
                        <a:pt x="80" y="11"/>
                        <a:pt x="76" y="15"/>
                        <a:pt x="70" y="15"/>
                      </a:cubicBezTo>
                      <a:cubicBezTo>
                        <a:pt x="64" y="15"/>
                        <a:pt x="71" y="11"/>
                        <a:pt x="76" y="6"/>
                      </a:cubicBezTo>
                      <a:cubicBezTo>
                        <a:pt x="81" y="1"/>
                        <a:pt x="76" y="0"/>
                        <a:pt x="62" y="0"/>
                      </a:cubicBezTo>
                      <a:cubicBezTo>
                        <a:pt x="53" y="0"/>
                        <a:pt x="46" y="7"/>
                        <a:pt x="41" y="13"/>
                      </a:cubicBezTo>
                      <a:cubicBezTo>
                        <a:pt x="44" y="23"/>
                        <a:pt x="47" y="40"/>
                        <a:pt x="46" y="53"/>
                      </a:cubicBezTo>
                      <a:cubicBezTo>
                        <a:pt x="45" y="74"/>
                        <a:pt x="23" y="114"/>
                        <a:pt x="23" y="114"/>
                      </a:cubicBezTo>
                      <a:cubicBezTo>
                        <a:pt x="9" y="146"/>
                        <a:pt x="9" y="146"/>
                        <a:pt x="9" y="146"/>
                      </a:cubicBezTo>
                      <a:cubicBezTo>
                        <a:pt x="9" y="146"/>
                        <a:pt x="0" y="173"/>
                        <a:pt x="6" y="180"/>
                      </a:cubicBezTo>
                      <a:cubicBezTo>
                        <a:pt x="12" y="187"/>
                        <a:pt x="23" y="191"/>
                        <a:pt x="23" y="191"/>
                      </a:cubicBezTo>
                      <a:cubicBezTo>
                        <a:pt x="30" y="228"/>
                        <a:pt x="30" y="228"/>
                        <a:pt x="30" y="228"/>
                      </a:cubicBezTo>
                      <a:cubicBezTo>
                        <a:pt x="30" y="228"/>
                        <a:pt x="14" y="270"/>
                        <a:pt x="20" y="271"/>
                      </a:cubicBezTo>
                      <a:cubicBezTo>
                        <a:pt x="26" y="272"/>
                        <a:pt x="52" y="268"/>
                        <a:pt x="52" y="268"/>
                      </a:cubicBezTo>
                      <a:cubicBezTo>
                        <a:pt x="52" y="268"/>
                        <a:pt x="56" y="277"/>
                        <a:pt x="62" y="276"/>
                      </a:cubicBezTo>
                      <a:cubicBezTo>
                        <a:pt x="67" y="275"/>
                        <a:pt x="84" y="265"/>
                        <a:pt x="87" y="263"/>
                      </a:cubicBezTo>
                      <a:cubicBezTo>
                        <a:pt x="85" y="252"/>
                        <a:pt x="85" y="252"/>
                        <a:pt x="85" y="252"/>
                      </a:cubicBezTo>
                      <a:cubicBezTo>
                        <a:pt x="85" y="252"/>
                        <a:pt x="84" y="244"/>
                        <a:pt x="86" y="237"/>
                      </a:cubicBezTo>
                      <a:cubicBezTo>
                        <a:pt x="88" y="230"/>
                        <a:pt x="96" y="220"/>
                        <a:pt x="96" y="220"/>
                      </a:cubicBezTo>
                      <a:cubicBezTo>
                        <a:pt x="96" y="220"/>
                        <a:pt x="106" y="219"/>
                        <a:pt x="110" y="213"/>
                      </a:cubicBezTo>
                      <a:cubicBezTo>
                        <a:pt x="114" y="207"/>
                        <a:pt x="101" y="206"/>
                        <a:pt x="101" y="206"/>
                      </a:cubicBezTo>
                      <a:cubicBezTo>
                        <a:pt x="101" y="206"/>
                        <a:pt x="96" y="192"/>
                        <a:pt x="92" y="188"/>
                      </a:cubicBezTo>
                      <a:cubicBezTo>
                        <a:pt x="88" y="184"/>
                        <a:pt x="112" y="170"/>
                        <a:pt x="114" y="162"/>
                      </a:cubicBezTo>
                      <a:cubicBezTo>
                        <a:pt x="116" y="154"/>
                        <a:pt x="103" y="152"/>
                        <a:pt x="103" y="152"/>
                      </a:cubicBezTo>
                      <a:cubicBezTo>
                        <a:pt x="103" y="143"/>
                        <a:pt x="103" y="143"/>
                        <a:pt x="103" y="143"/>
                      </a:cubicBezTo>
                      <a:cubicBezTo>
                        <a:pt x="87" y="129"/>
                        <a:pt x="87" y="129"/>
                        <a:pt x="87" y="129"/>
                      </a:cubicBezTo>
                      <a:cubicBezTo>
                        <a:pt x="87" y="129"/>
                        <a:pt x="104" y="129"/>
                        <a:pt x="108" y="128"/>
                      </a:cubicBezTo>
                      <a:cubicBezTo>
                        <a:pt x="112" y="127"/>
                        <a:pt x="120" y="120"/>
                        <a:pt x="120" y="117"/>
                      </a:cubicBezTo>
                      <a:cubicBezTo>
                        <a:pt x="120" y="114"/>
                        <a:pt x="116" y="100"/>
                        <a:pt x="116" y="100"/>
                      </a:cubicBezTo>
                      <a:cubicBezTo>
                        <a:pt x="116" y="100"/>
                        <a:pt x="121" y="96"/>
                        <a:pt x="122" y="93"/>
                      </a:cubicBezTo>
                      <a:cubicBezTo>
                        <a:pt x="123" y="90"/>
                        <a:pt x="128" y="65"/>
                        <a:pt x="128" y="65"/>
                      </a:cubicBezTo>
                      <a:cubicBezTo>
                        <a:pt x="128" y="65"/>
                        <a:pt x="119" y="60"/>
                        <a:pt x="120" y="56"/>
                      </a:cubicBezTo>
                      <a:cubicBezTo>
                        <a:pt x="121" y="52"/>
                        <a:pt x="153" y="37"/>
                        <a:pt x="154" y="29"/>
                      </a:cubicBezTo>
                      <a:cubicBezTo>
                        <a:pt x="155" y="21"/>
                        <a:pt x="141" y="20"/>
                        <a:pt x="141" y="20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0" name="Poland">
                  <a:extLst>
                    <a:ext uri="{FF2B5EF4-FFF2-40B4-BE49-F238E27FC236}">
                      <a16:creationId xmlns:a16="http://schemas.microsoft.com/office/drawing/2014/main" id="{90F6277D-5EBA-76CB-0441-F40EBF5BC5B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71859" y="2446013"/>
                  <a:ext cx="234991" cy="168198"/>
                </a:xfrm>
                <a:custGeom>
                  <a:avLst/>
                  <a:gdLst>
                    <a:gd name="T0" fmla="*/ 312 w 419"/>
                    <a:gd name="T1" fmla="*/ 276 h 301"/>
                    <a:gd name="T2" fmla="*/ 351 w 419"/>
                    <a:gd name="T3" fmla="*/ 293 h 301"/>
                    <a:gd name="T4" fmla="*/ 371 w 419"/>
                    <a:gd name="T5" fmla="*/ 301 h 301"/>
                    <a:gd name="T6" fmla="*/ 364 w 419"/>
                    <a:gd name="T7" fmla="*/ 265 h 301"/>
                    <a:gd name="T8" fmla="*/ 417 w 419"/>
                    <a:gd name="T9" fmla="*/ 224 h 301"/>
                    <a:gd name="T10" fmla="*/ 416 w 419"/>
                    <a:gd name="T11" fmla="*/ 203 h 301"/>
                    <a:gd name="T12" fmla="*/ 390 w 419"/>
                    <a:gd name="T13" fmla="*/ 180 h 301"/>
                    <a:gd name="T14" fmla="*/ 389 w 419"/>
                    <a:gd name="T15" fmla="*/ 167 h 301"/>
                    <a:gd name="T16" fmla="*/ 387 w 419"/>
                    <a:gd name="T17" fmla="*/ 140 h 301"/>
                    <a:gd name="T18" fmla="*/ 379 w 419"/>
                    <a:gd name="T19" fmla="*/ 123 h 301"/>
                    <a:gd name="T20" fmla="*/ 394 w 419"/>
                    <a:gd name="T21" fmla="*/ 106 h 301"/>
                    <a:gd name="T22" fmla="*/ 392 w 419"/>
                    <a:gd name="T23" fmla="*/ 78 h 301"/>
                    <a:gd name="T24" fmla="*/ 373 w 419"/>
                    <a:gd name="T25" fmla="*/ 46 h 301"/>
                    <a:gd name="T26" fmla="*/ 344 w 419"/>
                    <a:gd name="T27" fmla="*/ 22 h 301"/>
                    <a:gd name="T28" fmla="*/ 313 w 419"/>
                    <a:gd name="T29" fmla="*/ 26 h 301"/>
                    <a:gd name="T30" fmla="*/ 257 w 419"/>
                    <a:gd name="T31" fmla="*/ 20 h 301"/>
                    <a:gd name="T32" fmla="*/ 231 w 419"/>
                    <a:gd name="T33" fmla="*/ 18 h 301"/>
                    <a:gd name="T34" fmla="*/ 189 w 419"/>
                    <a:gd name="T35" fmla="*/ 22 h 301"/>
                    <a:gd name="T36" fmla="*/ 149 w 419"/>
                    <a:gd name="T37" fmla="*/ 0 h 301"/>
                    <a:gd name="T38" fmla="*/ 81 w 419"/>
                    <a:gd name="T39" fmla="*/ 28 h 301"/>
                    <a:gd name="T40" fmla="*/ 12 w 419"/>
                    <a:gd name="T41" fmla="*/ 48 h 301"/>
                    <a:gd name="T42" fmla="*/ 7 w 419"/>
                    <a:gd name="T43" fmla="*/ 58 h 301"/>
                    <a:gd name="T44" fmla="*/ 14 w 419"/>
                    <a:gd name="T45" fmla="*/ 75 h 301"/>
                    <a:gd name="T46" fmla="*/ 3 w 419"/>
                    <a:gd name="T47" fmla="*/ 102 h 301"/>
                    <a:gd name="T48" fmla="*/ 14 w 419"/>
                    <a:gd name="T49" fmla="*/ 111 h 301"/>
                    <a:gd name="T50" fmla="*/ 24 w 419"/>
                    <a:gd name="T51" fmla="*/ 122 h 301"/>
                    <a:gd name="T52" fmla="*/ 25 w 419"/>
                    <a:gd name="T53" fmla="*/ 132 h 301"/>
                    <a:gd name="T54" fmla="*/ 29 w 419"/>
                    <a:gd name="T55" fmla="*/ 142 h 301"/>
                    <a:gd name="T56" fmla="*/ 30 w 419"/>
                    <a:gd name="T57" fmla="*/ 161 h 301"/>
                    <a:gd name="T58" fmla="*/ 38 w 419"/>
                    <a:gd name="T59" fmla="*/ 173 h 301"/>
                    <a:gd name="T60" fmla="*/ 41 w 419"/>
                    <a:gd name="T61" fmla="*/ 187 h 301"/>
                    <a:gd name="T62" fmla="*/ 50 w 419"/>
                    <a:gd name="T63" fmla="*/ 197 h 301"/>
                    <a:gd name="T64" fmla="*/ 67 w 419"/>
                    <a:gd name="T65" fmla="*/ 207 h 301"/>
                    <a:gd name="T66" fmla="*/ 96 w 419"/>
                    <a:gd name="T67" fmla="*/ 216 h 301"/>
                    <a:gd name="T68" fmla="*/ 92 w 419"/>
                    <a:gd name="T69" fmla="*/ 225 h 301"/>
                    <a:gd name="T70" fmla="*/ 102 w 419"/>
                    <a:gd name="T71" fmla="*/ 236 h 301"/>
                    <a:gd name="T72" fmla="*/ 132 w 419"/>
                    <a:gd name="T73" fmla="*/ 232 h 301"/>
                    <a:gd name="T74" fmla="*/ 148 w 419"/>
                    <a:gd name="T75" fmla="*/ 236 h 301"/>
                    <a:gd name="T76" fmla="*/ 168 w 419"/>
                    <a:gd name="T77" fmla="*/ 244 h 301"/>
                    <a:gd name="T78" fmla="*/ 190 w 419"/>
                    <a:gd name="T79" fmla="*/ 255 h 301"/>
                    <a:gd name="T80" fmla="*/ 196 w 419"/>
                    <a:gd name="T81" fmla="*/ 266 h 301"/>
                    <a:gd name="T82" fmla="*/ 229 w 419"/>
                    <a:gd name="T83" fmla="*/ 272 h 301"/>
                    <a:gd name="T84" fmla="*/ 244 w 419"/>
                    <a:gd name="T85" fmla="*/ 281 h 301"/>
                    <a:gd name="T86" fmla="*/ 258 w 419"/>
                    <a:gd name="T87" fmla="*/ 279 h 301"/>
                    <a:gd name="T88" fmla="*/ 288 w 419"/>
                    <a:gd name="T89" fmla="*/ 284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19" h="301">
                      <a:moveTo>
                        <a:pt x="288" y="284"/>
                      </a:moveTo>
                      <a:cubicBezTo>
                        <a:pt x="293" y="284"/>
                        <a:pt x="298" y="276"/>
                        <a:pt x="312" y="276"/>
                      </a:cubicBezTo>
                      <a:cubicBezTo>
                        <a:pt x="326" y="276"/>
                        <a:pt x="325" y="283"/>
                        <a:pt x="332" y="289"/>
                      </a:cubicBezTo>
                      <a:cubicBezTo>
                        <a:pt x="339" y="295"/>
                        <a:pt x="345" y="293"/>
                        <a:pt x="351" y="293"/>
                      </a:cubicBezTo>
                      <a:cubicBezTo>
                        <a:pt x="357" y="293"/>
                        <a:pt x="355" y="300"/>
                        <a:pt x="355" y="300"/>
                      </a:cubicBezTo>
                      <a:cubicBezTo>
                        <a:pt x="371" y="301"/>
                        <a:pt x="371" y="301"/>
                        <a:pt x="371" y="301"/>
                      </a:cubicBezTo>
                      <a:cubicBezTo>
                        <a:pt x="371" y="301"/>
                        <a:pt x="362" y="295"/>
                        <a:pt x="363" y="285"/>
                      </a:cubicBezTo>
                      <a:cubicBezTo>
                        <a:pt x="364" y="275"/>
                        <a:pt x="364" y="265"/>
                        <a:pt x="364" y="265"/>
                      </a:cubicBezTo>
                      <a:cubicBezTo>
                        <a:pt x="399" y="230"/>
                        <a:pt x="399" y="230"/>
                        <a:pt x="399" y="230"/>
                      </a:cubicBezTo>
                      <a:cubicBezTo>
                        <a:pt x="399" y="230"/>
                        <a:pt x="419" y="229"/>
                        <a:pt x="417" y="224"/>
                      </a:cubicBezTo>
                      <a:cubicBezTo>
                        <a:pt x="415" y="219"/>
                        <a:pt x="409" y="211"/>
                        <a:pt x="409" y="211"/>
                      </a:cubicBezTo>
                      <a:cubicBezTo>
                        <a:pt x="416" y="203"/>
                        <a:pt x="416" y="203"/>
                        <a:pt x="416" y="203"/>
                      </a:cubicBezTo>
                      <a:cubicBezTo>
                        <a:pt x="416" y="203"/>
                        <a:pt x="404" y="200"/>
                        <a:pt x="401" y="191"/>
                      </a:cubicBezTo>
                      <a:cubicBezTo>
                        <a:pt x="398" y="182"/>
                        <a:pt x="390" y="180"/>
                        <a:pt x="390" y="180"/>
                      </a:cubicBezTo>
                      <a:cubicBezTo>
                        <a:pt x="388" y="167"/>
                        <a:pt x="388" y="167"/>
                        <a:pt x="388" y="167"/>
                      </a:cubicBezTo>
                      <a:cubicBezTo>
                        <a:pt x="388" y="167"/>
                        <a:pt x="388" y="167"/>
                        <a:pt x="389" y="167"/>
                      </a:cubicBezTo>
                      <a:cubicBezTo>
                        <a:pt x="386" y="158"/>
                        <a:pt x="386" y="158"/>
                        <a:pt x="386" y="158"/>
                      </a:cubicBezTo>
                      <a:cubicBezTo>
                        <a:pt x="386" y="158"/>
                        <a:pt x="389" y="144"/>
                        <a:pt x="387" y="140"/>
                      </a:cubicBezTo>
                      <a:cubicBezTo>
                        <a:pt x="385" y="136"/>
                        <a:pt x="371" y="133"/>
                        <a:pt x="369" y="127"/>
                      </a:cubicBezTo>
                      <a:cubicBezTo>
                        <a:pt x="367" y="121"/>
                        <a:pt x="376" y="123"/>
                        <a:pt x="379" y="123"/>
                      </a:cubicBezTo>
                      <a:cubicBezTo>
                        <a:pt x="382" y="123"/>
                        <a:pt x="380" y="111"/>
                        <a:pt x="380" y="111"/>
                      </a:cubicBezTo>
                      <a:cubicBezTo>
                        <a:pt x="394" y="106"/>
                        <a:pt x="394" y="106"/>
                        <a:pt x="394" y="106"/>
                      </a:cubicBezTo>
                      <a:cubicBezTo>
                        <a:pt x="394" y="106"/>
                        <a:pt x="396" y="98"/>
                        <a:pt x="398" y="94"/>
                      </a:cubicBezTo>
                      <a:cubicBezTo>
                        <a:pt x="400" y="90"/>
                        <a:pt x="392" y="78"/>
                        <a:pt x="392" y="78"/>
                      </a:cubicBezTo>
                      <a:cubicBezTo>
                        <a:pt x="392" y="78"/>
                        <a:pt x="381" y="69"/>
                        <a:pt x="381" y="64"/>
                      </a:cubicBezTo>
                      <a:cubicBezTo>
                        <a:pt x="381" y="59"/>
                        <a:pt x="373" y="46"/>
                        <a:pt x="373" y="46"/>
                      </a:cubicBezTo>
                      <a:cubicBezTo>
                        <a:pt x="373" y="33"/>
                        <a:pt x="373" y="33"/>
                        <a:pt x="373" y="33"/>
                      </a:cubicBezTo>
                      <a:cubicBezTo>
                        <a:pt x="373" y="33"/>
                        <a:pt x="357" y="24"/>
                        <a:pt x="344" y="22"/>
                      </a:cubicBezTo>
                      <a:cubicBezTo>
                        <a:pt x="331" y="20"/>
                        <a:pt x="336" y="27"/>
                        <a:pt x="336" y="27"/>
                      </a:cubicBezTo>
                      <a:cubicBezTo>
                        <a:pt x="336" y="27"/>
                        <a:pt x="321" y="27"/>
                        <a:pt x="313" y="26"/>
                      </a:cubicBezTo>
                      <a:cubicBezTo>
                        <a:pt x="305" y="25"/>
                        <a:pt x="274" y="27"/>
                        <a:pt x="274" y="27"/>
                      </a:cubicBezTo>
                      <a:cubicBezTo>
                        <a:pt x="274" y="27"/>
                        <a:pt x="266" y="22"/>
                        <a:pt x="257" y="20"/>
                      </a:cubicBezTo>
                      <a:cubicBezTo>
                        <a:pt x="248" y="18"/>
                        <a:pt x="236" y="23"/>
                        <a:pt x="236" y="23"/>
                      </a:cubicBezTo>
                      <a:cubicBezTo>
                        <a:pt x="231" y="18"/>
                        <a:pt x="231" y="18"/>
                        <a:pt x="231" y="18"/>
                      </a:cubicBezTo>
                      <a:cubicBezTo>
                        <a:pt x="231" y="19"/>
                        <a:pt x="231" y="19"/>
                        <a:pt x="231" y="19"/>
                      </a:cubicBezTo>
                      <a:cubicBezTo>
                        <a:pt x="231" y="19"/>
                        <a:pt x="195" y="23"/>
                        <a:pt x="189" y="22"/>
                      </a:cubicBezTo>
                      <a:cubicBezTo>
                        <a:pt x="183" y="21"/>
                        <a:pt x="178" y="4"/>
                        <a:pt x="178" y="4"/>
                      </a:cubicBezTo>
                      <a:cubicBezTo>
                        <a:pt x="178" y="4"/>
                        <a:pt x="164" y="0"/>
                        <a:pt x="149" y="0"/>
                      </a:cubicBezTo>
                      <a:cubicBezTo>
                        <a:pt x="134" y="0"/>
                        <a:pt x="94" y="17"/>
                        <a:pt x="94" y="17"/>
                      </a:cubicBezTo>
                      <a:cubicBezTo>
                        <a:pt x="81" y="28"/>
                        <a:pt x="81" y="28"/>
                        <a:pt x="81" y="28"/>
                      </a:cubicBezTo>
                      <a:cubicBezTo>
                        <a:pt x="41" y="33"/>
                        <a:pt x="41" y="33"/>
                        <a:pt x="41" y="33"/>
                      </a:cubicBezTo>
                      <a:cubicBezTo>
                        <a:pt x="41" y="33"/>
                        <a:pt x="10" y="44"/>
                        <a:pt x="12" y="48"/>
                      </a:cubicBezTo>
                      <a:cubicBezTo>
                        <a:pt x="14" y="52"/>
                        <a:pt x="14" y="62"/>
                        <a:pt x="14" y="62"/>
                      </a:cubicBezTo>
                      <a:cubicBezTo>
                        <a:pt x="7" y="58"/>
                        <a:pt x="7" y="58"/>
                        <a:pt x="7" y="58"/>
                      </a:cubicBezTo>
                      <a:cubicBezTo>
                        <a:pt x="8" y="61"/>
                        <a:pt x="9" y="65"/>
                        <a:pt x="8" y="68"/>
                      </a:cubicBezTo>
                      <a:cubicBezTo>
                        <a:pt x="6" y="74"/>
                        <a:pt x="11" y="66"/>
                        <a:pt x="14" y="75"/>
                      </a:cubicBezTo>
                      <a:cubicBezTo>
                        <a:pt x="16" y="83"/>
                        <a:pt x="18" y="85"/>
                        <a:pt x="12" y="89"/>
                      </a:cubicBezTo>
                      <a:cubicBezTo>
                        <a:pt x="6" y="94"/>
                        <a:pt x="0" y="95"/>
                        <a:pt x="3" y="102"/>
                      </a:cubicBezTo>
                      <a:cubicBezTo>
                        <a:pt x="6" y="109"/>
                        <a:pt x="10" y="105"/>
                        <a:pt x="10" y="105"/>
                      </a:cubicBezTo>
                      <a:cubicBezTo>
                        <a:pt x="14" y="111"/>
                        <a:pt x="14" y="111"/>
                        <a:pt x="14" y="111"/>
                      </a:cubicBezTo>
                      <a:cubicBezTo>
                        <a:pt x="14" y="111"/>
                        <a:pt x="18" y="107"/>
                        <a:pt x="21" y="111"/>
                      </a:cubicBezTo>
                      <a:cubicBezTo>
                        <a:pt x="24" y="116"/>
                        <a:pt x="24" y="122"/>
                        <a:pt x="24" y="122"/>
                      </a:cubicBezTo>
                      <a:cubicBezTo>
                        <a:pt x="24" y="122"/>
                        <a:pt x="18" y="125"/>
                        <a:pt x="19" y="128"/>
                      </a:cubicBezTo>
                      <a:cubicBezTo>
                        <a:pt x="20" y="131"/>
                        <a:pt x="25" y="132"/>
                        <a:pt x="25" y="132"/>
                      </a:cubicBezTo>
                      <a:cubicBezTo>
                        <a:pt x="25" y="132"/>
                        <a:pt x="22" y="139"/>
                        <a:pt x="24" y="139"/>
                      </a:cubicBezTo>
                      <a:cubicBezTo>
                        <a:pt x="26" y="140"/>
                        <a:pt x="29" y="142"/>
                        <a:pt x="29" y="142"/>
                      </a:cubicBezTo>
                      <a:cubicBezTo>
                        <a:pt x="29" y="142"/>
                        <a:pt x="20" y="148"/>
                        <a:pt x="20" y="153"/>
                      </a:cubicBezTo>
                      <a:cubicBezTo>
                        <a:pt x="21" y="159"/>
                        <a:pt x="30" y="161"/>
                        <a:pt x="30" y="161"/>
                      </a:cubicBezTo>
                      <a:cubicBezTo>
                        <a:pt x="29" y="173"/>
                        <a:pt x="29" y="173"/>
                        <a:pt x="29" y="173"/>
                      </a:cubicBezTo>
                      <a:cubicBezTo>
                        <a:pt x="29" y="173"/>
                        <a:pt x="37" y="167"/>
                        <a:pt x="38" y="173"/>
                      </a:cubicBezTo>
                      <a:cubicBezTo>
                        <a:pt x="40" y="178"/>
                        <a:pt x="36" y="183"/>
                        <a:pt x="36" y="183"/>
                      </a:cubicBezTo>
                      <a:cubicBezTo>
                        <a:pt x="36" y="183"/>
                        <a:pt x="42" y="184"/>
                        <a:pt x="41" y="187"/>
                      </a:cubicBezTo>
                      <a:cubicBezTo>
                        <a:pt x="40" y="189"/>
                        <a:pt x="39" y="192"/>
                        <a:pt x="37" y="195"/>
                      </a:cubicBezTo>
                      <a:cubicBezTo>
                        <a:pt x="50" y="197"/>
                        <a:pt x="50" y="197"/>
                        <a:pt x="50" y="197"/>
                      </a:cubicBezTo>
                      <a:cubicBezTo>
                        <a:pt x="53" y="206"/>
                        <a:pt x="53" y="206"/>
                        <a:pt x="53" y="206"/>
                      </a:cubicBezTo>
                      <a:cubicBezTo>
                        <a:pt x="53" y="206"/>
                        <a:pt x="55" y="203"/>
                        <a:pt x="67" y="207"/>
                      </a:cubicBezTo>
                      <a:cubicBezTo>
                        <a:pt x="79" y="211"/>
                        <a:pt x="77" y="217"/>
                        <a:pt x="80" y="217"/>
                      </a:cubicBezTo>
                      <a:cubicBezTo>
                        <a:pt x="83" y="217"/>
                        <a:pt x="96" y="216"/>
                        <a:pt x="96" y="216"/>
                      </a:cubicBezTo>
                      <a:cubicBezTo>
                        <a:pt x="99" y="221"/>
                        <a:pt x="99" y="221"/>
                        <a:pt x="99" y="221"/>
                      </a:cubicBezTo>
                      <a:cubicBezTo>
                        <a:pt x="92" y="225"/>
                        <a:pt x="92" y="225"/>
                        <a:pt x="92" y="225"/>
                      </a:cubicBezTo>
                      <a:cubicBezTo>
                        <a:pt x="98" y="228"/>
                        <a:pt x="98" y="228"/>
                        <a:pt x="98" y="228"/>
                      </a:cubicBezTo>
                      <a:cubicBezTo>
                        <a:pt x="98" y="228"/>
                        <a:pt x="98" y="234"/>
                        <a:pt x="102" y="236"/>
                      </a:cubicBezTo>
                      <a:cubicBezTo>
                        <a:pt x="106" y="238"/>
                        <a:pt x="117" y="240"/>
                        <a:pt x="117" y="240"/>
                      </a:cubicBezTo>
                      <a:cubicBezTo>
                        <a:pt x="117" y="240"/>
                        <a:pt x="119" y="236"/>
                        <a:pt x="132" y="232"/>
                      </a:cubicBezTo>
                      <a:cubicBezTo>
                        <a:pt x="145" y="228"/>
                        <a:pt x="140" y="235"/>
                        <a:pt x="140" y="235"/>
                      </a:cubicBezTo>
                      <a:cubicBezTo>
                        <a:pt x="140" y="235"/>
                        <a:pt x="140" y="235"/>
                        <a:pt x="148" y="236"/>
                      </a:cubicBezTo>
                      <a:cubicBezTo>
                        <a:pt x="156" y="237"/>
                        <a:pt x="161" y="250"/>
                        <a:pt x="161" y="250"/>
                      </a:cubicBezTo>
                      <a:cubicBezTo>
                        <a:pt x="168" y="244"/>
                        <a:pt x="168" y="244"/>
                        <a:pt x="168" y="244"/>
                      </a:cubicBezTo>
                      <a:cubicBezTo>
                        <a:pt x="168" y="244"/>
                        <a:pt x="172" y="253"/>
                        <a:pt x="176" y="253"/>
                      </a:cubicBezTo>
                      <a:cubicBezTo>
                        <a:pt x="180" y="253"/>
                        <a:pt x="190" y="255"/>
                        <a:pt x="190" y="255"/>
                      </a:cubicBezTo>
                      <a:cubicBezTo>
                        <a:pt x="189" y="260"/>
                        <a:pt x="189" y="260"/>
                        <a:pt x="189" y="260"/>
                      </a:cubicBezTo>
                      <a:cubicBezTo>
                        <a:pt x="196" y="266"/>
                        <a:pt x="196" y="266"/>
                        <a:pt x="196" y="266"/>
                      </a:cubicBezTo>
                      <a:cubicBezTo>
                        <a:pt x="196" y="266"/>
                        <a:pt x="206" y="278"/>
                        <a:pt x="209" y="278"/>
                      </a:cubicBezTo>
                      <a:cubicBezTo>
                        <a:pt x="212" y="278"/>
                        <a:pt x="222" y="270"/>
                        <a:pt x="229" y="272"/>
                      </a:cubicBezTo>
                      <a:cubicBezTo>
                        <a:pt x="236" y="274"/>
                        <a:pt x="237" y="281"/>
                        <a:pt x="237" y="281"/>
                      </a:cubicBezTo>
                      <a:cubicBezTo>
                        <a:pt x="244" y="281"/>
                        <a:pt x="244" y="281"/>
                        <a:pt x="244" y="281"/>
                      </a:cubicBezTo>
                      <a:cubicBezTo>
                        <a:pt x="244" y="281"/>
                        <a:pt x="241" y="288"/>
                        <a:pt x="250" y="288"/>
                      </a:cubicBezTo>
                      <a:cubicBezTo>
                        <a:pt x="259" y="288"/>
                        <a:pt x="258" y="279"/>
                        <a:pt x="258" y="279"/>
                      </a:cubicBezTo>
                      <a:cubicBezTo>
                        <a:pt x="277" y="280"/>
                        <a:pt x="277" y="280"/>
                        <a:pt x="277" y="280"/>
                      </a:cubicBezTo>
                      <a:cubicBezTo>
                        <a:pt x="277" y="280"/>
                        <a:pt x="283" y="284"/>
                        <a:pt x="288" y="28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1" name="Norway">
                  <a:extLst>
                    <a:ext uri="{FF2B5EF4-FFF2-40B4-BE49-F238E27FC236}">
                      <a16:creationId xmlns:a16="http://schemas.microsoft.com/office/drawing/2014/main" id="{D42DA668-C215-05B4-4CEE-AFA5EE8E1E8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778150" y="1793852"/>
                  <a:ext cx="506500" cy="564889"/>
                </a:xfrm>
                <a:custGeom>
                  <a:avLst/>
                  <a:gdLst>
                    <a:gd name="T0" fmla="*/ 453 w 905"/>
                    <a:gd name="T1" fmla="*/ 40 h 1010"/>
                    <a:gd name="T2" fmla="*/ 653 w 905"/>
                    <a:gd name="T3" fmla="*/ 48 h 1010"/>
                    <a:gd name="T4" fmla="*/ 558 w 905"/>
                    <a:gd name="T5" fmla="*/ 4 h 1010"/>
                    <a:gd name="T6" fmla="*/ 429 w 905"/>
                    <a:gd name="T7" fmla="*/ 28 h 1010"/>
                    <a:gd name="T8" fmla="*/ 281 w 905"/>
                    <a:gd name="T9" fmla="*/ 93 h 1010"/>
                    <a:gd name="T10" fmla="*/ 345 w 905"/>
                    <a:gd name="T11" fmla="*/ 111 h 1010"/>
                    <a:gd name="T12" fmla="*/ 432 w 905"/>
                    <a:gd name="T13" fmla="*/ 100 h 1010"/>
                    <a:gd name="T14" fmla="*/ 515 w 905"/>
                    <a:gd name="T15" fmla="*/ 123 h 1010"/>
                    <a:gd name="T16" fmla="*/ 551 w 905"/>
                    <a:gd name="T17" fmla="*/ 82 h 1010"/>
                    <a:gd name="T18" fmla="*/ 453 w 905"/>
                    <a:gd name="T19" fmla="*/ 54 h 1010"/>
                    <a:gd name="T20" fmla="*/ 328 w 905"/>
                    <a:gd name="T21" fmla="*/ 27 h 1010"/>
                    <a:gd name="T22" fmla="*/ 240 w 905"/>
                    <a:gd name="T23" fmla="*/ 24 h 1010"/>
                    <a:gd name="T24" fmla="*/ 417 w 905"/>
                    <a:gd name="T25" fmla="*/ 467 h 1010"/>
                    <a:gd name="T26" fmla="*/ 363 w 905"/>
                    <a:gd name="T27" fmla="*/ 482 h 1010"/>
                    <a:gd name="T28" fmla="*/ 611 w 905"/>
                    <a:gd name="T29" fmla="*/ 404 h 1010"/>
                    <a:gd name="T30" fmla="*/ 320 w 905"/>
                    <a:gd name="T31" fmla="*/ 509 h 1010"/>
                    <a:gd name="T32" fmla="*/ 902 w 905"/>
                    <a:gd name="T33" fmla="*/ 421 h 1010"/>
                    <a:gd name="T34" fmla="*/ 749 w 905"/>
                    <a:gd name="T35" fmla="*/ 425 h 1010"/>
                    <a:gd name="T36" fmla="*/ 683 w 905"/>
                    <a:gd name="T37" fmla="*/ 393 h 1010"/>
                    <a:gd name="T38" fmla="*/ 593 w 905"/>
                    <a:gd name="T39" fmla="*/ 446 h 1010"/>
                    <a:gd name="T40" fmla="*/ 507 w 905"/>
                    <a:gd name="T41" fmla="*/ 444 h 1010"/>
                    <a:gd name="T42" fmla="*/ 494 w 905"/>
                    <a:gd name="T43" fmla="*/ 437 h 1010"/>
                    <a:gd name="T44" fmla="*/ 446 w 905"/>
                    <a:gd name="T45" fmla="*/ 491 h 1010"/>
                    <a:gd name="T46" fmla="*/ 399 w 905"/>
                    <a:gd name="T47" fmla="*/ 505 h 1010"/>
                    <a:gd name="T48" fmla="*/ 360 w 905"/>
                    <a:gd name="T49" fmla="*/ 526 h 1010"/>
                    <a:gd name="T50" fmla="*/ 365 w 905"/>
                    <a:gd name="T51" fmla="*/ 561 h 1010"/>
                    <a:gd name="T52" fmla="*/ 293 w 905"/>
                    <a:gd name="T53" fmla="*/ 606 h 1010"/>
                    <a:gd name="T54" fmla="*/ 266 w 905"/>
                    <a:gd name="T55" fmla="*/ 642 h 1010"/>
                    <a:gd name="T56" fmla="*/ 237 w 905"/>
                    <a:gd name="T57" fmla="*/ 689 h 1010"/>
                    <a:gd name="T58" fmla="*/ 180 w 905"/>
                    <a:gd name="T59" fmla="*/ 715 h 1010"/>
                    <a:gd name="T60" fmla="*/ 118 w 905"/>
                    <a:gd name="T61" fmla="*/ 741 h 1010"/>
                    <a:gd name="T62" fmla="*/ 111 w 905"/>
                    <a:gd name="T63" fmla="*/ 775 h 1010"/>
                    <a:gd name="T64" fmla="*/ 72 w 905"/>
                    <a:gd name="T65" fmla="*/ 808 h 1010"/>
                    <a:gd name="T66" fmla="*/ 20 w 905"/>
                    <a:gd name="T67" fmla="*/ 804 h 1010"/>
                    <a:gd name="T68" fmla="*/ 21 w 905"/>
                    <a:gd name="T69" fmla="*/ 834 h 1010"/>
                    <a:gd name="T70" fmla="*/ 71 w 905"/>
                    <a:gd name="T71" fmla="*/ 854 h 1010"/>
                    <a:gd name="T72" fmla="*/ 0 w 905"/>
                    <a:gd name="T73" fmla="*/ 858 h 1010"/>
                    <a:gd name="T74" fmla="*/ 65 w 905"/>
                    <a:gd name="T75" fmla="*/ 884 h 1010"/>
                    <a:gd name="T76" fmla="*/ 14 w 905"/>
                    <a:gd name="T77" fmla="*/ 926 h 1010"/>
                    <a:gd name="T78" fmla="*/ 36 w 905"/>
                    <a:gd name="T79" fmla="*/ 967 h 1010"/>
                    <a:gd name="T80" fmla="*/ 103 w 905"/>
                    <a:gd name="T81" fmla="*/ 1004 h 1010"/>
                    <a:gd name="T82" fmla="*/ 207 w 905"/>
                    <a:gd name="T83" fmla="*/ 942 h 1010"/>
                    <a:gd name="T84" fmla="*/ 252 w 905"/>
                    <a:gd name="T85" fmla="*/ 911 h 1010"/>
                    <a:gd name="T86" fmla="*/ 268 w 905"/>
                    <a:gd name="T87" fmla="*/ 857 h 1010"/>
                    <a:gd name="T88" fmla="*/ 262 w 905"/>
                    <a:gd name="T89" fmla="*/ 783 h 1010"/>
                    <a:gd name="T90" fmla="*/ 279 w 905"/>
                    <a:gd name="T91" fmla="*/ 724 h 1010"/>
                    <a:gd name="T92" fmla="*/ 348 w 905"/>
                    <a:gd name="T93" fmla="*/ 629 h 1010"/>
                    <a:gd name="T94" fmla="*/ 386 w 905"/>
                    <a:gd name="T95" fmla="*/ 591 h 1010"/>
                    <a:gd name="T96" fmla="*/ 423 w 905"/>
                    <a:gd name="T97" fmla="*/ 529 h 1010"/>
                    <a:gd name="T98" fmla="*/ 508 w 905"/>
                    <a:gd name="T99" fmla="*/ 505 h 1010"/>
                    <a:gd name="T100" fmla="*/ 557 w 905"/>
                    <a:gd name="T101" fmla="*/ 481 h 1010"/>
                    <a:gd name="T102" fmla="*/ 594 w 905"/>
                    <a:gd name="T103" fmla="*/ 480 h 1010"/>
                    <a:gd name="T104" fmla="*/ 677 w 905"/>
                    <a:gd name="T105" fmla="*/ 489 h 1010"/>
                    <a:gd name="T106" fmla="*/ 752 w 905"/>
                    <a:gd name="T107" fmla="*/ 438 h 1010"/>
                    <a:gd name="T108" fmla="*/ 834 w 905"/>
                    <a:gd name="T109" fmla="*/ 469 h 1010"/>
                    <a:gd name="T110" fmla="*/ 891 w 905"/>
                    <a:gd name="T111" fmla="*/ 456 h 1010"/>
                    <a:gd name="T112" fmla="*/ 380 w 905"/>
                    <a:gd name="T113" fmla="*/ 512 h 1010"/>
                    <a:gd name="T114" fmla="*/ 346 w 905"/>
                    <a:gd name="T115" fmla="*/ 483 h 10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905" h="1010">
                      <a:moveTo>
                        <a:pt x="215" y="87"/>
                      </a:moveTo>
                      <a:cubicBezTo>
                        <a:pt x="229" y="97"/>
                        <a:pt x="250" y="93"/>
                        <a:pt x="250" y="93"/>
                      </a:cubicBezTo>
                      <a:cubicBezTo>
                        <a:pt x="228" y="82"/>
                        <a:pt x="228" y="82"/>
                        <a:pt x="228" y="82"/>
                      </a:cubicBezTo>
                      <a:cubicBezTo>
                        <a:pt x="195" y="65"/>
                        <a:pt x="195" y="65"/>
                        <a:pt x="195" y="65"/>
                      </a:cubicBezTo>
                      <a:cubicBezTo>
                        <a:pt x="191" y="78"/>
                        <a:pt x="201" y="78"/>
                        <a:pt x="215" y="87"/>
                      </a:cubicBezTo>
                      <a:close/>
                      <a:moveTo>
                        <a:pt x="453" y="40"/>
                      </a:moveTo>
                      <a:cubicBezTo>
                        <a:pt x="481" y="40"/>
                        <a:pt x="481" y="40"/>
                        <a:pt x="481" y="40"/>
                      </a:cubicBezTo>
                      <a:cubicBezTo>
                        <a:pt x="481" y="40"/>
                        <a:pt x="512" y="51"/>
                        <a:pt x="516" y="49"/>
                      </a:cubicBezTo>
                      <a:cubicBezTo>
                        <a:pt x="520" y="48"/>
                        <a:pt x="542" y="44"/>
                        <a:pt x="547" y="44"/>
                      </a:cubicBezTo>
                      <a:cubicBezTo>
                        <a:pt x="553" y="44"/>
                        <a:pt x="599" y="62"/>
                        <a:pt x="599" y="62"/>
                      </a:cubicBezTo>
                      <a:cubicBezTo>
                        <a:pt x="613" y="47"/>
                        <a:pt x="613" y="47"/>
                        <a:pt x="613" y="47"/>
                      </a:cubicBezTo>
                      <a:cubicBezTo>
                        <a:pt x="653" y="48"/>
                        <a:pt x="653" y="48"/>
                        <a:pt x="653" y="48"/>
                      </a:cubicBezTo>
                      <a:cubicBezTo>
                        <a:pt x="656" y="35"/>
                        <a:pt x="656" y="35"/>
                        <a:pt x="656" y="35"/>
                      </a:cubicBezTo>
                      <a:cubicBezTo>
                        <a:pt x="656" y="35"/>
                        <a:pt x="677" y="42"/>
                        <a:pt x="688" y="21"/>
                      </a:cubicBezTo>
                      <a:cubicBezTo>
                        <a:pt x="699" y="0"/>
                        <a:pt x="653" y="17"/>
                        <a:pt x="653" y="17"/>
                      </a:cubicBezTo>
                      <a:cubicBezTo>
                        <a:pt x="653" y="17"/>
                        <a:pt x="650" y="7"/>
                        <a:pt x="626" y="7"/>
                      </a:cubicBezTo>
                      <a:cubicBezTo>
                        <a:pt x="602" y="7"/>
                        <a:pt x="585" y="19"/>
                        <a:pt x="578" y="17"/>
                      </a:cubicBezTo>
                      <a:cubicBezTo>
                        <a:pt x="571" y="16"/>
                        <a:pt x="577" y="4"/>
                        <a:pt x="558" y="4"/>
                      </a:cubicBezTo>
                      <a:cubicBezTo>
                        <a:pt x="540" y="4"/>
                        <a:pt x="535" y="20"/>
                        <a:pt x="535" y="20"/>
                      </a:cubicBezTo>
                      <a:cubicBezTo>
                        <a:pt x="491" y="4"/>
                        <a:pt x="491" y="4"/>
                        <a:pt x="491" y="4"/>
                      </a:cubicBezTo>
                      <a:cubicBezTo>
                        <a:pt x="491" y="4"/>
                        <a:pt x="470" y="11"/>
                        <a:pt x="447" y="16"/>
                      </a:cubicBezTo>
                      <a:cubicBezTo>
                        <a:pt x="425" y="20"/>
                        <a:pt x="440" y="4"/>
                        <a:pt x="440" y="4"/>
                      </a:cubicBezTo>
                      <a:cubicBezTo>
                        <a:pt x="419" y="14"/>
                        <a:pt x="419" y="14"/>
                        <a:pt x="419" y="14"/>
                      </a:cubicBezTo>
                      <a:cubicBezTo>
                        <a:pt x="429" y="28"/>
                        <a:pt x="429" y="28"/>
                        <a:pt x="429" y="28"/>
                      </a:cubicBezTo>
                      <a:lnTo>
                        <a:pt x="453" y="40"/>
                      </a:lnTo>
                      <a:close/>
                      <a:moveTo>
                        <a:pt x="214" y="49"/>
                      </a:moveTo>
                      <a:cubicBezTo>
                        <a:pt x="221" y="54"/>
                        <a:pt x="236" y="51"/>
                        <a:pt x="239" y="55"/>
                      </a:cubicBezTo>
                      <a:cubicBezTo>
                        <a:pt x="242" y="59"/>
                        <a:pt x="223" y="69"/>
                        <a:pt x="223" y="69"/>
                      </a:cubicBezTo>
                      <a:cubicBezTo>
                        <a:pt x="252" y="80"/>
                        <a:pt x="252" y="80"/>
                        <a:pt x="252" y="80"/>
                      </a:cubicBezTo>
                      <a:cubicBezTo>
                        <a:pt x="252" y="80"/>
                        <a:pt x="267" y="90"/>
                        <a:pt x="281" y="93"/>
                      </a:cubicBezTo>
                      <a:cubicBezTo>
                        <a:pt x="295" y="96"/>
                        <a:pt x="305" y="76"/>
                        <a:pt x="305" y="76"/>
                      </a:cubicBezTo>
                      <a:cubicBezTo>
                        <a:pt x="333" y="71"/>
                        <a:pt x="333" y="71"/>
                        <a:pt x="333" y="71"/>
                      </a:cubicBezTo>
                      <a:cubicBezTo>
                        <a:pt x="356" y="85"/>
                        <a:pt x="356" y="85"/>
                        <a:pt x="356" y="85"/>
                      </a:cubicBezTo>
                      <a:cubicBezTo>
                        <a:pt x="356" y="85"/>
                        <a:pt x="337" y="90"/>
                        <a:pt x="319" y="94"/>
                      </a:cubicBezTo>
                      <a:cubicBezTo>
                        <a:pt x="301" y="99"/>
                        <a:pt x="302" y="106"/>
                        <a:pt x="302" y="106"/>
                      </a:cubicBezTo>
                      <a:cubicBezTo>
                        <a:pt x="302" y="106"/>
                        <a:pt x="352" y="110"/>
                        <a:pt x="345" y="111"/>
                      </a:cubicBezTo>
                      <a:cubicBezTo>
                        <a:pt x="337" y="113"/>
                        <a:pt x="307" y="125"/>
                        <a:pt x="307" y="125"/>
                      </a:cubicBezTo>
                      <a:cubicBezTo>
                        <a:pt x="340" y="137"/>
                        <a:pt x="340" y="137"/>
                        <a:pt x="340" y="137"/>
                      </a:cubicBezTo>
                      <a:cubicBezTo>
                        <a:pt x="340" y="137"/>
                        <a:pt x="370" y="152"/>
                        <a:pt x="395" y="148"/>
                      </a:cubicBezTo>
                      <a:cubicBezTo>
                        <a:pt x="421" y="144"/>
                        <a:pt x="402" y="128"/>
                        <a:pt x="402" y="121"/>
                      </a:cubicBezTo>
                      <a:cubicBezTo>
                        <a:pt x="402" y="114"/>
                        <a:pt x="432" y="114"/>
                        <a:pt x="432" y="114"/>
                      </a:cubicBezTo>
                      <a:cubicBezTo>
                        <a:pt x="432" y="100"/>
                        <a:pt x="432" y="100"/>
                        <a:pt x="432" y="100"/>
                      </a:cubicBezTo>
                      <a:cubicBezTo>
                        <a:pt x="451" y="96"/>
                        <a:pt x="451" y="96"/>
                        <a:pt x="451" y="96"/>
                      </a:cubicBezTo>
                      <a:cubicBezTo>
                        <a:pt x="460" y="75"/>
                        <a:pt x="460" y="75"/>
                        <a:pt x="460" y="75"/>
                      </a:cubicBezTo>
                      <a:cubicBezTo>
                        <a:pt x="473" y="82"/>
                        <a:pt x="473" y="82"/>
                        <a:pt x="473" y="82"/>
                      </a:cubicBezTo>
                      <a:cubicBezTo>
                        <a:pt x="489" y="73"/>
                        <a:pt x="489" y="73"/>
                        <a:pt x="489" y="73"/>
                      </a:cubicBezTo>
                      <a:cubicBezTo>
                        <a:pt x="489" y="73"/>
                        <a:pt x="498" y="87"/>
                        <a:pt x="518" y="92"/>
                      </a:cubicBezTo>
                      <a:cubicBezTo>
                        <a:pt x="537" y="96"/>
                        <a:pt x="515" y="123"/>
                        <a:pt x="515" y="123"/>
                      </a:cubicBezTo>
                      <a:cubicBezTo>
                        <a:pt x="551" y="121"/>
                        <a:pt x="551" y="121"/>
                        <a:pt x="551" y="121"/>
                      </a:cubicBezTo>
                      <a:cubicBezTo>
                        <a:pt x="551" y="121"/>
                        <a:pt x="570" y="137"/>
                        <a:pt x="571" y="132"/>
                      </a:cubicBezTo>
                      <a:cubicBezTo>
                        <a:pt x="572" y="128"/>
                        <a:pt x="623" y="114"/>
                        <a:pt x="627" y="106"/>
                      </a:cubicBezTo>
                      <a:cubicBezTo>
                        <a:pt x="632" y="97"/>
                        <a:pt x="589" y="99"/>
                        <a:pt x="589" y="99"/>
                      </a:cubicBezTo>
                      <a:cubicBezTo>
                        <a:pt x="587" y="87"/>
                        <a:pt x="587" y="87"/>
                        <a:pt x="587" y="87"/>
                      </a:cubicBezTo>
                      <a:cubicBezTo>
                        <a:pt x="551" y="82"/>
                        <a:pt x="551" y="82"/>
                        <a:pt x="551" y="82"/>
                      </a:cubicBezTo>
                      <a:cubicBezTo>
                        <a:pt x="550" y="71"/>
                        <a:pt x="550" y="71"/>
                        <a:pt x="550" y="71"/>
                      </a:cubicBezTo>
                      <a:cubicBezTo>
                        <a:pt x="529" y="73"/>
                        <a:pt x="529" y="73"/>
                        <a:pt x="529" y="73"/>
                      </a:cubicBezTo>
                      <a:cubicBezTo>
                        <a:pt x="532" y="61"/>
                        <a:pt x="532" y="61"/>
                        <a:pt x="532" y="61"/>
                      </a:cubicBezTo>
                      <a:cubicBezTo>
                        <a:pt x="481" y="62"/>
                        <a:pt x="481" y="62"/>
                        <a:pt x="481" y="62"/>
                      </a:cubicBezTo>
                      <a:cubicBezTo>
                        <a:pt x="477" y="54"/>
                        <a:pt x="477" y="54"/>
                        <a:pt x="477" y="54"/>
                      </a:cubicBezTo>
                      <a:cubicBezTo>
                        <a:pt x="453" y="54"/>
                        <a:pt x="453" y="54"/>
                        <a:pt x="453" y="54"/>
                      </a:cubicBezTo>
                      <a:cubicBezTo>
                        <a:pt x="453" y="54"/>
                        <a:pt x="450" y="41"/>
                        <a:pt x="435" y="37"/>
                      </a:cubicBezTo>
                      <a:cubicBezTo>
                        <a:pt x="419" y="33"/>
                        <a:pt x="412" y="38"/>
                        <a:pt x="412" y="38"/>
                      </a:cubicBezTo>
                      <a:cubicBezTo>
                        <a:pt x="415" y="26"/>
                        <a:pt x="415" y="26"/>
                        <a:pt x="415" y="26"/>
                      </a:cubicBezTo>
                      <a:cubicBezTo>
                        <a:pt x="415" y="26"/>
                        <a:pt x="394" y="20"/>
                        <a:pt x="366" y="21"/>
                      </a:cubicBezTo>
                      <a:cubicBezTo>
                        <a:pt x="337" y="23"/>
                        <a:pt x="374" y="55"/>
                        <a:pt x="374" y="55"/>
                      </a:cubicBezTo>
                      <a:cubicBezTo>
                        <a:pt x="374" y="55"/>
                        <a:pt x="343" y="30"/>
                        <a:pt x="328" y="27"/>
                      </a:cubicBezTo>
                      <a:cubicBezTo>
                        <a:pt x="312" y="24"/>
                        <a:pt x="307" y="44"/>
                        <a:pt x="307" y="44"/>
                      </a:cubicBezTo>
                      <a:cubicBezTo>
                        <a:pt x="307" y="44"/>
                        <a:pt x="284" y="40"/>
                        <a:pt x="278" y="37"/>
                      </a:cubicBezTo>
                      <a:cubicBezTo>
                        <a:pt x="273" y="34"/>
                        <a:pt x="291" y="24"/>
                        <a:pt x="291" y="24"/>
                      </a:cubicBezTo>
                      <a:cubicBezTo>
                        <a:pt x="254" y="27"/>
                        <a:pt x="254" y="27"/>
                        <a:pt x="254" y="27"/>
                      </a:cubicBezTo>
                      <a:cubicBezTo>
                        <a:pt x="245" y="35"/>
                        <a:pt x="245" y="35"/>
                        <a:pt x="245" y="35"/>
                      </a:cubicBezTo>
                      <a:cubicBezTo>
                        <a:pt x="240" y="24"/>
                        <a:pt x="240" y="24"/>
                        <a:pt x="240" y="24"/>
                      </a:cubicBezTo>
                      <a:cubicBezTo>
                        <a:pt x="240" y="24"/>
                        <a:pt x="216" y="31"/>
                        <a:pt x="208" y="38"/>
                      </a:cubicBezTo>
                      <a:cubicBezTo>
                        <a:pt x="208" y="38"/>
                        <a:pt x="207" y="45"/>
                        <a:pt x="214" y="49"/>
                      </a:cubicBezTo>
                      <a:close/>
                      <a:moveTo>
                        <a:pt x="425" y="477"/>
                      </a:moveTo>
                      <a:cubicBezTo>
                        <a:pt x="441" y="474"/>
                        <a:pt x="440" y="464"/>
                        <a:pt x="447" y="464"/>
                      </a:cubicBezTo>
                      <a:cubicBezTo>
                        <a:pt x="453" y="464"/>
                        <a:pt x="447" y="453"/>
                        <a:pt x="447" y="453"/>
                      </a:cubicBezTo>
                      <a:cubicBezTo>
                        <a:pt x="417" y="467"/>
                        <a:pt x="417" y="467"/>
                        <a:pt x="417" y="467"/>
                      </a:cubicBezTo>
                      <a:lnTo>
                        <a:pt x="425" y="477"/>
                      </a:lnTo>
                      <a:close/>
                      <a:moveTo>
                        <a:pt x="513" y="437"/>
                      </a:moveTo>
                      <a:cubicBezTo>
                        <a:pt x="522" y="434"/>
                        <a:pt x="535" y="424"/>
                        <a:pt x="517" y="423"/>
                      </a:cubicBezTo>
                      <a:cubicBezTo>
                        <a:pt x="500" y="422"/>
                        <a:pt x="513" y="437"/>
                        <a:pt x="513" y="437"/>
                      </a:cubicBezTo>
                      <a:close/>
                      <a:moveTo>
                        <a:pt x="392" y="470"/>
                      </a:moveTo>
                      <a:cubicBezTo>
                        <a:pt x="373" y="465"/>
                        <a:pt x="363" y="482"/>
                        <a:pt x="363" y="482"/>
                      </a:cubicBezTo>
                      <a:cubicBezTo>
                        <a:pt x="379" y="486"/>
                        <a:pt x="379" y="486"/>
                        <a:pt x="379" y="486"/>
                      </a:cubicBezTo>
                      <a:cubicBezTo>
                        <a:pt x="385" y="482"/>
                        <a:pt x="411" y="474"/>
                        <a:pt x="392" y="470"/>
                      </a:cubicBezTo>
                      <a:close/>
                      <a:moveTo>
                        <a:pt x="610" y="414"/>
                      </a:moveTo>
                      <a:cubicBezTo>
                        <a:pt x="623" y="417"/>
                        <a:pt x="623" y="417"/>
                        <a:pt x="623" y="417"/>
                      </a:cubicBezTo>
                      <a:cubicBezTo>
                        <a:pt x="631" y="408"/>
                        <a:pt x="631" y="402"/>
                        <a:pt x="631" y="402"/>
                      </a:cubicBezTo>
                      <a:cubicBezTo>
                        <a:pt x="611" y="404"/>
                        <a:pt x="611" y="404"/>
                        <a:pt x="611" y="404"/>
                      </a:cubicBezTo>
                      <a:lnTo>
                        <a:pt x="610" y="414"/>
                      </a:lnTo>
                      <a:close/>
                      <a:moveTo>
                        <a:pt x="320" y="509"/>
                      </a:moveTo>
                      <a:cubicBezTo>
                        <a:pt x="304" y="509"/>
                        <a:pt x="279" y="528"/>
                        <a:pt x="285" y="532"/>
                      </a:cubicBezTo>
                      <a:cubicBezTo>
                        <a:pt x="290" y="535"/>
                        <a:pt x="315" y="520"/>
                        <a:pt x="315" y="520"/>
                      </a:cubicBezTo>
                      <a:cubicBezTo>
                        <a:pt x="338" y="516"/>
                        <a:pt x="338" y="516"/>
                        <a:pt x="338" y="516"/>
                      </a:cubicBezTo>
                      <a:cubicBezTo>
                        <a:pt x="335" y="516"/>
                        <a:pt x="336" y="509"/>
                        <a:pt x="320" y="509"/>
                      </a:cubicBezTo>
                      <a:close/>
                      <a:moveTo>
                        <a:pt x="901" y="448"/>
                      </a:moveTo>
                      <a:cubicBezTo>
                        <a:pt x="884" y="451"/>
                        <a:pt x="884" y="451"/>
                        <a:pt x="884" y="451"/>
                      </a:cubicBezTo>
                      <a:cubicBezTo>
                        <a:pt x="856" y="444"/>
                        <a:pt x="856" y="444"/>
                        <a:pt x="856" y="444"/>
                      </a:cubicBezTo>
                      <a:cubicBezTo>
                        <a:pt x="836" y="433"/>
                        <a:pt x="836" y="433"/>
                        <a:pt x="836" y="433"/>
                      </a:cubicBezTo>
                      <a:cubicBezTo>
                        <a:pt x="836" y="433"/>
                        <a:pt x="862" y="437"/>
                        <a:pt x="873" y="432"/>
                      </a:cubicBezTo>
                      <a:cubicBezTo>
                        <a:pt x="884" y="427"/>
                        <a:pt x="902" y="421"/>
                        <a:pt x="902" y="421"/>
                      </a:cubicBezTo>
                      <a:cubicBezTo>
                        <a:pt x="902" y="421"/>
                        <a:pt x="876" y="406"/>
                        <a:pt x="862" y="406"/>
                      </a:cubicBezTo>
                      <a:cubicBezTo>
                        <a:pt x="848" y="406"/>
                        <a:pt x="827" y="395"/>
                        <a:pt x="827" y="395"/>
                      </a:cubicBezTo>
                      <a:cubicBezTo>
                        <a:pt x="827" y="395"/>
                        <a:pt x="819" y="421"/>
                        <a:pt x="803" y="418"/>
                      </a:cubicBezTo>
                      <a:cubicBezTo>
                        <a:pt x="787" y="415"/>
                        <a:pt x="815" y="397"/>
                        <a:pt x="815" y="397"/>
                      </a:cubicBezTo>
                      <a:cubicBezTo>
                        <a:pt x="771" y="382"/>
                        <a:pt x="771" y="382"/>
                        <a:pt x="771" y="382"/>
                      </a:cubicBezTo>
                      <a:cubicBezTo>
                        <a:pt x="771" y="382"/>
                        <a:pt x="763" y="431"/>
                        <a:pt x="749" y="425"/>
                      </a:cubicBezTo>
                      <a:cubicBezTo>
                        <a:pt x="735" y="419"/>
                        <a:pt x="746" y="393"/>
                        <a:pt x="746" y="393"/>
                      </a:cubicBezTo>
                      <a:cubicBezTo>
                        <a:pt x="746" y="393"/>
                        <a:pt x="708" y="437"/>
                        <a:pt x="698" y="430"/>
                      </a:cubicBezTo>
                      <a:cubicBezTo>
                        <a:pt x="688" y="423"/>
                        <a:pt x="734" y="387"/>
                        <a:pt x="734" y="387"/>
                      </a:cubicBezTo>
                      <a:cubicBezTo>
                        <a:pt x="711" y="385"/>
                        <a:pt x="711" y="385"/>
                        <a:pt x="711" y="385"/>
                      </a:cubicBezTo>
                      <a:cubicBezTo>
                        <a:pt x="699" y="395"/>
                        <a:pt x="699" y="395"/>
                        <a:pt x="699" y="395"/>
                      </a:cubicBezTo>
                      <a:cubicBezTo>
                        <a:pt x="683" y="393"/>
                        <a:pt x="683" y="393"/>
                        <a:pt x="683" y="393"/>
                      </a:cubicBezTo>
                      <a:cubicBezTo>
                        <a:pt x="653" y="411"/>
                        <a:pt x="653" y="411"/>
                        <a:pt x="653" y="411"/>
                      </a:cubicBezTo>
                      <a:cubicBezTo>
                        <a:pt x="637" y="412"/>
                        <a:pt x="637" y="412"/>
                        <a:pt x="637" y="412"/>
                      </a:cubicBezTo>
                      <a:cubicBezTo>
                        <a:pt x="635" y="432"/>
                        <a:pt x="635" y="432"/>
                        <a:pt x="635" y="432"/>
                      </a:cubicBezTo>
                      <a:cubicBezTo>
                        <a:pt x="611" y="423"/>
                        <a:pt x="611" y="423"/>
                        <a:pt x="611" y="423"/>
                      </a:cubicBezTo>
                      <a:cubicBezTo>
                        <a:pt x="585" y="428"/>
                        <a:pt x="585" y="428"/>
                        <a:pt x="585" y="428"/>
                      </a:cubicBezTo>
                      <a:cubicBezTo>
                        <a:pt x="593" y="446"/>
                        <a:pt x="593" y="446"/>
                        <a:pt x="593" y="446"/>
                      </a:cubicBezTo>
                      <a:cubicBezTo>
                        <a:pt x="562" y="437"/>
                        <a:pt x="562" y="437"/>
                        <a:pt x="562" y="437"/>
                      </a:cubicBezTo>
                      <a:cubicBezTo>
                        <a:pt x="551" y="443"/>
                        <a:pt x="551" y="443"/>
                        <a:pt x="551" y="443"/>
                      </a:cubicBezTo>
                      <a:cubicBezTo>
                        <a:pt x="554" y="459"/>
                        <a:pt x="554" y="459"/>
                        <a:pt x="554" y="459"/>
                      </a:cubicBezTo>
                      <a:cubicBezTo>
                        <a:pt x="524" y="465"/>
                        <a:pt x="524" y="465"/>
                        <a:pt x="524" y="465"/>
                      </a:cubicBezTo>
                      <a:cubicBezTo>
                        <a:pt x="527" y="444"/>
                        <a:pt x="527" y="444"/>
                        <a:pt x="527" y="444"/>
                      </a:cubicBezTo>
                      <a:cubicBezTo>
                        <a:pt x="507" y="444"/>
                        <a:pt x="507" y="444"/>
                        <a:pt x="507" y="444"/>
                      </a:cubicBezTo>
                      <a:cubicBezTo>
                        <a:pt x="513" y="457"/>
                        <a:pt x="513" y="457"/>
                        <a:pt x="513" y="457"/>
                      </a:cubicBezTo>
                      <a:cubicBezTo>
                        <a:pt x="497" y="447"/>
                        <a:pt x="497" y="447"/>
                        <a:pt x="497" y="447"/>
                      </a:cubicBezTo>
                      <a:cubicBezTo>
                        <a:pt x="499" y="467"/>
                        <a:pt x="499" y="467"/>
                        <a:pt x="499" y="467"/>
                      </a:cubicBezTo>
                      <a:cubicBezTo>
                        <a:pt x="482" y="466"/>
                        <a:pt x="482" y="466"/>
                        <a:pt x="482" y="466"/>
                      </a:cubicBezTo>
                      <a:cubicBezTo>
                        <a:pt x="482" y="466"/>
                        <a:pt x="479" y="453"/>
                        <a:pt x="481" y="450"/>
                      </a:cubicBezTo>
                      <a:cubicBezTo>
                        <a:pt x="483" y="447"/>
                        <a:pt x="494" y="437"/>
                        <a:pt x="494" y="437"/>
                      </a:cubicBezTo>
                      <a:cubicBezTo>
                        <a:pt x="471" y="434"/>
                        <a:pt x="471" y="434"/>
                        <a:pt x="471" y="434"/>
                      </a:cubicBezTo>
                      <a:cubicBezTo>
                        <a:pt x="468" y="463"/>
                        <a:pt x="468" y="463"/>
                        <a:pt x="468" y="463"/>
                      </a:cubicBezTo>
                      <a:cubicBezTo>
                        <a:pt x="450" y="472"/>
                        <a:pt x="450" y="472"/>
                        <a:pt x="450" y="472"/>
                      </a:cubicBezTo>
                      <a:cubicBezTo>
                        <a:pt x="460" y="480"/>
                        <a:pt x="460" y="480"/>
                        <a:pt x="460" y="480"/>
                      </a:cubicBezTo>
                      <a:cubicBezTo>
                        <a:pt x="438" y="483"/>
                        <a:pt x="438" y="483"/>
                        <a:pt x="438" y="483"/>
                      </a:cubicBezTo>
                      <a:cubicBezTo>
                        <a:pt x="446" y="491"/>
                        <a:pt x="446" y="491"/>
                        <a:pt x="446" y="491"/>
                      </a:cubicBezTo>
                      <a:cubicBezTo>
                        <a:pt x="418" y="492"/>
                        <a:pt x="418" y="492"/>
                        <a:pt x="418" y="492"/>
                      </a:cubicBezTo>
                      <a:cubicBezTo>
                        <a:pt x="418" y="500"/>
                        <a:pt x="418" y="500"/>
                        <a:pt x="418" y="500"/>
                      </a:cubicBezTo>
                      <a:cubicBezTo>
                        <a:pt x="439" y="505"/>
                        <a:pt x="439" y="505"/>
                        <a:pt x="439" y="505"/>
                      </a:cubicBezTo>
                      <a:cubicBezTo>
                        <a:pt x="432" y="514"/>
                        <a:pt x="432" y="514"/>
                        <a:pt x="432" y="514"/>
                      </a:cubicBezTo>
                      <a:cubicBezTo>
                        <a:pt x="408" y="504"/>
                        <a:pt x="408" y="504"/>
                        <a:pt x="408" y="504"/>
                      </a:cubicBezTo>
                      <a:cubicBezTo>
                        <a:pt x="399" y="505"/>
                        <a:pt x="399" y="505"/>
                        <a:pt x="399" y="505"/>
                      </a:cubicBezTo>
                      <a:cubicBezTo>
                        <a:pt x="415" y="516"/>
                        <a:pt x="415" y="516"/>
                        <a:pt x="415" y="516"/>
                      </a:cubicBezTo>
                      <a:cubicBezTo>
                        <a:pt x="400" y="527"/>
                        <a:pt x="400" y="527"/>
                        <a:pt x="400" y="527"/>
                      </a:cubicBezTo>
                      <a:cubicBezTo>
                        <a:pt x="392" y="514"/>
                        <a:pt x="392" y="514"/>
                        <a:pt x="392" y="514"/>
                      </a:cubicBezTo>
                      <a:cubicBezTo>
                        <a:pt x="382" y="520"/>
                        <a:pt x="382" y="520"/>
                        <a:pt x="382" y="520"/>
                      </a:cubicBezTo>
                      <a:cubicBezTo>
                        <a:pt x="383" y="525"/>
                        <a:pt x="383" y="525"/>
                        <a:pt x="383" y="525"/>
                      </a:cubicBezTo>
                      <a:cubicBezTo>
                        <a:pt x="360" y="526"/>
                        <a:pt x="360" y="526"/>
                        <a:pt x="360" y="526"/>
                      </a:cubicBezTo>
                      <a:cubicBezTo>
                        <a:pt x="357" y="535"/>
                        <a:pt x="357" y="535"/>
                        <a:pt x="357" y="535"/>
                      </a:cubicBezTo>
                      <a:cubicBezTo>
                        <a:pt x="374" y="544"/>
                        <a:pt x="374" y="544"/>
                        <a:pt x="374" y="544"/>
                      </a:cubicBezTo>
                      <a:cubicBezTo>
                        <a:pt x="372" y="554"/>
                        <a:pt x="372" y="554"/>
                        <a:pt x="372" y="554"/>
                      </a:cubicBezTo>
                      <a:cubicBezTo>
                        <a:pt x="350" y="546"/>
                        <a:pt x="350" y="546"/>
                        <a:pt x="350" y="546"/>
                      </a:cubicBezTo>
                      <a:cubicBezTo>
                        <a:pt x="347" y="556"/>
                        <a:pt x="347" y="556"/>
                        <a:pt x="347" y="556"/>
                      </a:cubicBezTo>
                      <a:cubicBezTo>
                        <a:pt x="365" y="561"/>
                        <a:pt x="365" y="561"/>
                        <a:pt x="365" y="561"/>
                      </a:cubicBezTo>
                      <a:cubicBezTo>
                        <a:pt x="365" y="561"/>
                        <a:pt x="344" y="562"/>
                        <a:pt x="337" y="563"/>
                      </a:cubicBezTo>
                      <a:cubicBezTo>
                        <a:pt x="330" y="564"/>
                        <a:pt x="334" y="574"/>
                        <a:pt x="334" y="574"/>
                      </a:cubicBezTo>
                      <a:cubicBezTo>
                        <a:pt x="334" y="574"/>
                        <a:pt x="321" y="567"/>
                        <a:pt x="313" y="573"/>
                      </a:cubicBezTo>
                      <a:cubicBezTo>
                        <a:pt x="305" y="579"/>
                        <a:pt x="298" y="584"/>
                        <a:pt x="303" y="587"/>
                      </a:cubicBezTo>
                      <a:cubicBezTo>
                        <a:pt x="308" y="590"/>
                        <a:pt x="297" y="596"/>
                        <a:pt x="297" y="596"/>
                      </a:cubicBezTo>
                      <a:cubicBezTo>
                        <a:pt x="297" y="596"/>
                        <a:pt x="290" y="605"/>
                        <a:pt x="293" y="606"/>
                      </a:cubicBezTo>
                      <a:cubicBezTo>
                        <a:pt x="296" y="607"/>
                        <a:pt x="316" y="608"/>
                        <a:pt x="316" y="608"/>
                      </a:cubicBezTo>
                      <a:cubicBezTo>
                        <a:pt x="309" y="616"/>
                        <a:pt x="309" y="616"/>
                        <a:pt x="309" y="616"/>
                      </a:cubicBezTo>
                      <a:cubicBezTo>
                        <a:pt x="286" y="612"/>
                        <a:pt x="286" y="612"/>
                        <a:pt x="286" y="612"/>
                      </a:cubicBezTo>
                      <a:cubicBezTo>
                        <a:pt x="286" y="612"/>
                        <a:pt x="273" y="614"/>
                        <a:pt x="273" y="622"/>
                      </a:cubicBezTo>
                      <a:cubicBezTo>
                        <a:pt x="273" y="630"/>
                        <a:pt x="283" y="636"/>
                        <a:pt x="279" y="639"/>
                      </a:cubicBezTo>
                      <a:cubicBezTo>
                        <a:pt x="275" y="642"/>
                        <a:pt x="271" y="642"/>
                        <a:pt x="266" y="642"/>
                      </a:cubicBezTo>
                      <a:cubicBezTo>
                        <a:pt x="261" y="642"/>
                        <a:pt x="255" y="643"/>
                        <a:pt x="257" y="650"/>
                      </a:cubicBezTo>
                      <a:cubicBezTo>
                        <a:pt x="259" y="657"/>
                        <a:pt x="267" y="661"/>
                        <a:pt x="267" y="661"/>
                      </a:cubicBezTo>
                      <a:cubicBezTo>
                        <a:pt x="267" y="661"/>
                        <a:pt x="273" y="672"/>
                        <a:pt x="266" y="673"/>
                      </a:cubicBezTo>
                      <a:cubicBezTo>
                        <a:pt x="259" y="674"/>
                        <a:pt x="252" y="673"/>
                        <a:pt x="249" y="673"/>
                      </a:cubicBezTo>
                      <a:cubicBezTo>
                        <a:pt x="246" y="673"/>
                        <a:pt x="243" y="674"/>
                        <a:pt x="240" y="678"/>
                      </a:cubicBezTo>
                      <a:cubicBezTo>
                        <a:pt x="237" y="682"/>
                        <a:pt x="237" y="689"/>
                        <a:pt x="237" y="689"/>
                      </a:cubicBezTo>
                      <a:cubicBezTo>
                        <a:pt x="237" y="689"/>
                        <a:pt x="239" y="696"/>
                        <a:pt x="232" y="696"/>
                      </a:cubicBezTo>
                      <a:cubicBezTo>
                        <a:pt x="225" y="696"/>
                        <a:pt x="222" y="689"/>
                        <a:pt x="216" y="690"/>
                      </a:cubicBezTo>
                      <a:cubicBezTo>
                        <a:pt x="210" y="691"/>
                        <a:pt x="212" y="691"/>
                        <a:pt x="207" y="695"/>
                      </a:cubicBezTo>
                      <a:cubicBezTo>
                        <a:pt x="202" y="699"/>
                        <a:pt x="202" y="700"/>
                        <a:pt x="199" y="704"/>
                      </a:cubicBezTo>
                      <a:cubicBezTo>
                        <a:pt x="196" y="708"/>
                        <a:pt x="187" y="708"/>
                        <a:pt x="187" y="708"/>
                      </a:cubicBezTo>
                      <a:cubicBezTo>
                        <a:pt x="187" y="708"/>
                        <a:pt x="183" y="709"/>
                        <a:pt x="180" y="715"/>
                      </a:cubicBezTo>
                      <a:cubicBezTo>
                        <a:pt x="177" y="721"/>
                        <a:pt x="186" y="725"/>
                        <a:pt x="181" y="728"/>
                      </a:cubicBezTo>
                      <a:cubicBezTo>
                        <a:pt x="176" y="731"/>
                        <a:pt x="175" y="733"/>
                        <a:pt x="170" y="733"/>
                      </a:cubicBezTo>
                      <a:cubicBezTo>
                        <a:pt x="165" y="733"/>
                        <a:pt x="156" y="728"/>
                        <a:pt x="153" y="728"/>
                      </a:cubicBezTo>
                      <a:cubicBezTo>
                        <a:pt x="150" y="728"/>
                        <a:pt x="157" y="720"/>
                        <a:pt x="144" y="727"/>
                      </a:cubicBezTo>
                      <a:cubicBezTo>
                        <a:pt x="131" y="734"/>
                        <a:pt x="130" y="735"/>
                        <a:pt x="126" y="734"/>
                      </a:cubicBezTo>
                      <a:cubicBezTo>
                        <a:pt x="122" y="733"/>
                        <a:pt x="117" y="731"/>
                        <a:pt x="118" y="741"/>
                      </a:cubicBezTo>
                      <a:cubicBezTo>
                        <a:pt x="119" y="751"/>
                        <a:pt x="125" y="750"/>
                        <a:pt x="126" y="753"/>
                      </a:cubicBezTo>
                      <a:cubicBezTo>
                        <a:pt x="127" y="756"/>
                        <a:pt x="130" y="764"/>
                        <a:pt x="122" y="760"/>
                      </a:cubicBezTo>
                      <a:cubicBezTo>
                        <a:pt x="114" y="756"/>
                        <a:pt x="113" y="747"/>
                        <a:pt x="108" y="750"/>
                      </a:cubicBezTo>
                      <a:cubicBezTo>
                        <a:pt x="103" y="753"/>
                        <a:pt x="97" y="760"/>
                        <a:pt x="102" y="763"/>
                      </a:cubicBezTo>
                      <a:cubicBezTo>
                        <a:pt x="107" y="766"/>
                        <a:pt x="122" y="762"/>
                        <a:pt x="119" y="768"/>
                      </a:cubicBezTo>
                      <a:cubicBezTo>
                        <a:pt x="116" y="774"/>
                        <a:pt x="126" y="777"/>
                        <a:pt x="111" y="775"/>
                      </a:cubicBezTo>
                      <a:cubicBezTo>
                        <a:pt x="96" y="773"/>
                        <a:pt x="92" y="773"/>
                        <a:pt x="92" y="773"/>
                      </a:cubicBezTo>
                      <a:cubicBezTo>
                        <a:pt x="92" y="773"/>
                        <a:pt x="94" y="767"/>
                        <a:pt x="88" y="772"/>
                      </a:cubicBezTo>
                      <a:cubicBezTo>
                        <a:pt x="82" y="777"/>
                        <a:pt x="84" y="786"/>
                        <a:pt x="84" y="786"/>
                      </a:cubicBezTo>
                      <a:cubicBezTo>
                        <a:pt x="84" y="786"/>
                        <a:pt x="55" y="773"/>
                        <a:pt x="59" y="781"/>
                      </a:cubicBezTo>
                      <a:cubicBezTo>
                        <a:pt x="63" y="789"/>
                        <a:pt x="85" y="794"/>
                        <a:pt x="85" y="794"/>
                      </a:cubicBezTo>
                      <a:cubicBezTo>
                        <a:pt x="72" y="808"/>
                        <a:pt x="72" y="808"/>
                        <a:pt x="72" y="808"/>
                      </a:cubicBezTo>
                      <a:cubicBezTo>
                        <a:pt x="72" y="808"/>
                        <a:pt x="73" y="798"/>
                        <a:pt x="66" y="797"/>
                      </a:cubicBezTo>
                      <a:cubicBezTo>
                        <a:pt x="59" y="796"/>
                        <a:pt x="53" y="804"/>
                        <a:pt x="53" y="804"/>
                      </a:cubicBezTo>
                      <a:cubicBezTo>
                        <a:pt x="40" y="793"/>
                        <a:pt x="40" y="793"/>
                        <a:pt x="40" y="793"/>
                      </a:cubicBezTo>
                      <a:cubicBezTo>
                        <a:pt x="34" y="802"/>
                        <a:pt x="34" y="802"/>
                        <a:pt x="34" y="802"/>
                      </a:cubicBezTo>
                      <a:cubicBezTo>
                        <a:pt x="43" y="805"/>
                        <a:pt x="43" y="805"/>
                        <a:pt x="43" y="805"/>
                      </a:cubicBezTo>
                      <a:cubicBezTo>
                        <a:pt x="20" y="804"/>
                        <a:pt x="20" y="804"/>
                        <a:pt x="20" y="804"/>
                      </a:cubicBezTo>
                      <a:cubicBezTo>
                        <a:pt x="19" y="813"/>
                        <a:pt x="19" y="813"/>
                        <a:pt x="19" y="813"/>
                      </a:cubicBezTo>
                      <a:cubicBezTo>
                        <a:pt x="52" y="815"/>
                        <a:pt x="52" y="815"/>
                        <a:pt x="52" y="815"/>
                      </a:cubicBezTo>
                      <a:cubicBezTo>
                        <a:pt x="35" y="820"/>
                        <a:pt x="35" y="820"/>
                        <a:pt x="35" y="820"/>
                      </a:cubicBezTo>
                      <a:cubicBezTo>
                        <a:pt x="11" y="814"/>
                        <a:pt x="11" y="814"/>
                        <a:pt x="11" y="814"/>
                      </a:cubicBezTo>
                      <a:cubicBezTo>
                        <a:pt x="11" y="814"/>
                        <a:pt x="3" y="821"/>
                        <a:pt x="3" y="827"/>
                      </a:cubicBezTo>
                      <a:cubicBezTo>
                        <a:pt x="3" y="833"/>
                        <a:pt x="21" y="834"/>
                        <a:pt x="21" y="834"/>
                      </a:cubicBezTo>
                      <a:cubicBezTo>
                        <a:pt x="10" y="839"/>
                        <a:pt x="10" y="839"/>
                        <a:pt x="10" y="839"/>
                      </a:cubicBezTo>
                      <a:cubicBezTo>
                        <a:pt x="10" y="839"/>
                        <a:pt x="1" y="846"/>
                        <a:pt x="10" y="847"/>
                      </a:cubicBezTo>
                      <a:cubicBezTo>
                        <a:pt x="19" y="848"/>
                        <a:pt x="42" y="848"/>
                        <a:pt x="42" y="848"/>
                      </a:cubicBezTo>
                      <a:cubicBezTo>
                        <a:pt x="52" y="854"/>
                        <a:pt x="52" y="854"/>
                        <a:pt x="52" y="854"/>
                      </a:cubicBezTo>
                      <a:cubicBezTo>
                        <a:pt x="63" y="846"/>
                        <a:pt x="63" y="846"/>
                        <a:pt x="63" y="846"/>
                      </a:cubicBezTo>
                      <a:cubicBezTo>
                        <a:pt x="71" y="854"/>
                        <a:pt x="71" y="854"/>
                        <a:pt x="71" y="854"/>
                      </a:cubicBezTo>
                      <a:cubicBezTo>
                        <a:pt x="89" y="845"/>
                        <a:pt x="89" y="845"/>
                        <a:pt x="89" y="845"/>
                      </a:cubicBezTo>
                      <a:cubicBezTo>
                        <a:pt x="89" y="845"/>
                        <a:pt x="86" y="858"/>
                        <a:pt x="80" y="858"/>
                      </a:cubicBezTo>
                      <a:cubicBezTo>
                        <a:pt x="74" y="858"/>
                        <a:pt x="62" y="857"/>
                        <a:pt x="62" y="857"/>
                      </a:cubicBezTo>
                      <a:cubicBezTo>
                        <a:pt x="44" y="858"/>
                        <a:pt x="44" y="858"/>
                        <a:pt x="44" y="858"/>
                      </a:cubicBezTo>
                      <a:cubicBezTo>
                        <a:pt x="44" y="858"/>
                        <a:pt x="28" y="856"/>
                        <a:pt x="25" y="856"/>
                      </a:cubicBezTo>
                      <a:cubicBezTo>
                        <a:pt x="22" y="856"/>
                        <a:pt x="0" y="858"/>
                        <a:pt x="0" y="858"/>
                      </a:cubicBezTo>
                      <a:cubicBezTo>
                        <a:pt x="0" y="858"/>
                        <a:pt x="2" y="870"/>
                        <a:pt x="7" y="872"/>
                      </a:cubicBezTo>
                      <a:cubicBezTo>
                        <a:pt x="12" y="874"/>
                        <a:pt x="20" y="874"/>
                        <a:pt x="20" y="874"/>
                      </a:cubicBezTo>
                      <a:cubicBezTo>
                        <a:pt x="20" y="874"/>
                        <a:pt x="7" y="884"/>
                        <a:pt x="13" y="891"/>
                      </a:cubicBezTo>
                      <a:cubicBezTo>
                        <a:pt x="19" y="898"/>
                        <a:pt x="29" y="899"/>
                        <a:pt x="29" y="899"/>
                      </a:cubicBezTo>
                      <a:cubicBezTo>
                        <a:pt x="47" y="888"/>
                        <a:pt x="47" y="888"/>
                        <a:pt x="47" y="888"/>
                      </a:cubicBezTo>
                      <a:cubicBezTo>
                        <a:pt x="65" y="884"/>
                        <a:pt x="65" y="884"/>
                        <a:pt x="65" y="884"/>
                      </a:cubicBezTo>
                      <a:cubicBezTo>
                        <a:pt x="59" y="898"/>
                        <a:pt x="59" y="898"/>
                        <a:pt x="59" y="898"/>
                      </a:cubicBezTo>
                      <a:cubicBezTo>
                        <a:pt x="49" y="895"/>
                        <a:pt x="49" y="895"/>
                        <a:pt x="49" y="895"/>
                      </a:cubicBezTo>
                      <a:cubicBezTo>
                        <a:pt x="43" y="907"/>
                        <a:pt x="43" y="907"/>
                        <a:pt x="43" y="907"/>
                      </a:cubicBezTo>
                      <a:cubicBezTo>
                        <a:pt x="43" y="907"/>
                        <a:pt x="13" y="901"/>
                        <a:pt x="17" y="908"/>
                      </a:cubicBezTo>
                      <a:cubicBezTo>
                        <a:pt x="21" y="915"/>
                        <a:pt x="30" y="918"/>
                        <a:pt x="30" y="918"/>
                      </a:cubicBezTo>
                      <a:cubicBezTo>
                        <a:pt x="14" y="926"/>
                        <a:pt x="14" y="926"/>
                        <a:pt x="14" y="926"/>
                      </a:cubicBezTo>
                      <a:cubicBezTo>
                        <a:pt x="2" y="926"/>
                        <a:pt x="2" y="926"/>
                        <a:pt x="2" y="926"/>
                      </a:cubicBezTo>
                      <a:cubicBezTo>
                        <a:pt x="2" y="926"/>
                        <a:pt x="4" y="938"/>
                        <a:pt x="7" y="938"/>
                      </a:cubicBezTo>
                      <a:cubicBezTo>
                        <a:pt x="10" y="938"/>
                        <a:pt x="42" y="939"/>
                        <a:pt x="42" y="939"/>
                      </a:cubicBezTo>
                      <a:cubicBezTo>
                        <a:pt x="33" y="953"/>
                        <a:pt x="33" y="953"/>
                        <a:pt x="33" y="953"/>
                      </a:cubicBezTo>
                      <a:cubicBezTo>
                        <a:pt x="41" y="955"/>
                        <a:pt x="41" y="955"/>
                        <a:pt x="41" y="955"/>
                      </a:cubicBezTo>
                      <a:cubicBezTo>
                        <a:pt x="36" y="967"/>
                        <a:pt x="36" y="967"/>
                        <a:pt x="36" y="967"/>
                      </a:cubicBezTo>
                      <a:cubicBezTo>
                        <a:pt x="36" y="967"/>
                        <a:pt x="10" y="954"/>
                        <a:pt x="11" y="962"/>
                      </a:cubicBezTo>
                      <a:cubicBezTo>
                        <a:pt x="12" y="970"/>
                        <a:pt x="23" y="981"/>
                        <a:pt x="23" y="981"/>
                      </a:cubicBezTo>
                      <a:cubicBezTo>
                        <a:pt x="55" y="995"/>
                        <a:pt x="55" y="995"/>
                        <a:pt x="55" y="995"/>
                      </a:cubicBezTo>
                      <a:cubicBezTo>
                        <a:pt x="55" y="995"/>
                        <a:pt x="48" y="1000"/>
                        <a:pt x="55" y="1003"/>
                      </a:cubicBezTo>
                      <a:cubicBezTo>
                        <a:pt x="62" y="1006"/>
                        <a:pt x="83" y="1001"/>
                        <a:pt x="83" y="1001"/>
                      </a:cubicBezTo>
                      <a:cubicBezTo>
                        <a:pt x="83" y="1001"/>
                        <a:pt x="86" y="1010"/>
                        <a:pt x="103" y="1004"/>
                      </a:cubicBezTo>
                      <a:cubicBezTo>
                        <a:pt x="120" y="998"/>
                        <a:pt x="148" y="973"/>
                        <a:pt x="148" y="973"/>
                      </a:cubicBezTo>
                      <a:cubicBezTo>
                        <a:pt x="172" y="954"/>
                        <a:pt x="172" y="954"/>
                        <a:pt x="172" y="954"/>
                      </a:cubicBezTo>
                      <a:cubicBezTo>
                        <a:pt x="172" y="954"/>
                        <a:pt x="183" y="959"/>
                        <a:pt x="193" y="950"/>
                      </a:cubicBezTo>
                      <a:cubicBezTo>
                        <a:pt x="203" y="941"/>
                        <a:pt x="193" y="922"/>
                        <a:pt x="193" y="922"/>
                      </a:cubicBezTo>
                      <a:cubicBezTo>
                        <a:pt x="205" y="920"/>
                        <a:pt x="205" y="920"/>
                        <a:pt x="205" y="920"/>
                      </a:cubicBezTo>
                      <a:cubicBezTo>
                        <a:pt x="205" y="920"/>
                        <a:pt x="192" y="937"/>
                        <a:pt x="207" y="942"/>
                      </a:cubicBezTo>
                      <a:cubicBezTo>
                        <a:pt x="222" y="947"/>
                        <a:pt x="233" y="949"/>
                        <a:pt x="233" y="949"/>
                      </a:cubicBezTo>
                      <a:cubicBezTo>
                        <a:pt x="247" y="962"/>
                        <a:pt x="247" y="962"/>
                        <a:pt x="247" y="962"/>
                      </a:cubicBezTo>
                      <a:cubicBezTo>
                        <a:pt x="247" y="962"/>
                        <a:pt x="253" y="951"/>
                        <a:pt x="255" y="946"/>
                      </a:cubicBezTo>
                      <a:cubicBezTo>
                        <a:pt x="257" y="941"/>
                        <a:pt x="251" y="940"/>
                        <a:pt x="248" y="932"/>
                      </a:cubicBezTo>
                      <a:cubicBezTo>
                        <a:pt x="245" y="924"/>
                        <a:pt x="254" y="921"/>
                        <a:pt x="254" y="921"/>
                      </a:cubicBezTo>
                      <a:cubicBezTo>
                        <a:pt x="254" y="921"/>
                        <a:pt x="254" y="917"/>
                        <a:pt x="252" y="911"/>
                      </a:cubicBezTo>
                      <a:cubicBezTo>
                        <a:pt x="250" y="905"/>
                        <a:pt x="264" y="911"/>
                        <a:pt x="269" y="911"/>
                      </a:cubicBezTo>
                      <a:cubicBezTo>
                        <a:pt x="274" y="911"/>
                        <a:pt x="277" y="906"/>
                        <a:pt x="277" y="906"/>
                      </a:cubicBezTo>
                      <a:cubicBezTo>
                        <a:pt x="277" y="889"/>
                        <a:pt x="277" y="889"/>
                        <a:pt x="277" y="889"/>
                      </a:cubicBezTo>
                      <a:cubicBezTo>
                        <a:pt x="284" y="889"/>
                        <a:pt x="284" y="889"/>
                        <a:pt x="284" y="889"/>
                      </a:cubicBezTo>
                      <a:cubicBezTo>
                        <a:pt x="284" y="889"/>
                        <a:pt x="280" y="880"/>
                        <a:pt x="277" y="877"/>
                      </a:cubicBezTo>
                      <a:cubicBezTo>
                        <a:pt x="274" y="874"/>
                        <a:pt x="268" y="857"/>
                        <a:pt x="268" y="857"/>
                      </a:cubicBezTo>
                      <a:cubicBezTo>
                        <a:pt x="283" y="854"/>
                        <a:pt x="283" y="854"/>
                        <a:pt x="283" y="854"/>
                      </a:cubicBezTo>
                      <a:cubicBezTo>
                        <a:pt x="283" y="854"/>
                        <a:pt x="290" y="848"/>
                        <a:pt x="292" y="841"/>
                      </a:cubicBezTo>
                      <a:cubicBezTo>
                        <a:pt x="294" y="834"/>
                        <a:pt x="275" y="828"/>
                        <a:pt x="275" y="828"/>
                      </a:cubicBezTo>
                      <a:cubicBezTo>
                        <a:pt x="275" y="828"/>
                        <a:pt x="267" y="821"/>
                        <a:pt x="266" y="814"/>
                      </a:cubicBezTo>
                      <a:cubicBezTo>
                        <a:pt x="265" y="807"/>
                        <a:pt x="271" y="800"/>
                        <a:pt x="272" y="795"/>
                      </a:cubicBezTo>
                      <a:cubicBezTo>
                        <a:pt x="273" y="790"/>
                        <a:pt x="262" y="783"/>
                        <a:pt x="262" y="783"/>
                      </a:cubicBezTo>
                      <a:cubicBezTo>
                        <a:pt x="262" y="783"/>
                        <a:pt x="256" y="775"/>
                        <a:pt x="254" y="770"/>
                      </a:cubicBezTo>
                      <a:cubicBezTo>
                        <a:pt x="252" y="765"/>
                        <a:pt x="261" y="763"/>
                        <a:pt x="267" y="757"/>
                      </a:cubicBezTo>
                      <a:cubicBezTo>
                        <a:pt x="273" y="751"/>
                        <a:pt x="255" y="751"/>
                        <a:pt x="255" y="748"/>
                      </a:cubicBezTo>
                      <a:cubicBezTo>
                        <a:pt x="255" y="745"/>
                        <a:pt x="261" y="740"/>
                        <a:pt x="261" y="740"/>
                      </a:cubicBezTo>
                      <a:cubicBezTo>
                        <a:pt x="266" y="734"/>
                        <a:pt x="266" y="734"/>
                        <a:pt x="266" y="734"/>
                      </a:cubicBezTo>
                      <a:cubicBezTo>
                        <a:pt x="266" y="734"/>
                        <a:pt x="272" y="729"/>
                        <a:pt x="279" y="724"/>
                      </a:cubicBezTo>
                      <a:cubicBezTo>
                        <a:pt x="286" y="719"/>
                        <a:pt x="301" y="707"/>
                        <a:pt x="301" y="707"/>
                      </a:cubicBezTo>
                      <a:cubicBezTo>
                        <a:pt x="301" y="707"/>
                        <a:pt x="328" y="712"/>
                        <a:pt x="332" y="703"/>
                      </a:cubicBezTo>
                      <a:cubicBezTo>
                        <a:pt x="336" y="694"/>
                        <a:pt x="315" y="684"/>
                        <a:pt x="315" y="684"/>
                      </a:cubicBezTo>
                      <a:cubicBezTo>
                        <a:pt x="315" y="684"/>
                        <a:pt x="324" y="678"/>
                        <a:pt x="329" y="674"/>
                      </a:cubicBezTo>
                      <a:cubicBezTo>
                        <a:pt x="334" y="670"/>
                        <a:pt x="344" y="658"/>
                        <a:pt x="344" y="658"/>
                      </a:cubicBezTo>
                      <a:cubicBezTo>
                        <a:pt x="348" y="629"/>
                        <a:pt x="348" y="629"/>
                        <a:pt x="348" y="629"/>
                      </a:cubicBezTo>
                      <a:cubicBezTo>
                        <a:pt x="351" y="624"/>
                        <a:pt x="351" y="624"/>
                        <a:pt x="351" y="624"/>
                      </a:cubicBezTo>
                      <a:cubicBezTo>
                        <a:pt x="349" y="608"/>
                        <a:pt x="349" y="608"/>
                        <a:pt x="349" y="608"/>
                      </a:cubicBezTo>
                      <a:cubicBezTo>
                        <a:pt x="363" y="615"/>
                        <a:pt x="363" y="615"/>
                        <a:pt x="363" y="615"/>
                      </a:cubicBezTo>
                      <a:cubicBezTo>
                        <a:pt x="363" y="615"/>
                        <a:pt x="372" y="610"/>
                        <a:pt x="379" y="608"/>
                      </a:cubicBezTo>
                      <a:cubicBezTo>
                        <a:pt x="386" y="606"/>
                        <a:pt x="372" y="592"/>
                        <a:pt x="372" y="592"/>
                      </a:cubicBezTo>
                      <a:cubicBezTo>
                        <a:pt x="386" y="591"/>
                        <a:pt x="386" y="591"/>
                        <a:pt x="386" y="591"/>
                      </a:cubicBezTo>
                      <a:cubicBezTo>
                        <a:pt x="386" y="591"/>
                        <a:pt x="388" y="584"/>
                        <a:pt x="394" y="579"/>
                      </a:cubicBezTo>
                      <a:cubicBezTo>
                        <a:pt x="400" y="574"/>
                        <a:pt x="405" y="573"/>
                        <a:pt x="405" y="573"/>
                      </a:cubicBezTo>
                      <a:cubicBezTo>
                        <a:pt x="410" y="563"/>
                        <a:pt x="410" y="563"/>
                        <a:pt x="410" y="563"/>
                      </a:cubicBezTo>
                      <a:cubicBezTo>
                        <a:pt x="410" y="563"/>
                        <a:pt x="399" y="555"/>
                        <a:pt x="398" y="551"/>
                      </a:cubicBezTo>
                      <a:cubicBezTo>
                        <a:pt x="397" y="547"/>
                        <a:pt x="414" y="539"/>
                        <a:pt x="414" y="539"/>
                      </a:cubicBezTo>
                      <a:cubicBezTo>
                        <a:pt x="423" y="529"/>
                        <a:pt x="423" y="529"/>
                        <a:pt x="423" y="529"/>
                      </a:cubicBezTo>
                      <a:cubicBezTo>
                        <a:pt x="449" y="525"/>
                        <a:pt x="449" y="525"/>
                        <a:pt x="449" y="525"/>
                      </a:cubicBezTo>
                      <a:cubicBezTo>
                        <a:pt x="449" y="525"/>
                        <a:pt x="464" y="525"/>
                        <a:pt x="467" y="520"/>
                      </a:cubicBezTo>
                      <a:cubicBezTo>
                        <a:pt x="470" y="515"/>
                        <a:pt x="460" y="504"/>
                        <a:pt x="468" y="498"/>
                      </a:cubicBezTo>
                      <a:cubicBezTo>
                        <a:pt x="476" y="492"/>
                        <a:pt x="476" y="505"/>
                        <a:pt x="476" y="505"/>
                      </a:cubicBezTo>
                      <a:cubicBezTo>
                        <a:pt x="495" y="501"/>
                        <a:pt x="495" y="501"/>
                        <a:pt x="495" y="501"/>
                      </a:cubicBezTo>
                      <a:cubicBezTo>
                        <a:pt x="508" y="505"/>
                        <a:pt x="508" y="505"/>
                        <a:pt x="508" y="505"/>
                      </a:cubicBezTo>
                      <a:cubicBezTo>
                        <a:pt x="517" y="505"/>
                        <a:pt x="517" y="505"/>
                        <a:pt x="517" y="505"/>
                      </a:cubicBezTo>
                      <a:cubicBezTo>
                        <a:pt x="517" y="505"/>
                        <a:pt x="528" y="511"/>
                        <a:pt x="536" y="509"/>
                      </a:cubicBezTo>
                      <a:cubicBezTo>
                        <a:pt x="544" y="507"/>
                        <a:pt x="531" y="501"/>
                        <a:pt x="531" y="496"/>
                      </a:cubicBezTo>
                      <a:cubicBezTo>
                        <a:pt x="531" y="491"/>
                        <a:pt x="538" y="494"/>
                        <a:pt x="538" y="494"/>
                      </a:cubicBezTo>
                      <a:cubicBezTo>
                        <a:pt x="537" y="480"/>
                        <a:pt x="537" y="480"/>
                        <a:pt x="537" y="480"/>
                      </a:cubicBezTo>
                      <a:cubicBezTo>
                        <a:pt x="557" y="481"/>
                        <a:pt x="557" y="481"/>
                        <a:pt x="557" y="481"/>
                      </a:cubicBezTo>
                      <a:cubicBezTo>
                        <a:pt x="555" y="479"/>
                        <a:pt x="554" y="478"/>
                        <a:pt x="554" y="478"/>
                      </a:cubicBezTo>
                      <a:cubicBezTo>
                        <a:pt x="556" y="473"/>
                        <a:pt x="556" y="473"/>
                        <a:pt x="556" y="473"/>
                      </a:cubicBezTo>
                      <a:cubicBezTo>
                        <a:pt x="568" y="478"/>
                        <a:pt x="568" y="478"/>
                        <a:pt x="568" y="478"/>
                      </a:cubicBezTo>
                      <a:cubicBezTo>
                        <a:pt x="570" y="469"/>
                        <a:pt x="570" y="469"/>
                        <a:pt x="570" y="469"/>
                      </a:cubicBezTo>
                      <a:cubicBezTo>
                        <a:pt x="570" y="469"/>
                        <a:pt x="577" y="466"/>
                        <a:pt x="581" y="466"/>
                      </a:cubicBezTo>
                      <a:cubicBezTo>
                        <a:pt x="585" y="466"/>
                        <a:pt x="594" y="480"/>
                        <a:pt x="594" y="480"/>
                      </a:cubicBezTo>
                      <a:cubicBezTo>
                        <a:pt x="603" y="481"/>
                        <a:pt x="603" y="481"/>
                        <a:pt x="603" y="481"/>
                      </a:cubicBezTo>
                      <a:cubicBezTo>
                        <a:pt x="603" y="481"/>
                        <a:pt x="604" y="491"/>
                        <a:pt x="618" y="492"/>
                      </a:cubicBezTo>
                      <a:cubicBezTo>
                        <a:pt x="632" y="493"/>
                        <a:pt x="632" y="494"/>
                        <a:pt x="632" y="494"/>
                      </a:cubicBezTo>
                      <a:cubicBezTo>
                        <a:pt x="632" y="494"/>
                        <a:pt x="632" y="494"/>
                        <a:pt x="642" y="497"/>
                      </a:cubicBezTo>
                      <a:cubicBezTo>
                        <a:pt x="652" y="500"/>
                        <a:pt x="661" y="492"/>
                        <a:pt x="661" y="492"/>
                      </a:cubicBezTo>
                      <a:cubicBezTo>
                        <a:pt x="661" y="492"/>
                        <a:pt x="672" y="488"/>
                        <a:pt x="677" y="489"/>
                      </a:cubicBezTo>
                      <a:cubicBezTo>
                        <a:pt x="682" y="490"/>
                        <a:pt x="694" y="498"/>
                        <a:pt x="702" y="498"/>
                      </a:cubicBezTo>
                      <a:cubicBezTo>
                        <a:pt x="710" y="498"/>
                        <a:pt x="704" y="488"/>
                        <a:pt x="711" y="483"/>
                      </a:cubicBezTo>
                      <a:cubicBezTo>
                        <a:pt x="718" y="478"/>
                        <a:pt x="727" y="483"/>
                        <a:pt x="727" y="483"/>
                      </a:cubicBezTo>
                      <a:cubicBezTo>
                        <a:pt x="727" y="483"/>
                        <a:pt x="728" y="467"/>
                        <a:pt x="727" y="463"/>
                      </a:cubicBezTo>
                      <a:cubicBezTo>
                        <a:pt x="726" y="459"/>
                        <a:pt x="730" y="446"/>
                        <a:pt x="730" y="446"/>
                      </a:cubicBezTo>
                      <a:cubicBezTo>
                        <a:pt x="730" y="446"/>
                        <a:pt x="747" y="437"/>
                        <a:pt x="752" y="438"/>
                      </a:cubicBezTo>
                      <a:cubicBezTo>
                        <a:pt x="757" y="439"/>
                        <a:pt x="768" y="440"/>
                        <a:pt x="768" y="440"/>
                      </a:cubicBezTo>
                      <a:cubicBezTo>
                        <a:pt x="768" y="440"/>
                        <a:pt x="779" y="433"/>
                        <a:pt x="794" y="434"/>
                      </a:cubicBezTo>
                      <a:cubicBezTo>
                        <a:pt x="809" y="435"/>
                        <a:pt x="802" y="441"/>
                        <a:pt x="802" y="441"/>
                      </a:cubicBezTo>
                      <a:cubicBezTo>
                        <a:pt x="825" y="446"/>
                        <a:pt x="825" y="446"/>
                        <a:pt x="825" y="446"/>
                      </a:cubicBezTo>
                      <a:cubicBezTo>
                        <a:pt x="825" y="446"/>
                        <a:pt x="839" y="447"/>
                        <a:pt x="843" y="464"/>
                      </a:cubicBezTo>
                      <a:cubicBezTo>
                        <a:pt x="847" y="481"/>
                        <a:pt x="834" y="469"/>
                        <a:pt x="834" y="469"/>
                      </a:cubicBezTo>
                      <a:cubicBezTo>
                        <a:pt x="832" y="477"/>
                        <a:pt x="832" y="477"/>
                        <a:pt x="832" y="477"/>
                      </a:cubicBezTo>
                      <a:cubicBezTo>
                        <a:pt x="836" y="479"/>
                        <a:pt x="840" y="480"/>
                        <a:pt x="845" y="480"/>
                      </a:cubicBezTo>
                      <a:cubicBezTo>
                        <a:pt x="854" y="479"/>
                        <a:pt x="855" y="465"/>
                        <a:pt x="855" y="465"/>
                      </a:cubicBezTo>
                      <a:cubicBezTo>
                        <a:pt x="870" y="464"/>
                        <a:pt x="870" y="464"/>
                        <a:pt x="870" y="464"/>
                      </a:cubicBezTo>
                      <a:cubicBezTo>
                        <a:pt x="874" y="456"/>
                        <a:pt x="874" y="456"/>
                        <a:pt x="874" y="456"/>
                      </a:cubicBezTo>
                      <a:cubicBezTo>
                        <a:pt x="874" y="456"/>
                        <a:pt x="873" y="459"/>
                        <a:pt x="891" y="456"/>
                      </a:cubicBezTo>
                      <a:cubicBezTo>
                        <a:pt x="899" y="455"/>
                        <a:pt x="903" y="451"/>
                        <a:pt x="905" y="448"/>
                      </a:cubicBezTo>
                      <a:lnTo>
                        <a:pt x="901" y="448"/>
                      </a:lnTo>
                      <a:close/>
                      <a:moveTo>
                        <a:pt x="372" y="489"/>
                      </a:moveTo>
                      <a:cubicBezTo>
                        <a:pt x="357" y="498"/>
                        <a:pt x="357" y="498"/>
                        <a:pt x="357" y="498"/>
                      </a:cubicBezTo>
                      <a:cubicBezTo>
                        <a:pt x="362" y="511"/>
                        <a:pt x="362" y="511"/>
                        <a:pt x="362" y="511"/>
                      </a:cubicBezTo>
                      <a:cubicBezTo>
                        <a:pt x="380" y="512"/>
                        <a:pt x="380" y="512"/>
                        <a:pt x="380" y="512"/>
                      </a:cubicBezTo>
                      <a:cubicBezTo>
                        <a:pt x="376" y="499"/>
                        <a:pt x="376" y="499"/>
                        <a:pt x="376" y="499"/>
                      </a:cubicBezTo>
                      <a:lnTo>
                        <a:pt x="372" y="489"/>
                      </a:lnTo>
                      <a:close/>
                      <a:moveTo>
                        <a:pt x="346" y="483"/>
                      </a:moveTo>
                      <a:cubicBezTo>
                        <a:pt x="335" y="487"/>
                        <a:pt x="339" y="504"/>
                        <a:pt x="339" y="504"/>
                      </a:cubicBezTo>
                      <a:cubicBezTo>
                        <a:pt x="351" y="516"/>
                        <a:pt x="351" y="516"/>
                        <a:pt x="351" y="516"/>
                      </a:cubicBezTo>
                      <a:cubicBezTo>
                        <a:pt x="351" y="516"/>
                        <a:pt x="357" y="479"/>
                        <a:pt x="346" y="483"/>
                      </a:cubicBezTo>
                      <a:close/>
                      <a:moveTo>
                        <a:pt x="403" y="498"/>
                      </a:moveTo>
                      <a:cubicBezTo>
                        <a:pt x="412" y="493"/>
                        <a:pt x="427" y="490"/>
                        <a:pt x="408" y="486"/>
                      </a:cubicBezTo>
                      <a:cubicBezTo>
                        <a:pt x="389" y="483"/>
                        <a:pt x="380" y="494"/>
                        <a:pt x="380" y="494"/>
                      </a:cubicBezTo>
                      <a:cubicBezTo>
                        <a:pt x="386" y="501"/>
                        <a:pt x="386" y="501"/>
                        <a:pt x="386" y="501"/>
                      </a:cubicBezTo>
                      <a:lnTo>
                        <a:pt x="403" y="498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2" name="Netherlands">
                  <a:extLst>
                    <a:ext uri="{FF2B5EF4-FFF2-40B4-BE49-F238E27FC236}">
                      <a16:creationId xmlns:a16="http://schemas.microsoft.com/office/drawing/2014/main" id="{8CD7B380-1A08-C95E-2955-DB7A30FFEAC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17815" y="2485683"/>
                  <a:ext cx="101618" cy="80926"/>
                </a:xfrm>
                <a:custGeom>
                  <a:avLst/>
                  <a:gdLst>
                    <a:gd name="T0" fmla="*/ 14 w 182"/>
                    <a:gd name="T1" fmla="*/ 104 h 145"/>
                    <a:gd name="T2" fmla="*/ 0 w 182"/>
                    <a:gd name="T3" fmla="*/ 116 h 145"/>
                    <a:gd name="T4" fmla="*/ 0 w 182"/>
                    <a:gd name="T5" fmla="*/ 116 h 145"/>
                    <a:gd name="T6" fmla="*/ 9 w 182"/>
                    <a:gd name="T7" fmla="*/ 108 h 145"/>
                    <a:gd name="T8" fmla="*/ 10 w 182"/>
                    <a:gd name="T9" fmla="*/ 110 h 145"/>
                    <a:gd name="T10" fmla="*/ 18 w 182"/>
                    <a:gd name="T11" fmla="*/ 108 h 145"/>
                    <a:gd name="T12" fmla="*/ 22 w 182"/>
                    <a:gd name="T13" fmla="*/ 114 h 145"/>
                    <a:gd name="T14" fmla="*/ 34 w 182"/>
                    <a:gd name="T15" fmla="*/ 112 h 145"/>
                    <a:gd name="T16" fmla="*/ 43 w 182"/>
                    <a:gd name="T17" fmla="*/ 117 h 145"/>
                    <a:gd name="T18" fmla="*/ 46 w 182"/>
                    <a:gd name="T19" fmla="*/ 110 h 145"/>
                    <a:gd name="T20" fmla="*/ 56 w 182"/>
                    <a:gd name="T21" fmla="*/ 112 h 145"/>
                    <a:gd name="T22" fmla="*/ 56 w 182"/>
                    <a:gd name="T23" fmla="*/ 106 h 145"/>
                    <a:gd name="T24" fmla="*/ 65 w 182"/>
                    <a:gd name="T25" fmla="*/ 108 h 145"/>
                    <a:gd name="T26" fmla="*/ 71 w 182"/>
                    <a:gd name="T27" fmla="*/ 104 h 145"/>
                    <a:gd name="T28" fmla="*/ 90 w 182"/>
                    <a:gd name="T29" fmla="*/ 104 h 145"/>
                    <a:gd name="T30" fmla="*/ 94 w 182"/>
                    <a:gd name="T31" fmla="*/ 114 h 145"/>
                    <a:gd name="T32" fmla="*/ 108 w 182"/>
                    <a:gd name="T33" fmla="*/ 114 h 145"/>
                    <a:gd name="T34" fmla="*/ 119 w 182"/>
                    <a:gd name="T35" fmla="*/ 121 h 145"/>
                    <a:gd name="T36" fmla="*/ 114 w 182"/>
                    <a:gd name="T37" fmla="*/ 130 h 145"/>
                    <a:gd name="T38" fmla="*/ 112 w 182"/>
                    <a:gd name="T39" fmla="*/ 140 h 145"/>
                    <a:gd name="T40" fmla="*/ 123 w 182"/>
                    <a:gd name="T41" fmla="*/ 140 h 145"/>
                    <a:gd name="T42" fmla="*/ 127 w 182"/>
                    <a:gd name="T43" fmla="*/ 124 h 145"/>
                    <a:gd name="T44" fmla="*/ 123 w 182"/>
                    <a:gd name="T45" fmla="*/ 116 h 145"/>
                    <a:gd name="T46" fmla="*/ 134 w 182"/>
                    <a:gd name="T47" fmla="*/ 106 h 145"/>
                    <a:gd name="T48" fmla="*/ 130 w 182"/>
                    <a:gd name="T49" fmla="*/ 95 h 145"/>
                    <a:gd name="T50" fmla="*/ 124 w 182"/>
                    <a:gd name="T51" fmla="*/ 80 h 145"/>
                    <a:gd name="T52" fmla="*/ 148 w 182"/>
                    <a:gd name="T53" fmla="*/ 85 h 145"/>
                    <a:gd name="T54" fmla="*/ 152 w 182"/>
                    <a:gd name="T55" fmla="*/ 77 h 145"/>
                    <a:gd name="T56" fmla="*/ 158 w 182"/>
                    <a:gd name="T57" fmla="*/ 78 h 145"/>
                    <a:gd name="T58" fmla="*/ 160 w 182"/>
                    <a:gd name="T59" fmla="*/ 67 h 145"/>
                    <a:gd name="T60" fmla="*/ 168 w 182"/>
                    <a:gd name="T61" fmla="*/ 59 h 145"/>
                    <a:gd name="T62" fmla="*/ 153 w 182"/>
                    <a:gd name="T63" fmla="*/ 47 h 145"/>
                    <a:gd name="T64" fmla="*/ 164 w 182"/>
                    <a:gd name="T65" fmla="*/ 40 h 145"/>
                    <a:gd name="T66" fmla="*/ 172 w 182"/>
                    <a:gd name="T67" fmla="*/ 40 h 145"/>
                    <a:gd name="T68" fmla="*/ 170 w 182"/>
                    <a:gd name="T69" fmla="*/ 28 h 145"/>
                    <a:gd name="T70" fmla="*/ 182 w 182"/>
                    <a:gd name="T71" fmla="*/ 20 h 145"/>
                    <a:gd name="T72" fmla="*/ 177 w 182"/>
                    <a:gd name="T73" fmla="*/ 12 h 145"/>
                    <a:gd name="T74" fmla="*/ 180 w 182"/>
                    <a:gd name="T75" fmla="*/ 10 h 145"/>
                    <a:gd name="T76" fmla="*/ 176 w 182"/>
                    <a:gd name="T77" fmla="*/ 7 h 145"/>
                    <a:gd name="T78" fmla="*/ 154 w 182"/>
                    <a:gd name="T79" fmla="*/ 1 h 145"/>
                    <a:gd name="T80" fmla="*/ 125 w 182"/>
                    <a:gd name="T81" fmla="*/ 0 h 145"/>
                    <a:gd name="T82" fmla="*/ 103 w 182"/>
                    <a:gd name="T83" fmla="*/ 10 h 145"/>
                    <a:gd name="T84" fmla="*/ 107 w 182"/>
                    <a:gd name="T85" fmla="*/ 21 h 145"/>
                    <a:gd name="T86" fmla="*/ 111 w 182"/>
                    <a:gd name="T87" fmla="*/ 34 h 145"/>
                    <a:gd name="T88" fmla="*/ 116 w 182"/>
                    <a:gd name="T89" fmla="*/ 40 h 145"/>
                    <a:gd name="T90" fmla="*/ 122 w 182"/>
                    <a:gd name="T91" fmla="*/ 48 h 145"/>
                    <a:gd name="T92" fmla="*/ 104 w 182"/>
                    <a:gd name="T93" fmla="*/ 60 h 145"/>
                    <a:gd name="T94" fmla="*/ 92 w 182"/>
                    <a:gd name="T95" fmla="*/ 52 h 145"/>
                    <a:gd name="T96" fmla="*/ 100 w 182"/>
                    <a:gd name="T97" fmla="*/ 37 h 145"/>
                    <a:gd name="T98" fmla="*/ 102 w 182"/>
                    <a:gd name="T99" fmla="*/ 24 h 145"/>
                    <a:gd name="T100" fmla="*/ 97 w 182"/>
                    <a:gd name="T101" fmla="*/ 16 h 145"/>
                    <a:gd name="T102" fmla="*/ 81 w 182"/>
                    <a:gd name="T103" fmla="*/ 30 h 145"/>
                    <a:gd name="T104" fmla="*/ 64 w 182"/>
                    <a:gd name="T105" fmla="*/ 49 h 145"/>
                    <a:gd name="T106" fmla="*/ 60 w 182"/>
                    <a:gd name="T107" fmla="*/ 69 h 145"/>
                    <a:gd name="T108" fmla="*/ 42 w 182"/>
                    <a:gd name="T109" fmla="*/ 89 h 145"/>
                    <a:gd name="T110" fmla="*/ 48 w 182"/>
                    <a:gd name="T111" fmla="*/ 97 h 145"/>
                    <a:gd name="T112" fmla="*/ 31 w 182"/>
                    <a:gd name="T113" fmla="*/ 98 h 145"/>
                    <a:gd name="T114" fmla="*/ 14 w 182"/>
                    <a:gd name="T115" fmla="*/ 104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82" h="145">
                      <a:moveTo>
                        <a:pt x="14" y="104"/>
                      </a:move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9" y="108"/>
                        <a:pt x="9" y="108"/>
                        <a:pt x="9" y="108"/>
                      </a:cubicBezTo>
                      <a:cubicBezTo>
                        <a:pt x="10" y="110"/>
                        <a:pt x="10" y="110"/>
                        <a:pt x="10" y="110"/>
                      </a:cubicBezTo>
                      <a:cubicBezTo>
                        <a:pt x="18" y="108"/>
                        <a:pt x="18" y="108"/>
                        <a:pt x="18" y="108"/>
                      </a:cubicBezTo>
                      <a:cubicBezTo>
                        <a:pt x="22" y="114"/>
                        <a:pt x="22" y="114"/>
                        <a:pt x="22" y="114"/>
                      </a:cubicBezTo>
                      <a:cubicBezTo>
                        <a:pt x="22" y="114"/>
                        <a:pt x="30" y="113"/>
                        <a:pt x="34" y="112"/>
                      </a:cubicBezTo>
                      <a:cubicBezTo>
                        <a:pt x="39" y="112"/>
                        <a:pt x="43" y="117"/>
                        <a:pt x="43" y="117"/>
                      </a:cubicBezTo>
                      <a:cubicBezTo>
                        <a:pt x="46" y="110"/>
                        <a:pt x="46" y="110"/>
                        <a:pt x="46" y="110"/>
                      </a:cubicBezTo>
                      <a:cubicBezTo>
                        <a:pt x="56" y="112"/>
                        <a:pt x="56" y="112"/>
                        <a:pt x="56" y="112"/>
                      </a:cubicBezTo>
                      <a:cubicBezTo>
                        <a:pt x="56" y="106"/>
                        <a:pt x="56" y="106"/>
                        <a:pt x="56" y="106"/>
                      </a:cubicBezTo>
                      <a:cubicBezTo>
                        <a:pt x="65" y="108"/>
                        <a:pt x="65" y="108"/>
                        <a:pt x="65" y="108"/>
                      </a:cubicBezTo>
                      <a:cubicBezTo>
                        <a:pt x="65" y="108"/>
                        <a:pt x="66" y="105"/>
                        <a:pt x="71" y="104"/>
                      </a:cubicBezTo>
                      <a:cubicBezTo>
                        <a:pt x="76" y="102"/>
                        <a:pt x="90" y="104"/>
                        <a:pt x="90" y="104"/>
                      </a:cubicBezTo>
                      <a:cubicBezTo>
                        <a:pt x="90" y="104"/>
                        <a:pt x="91" y="110"/>
                        <a:pt x="94" y="114"/>
                      </a:cubicBezTo>
                      <a:cubicBezTo>
                        <a:pt x="96" y="118"/>
                        <a:pt x="108" y="114"/>
                        <a:pt x="108" y="114"/>
                      </a:cubicBezTo>
                      <a:cubicBezTo>
                        <a:pt x="108" y="114"/>
                        <a:pt x="118" y="112"/>
                        <a:pt x="119" y="121"/>
                      </a:cubicBezTo>
                      <a:cubicBezTo>
                        <a:pt x="120" y="130"/>
                        <a:pt x="114" y="130"/>
                        <a:pt x="114" y="130"/>
                      </a:cubicBezTo>
                      <a:cubicBezTo>
                        <a:pt x="114" y="130"/>
                        <a:pt x="110" y="134"/>
                        <a:pt x="112" y="140"/>
                      </a:cubicBezTo>
                      <a:cubicBezTo>
                        <a:pt x="114" y="145"/>
                        <a:pt x="123" y="140"/>
                        <a:pt x="123" y="140"/>
                      </a:cubicBezTo>
                      <a:cubicBezTo>
                        <a:pt x="123" y="140"/>
                        <a:pt x="126" y="126"/>
                        <a:pt x="127" y="124"/>
                      </a:cubicBezTo>
                      <a:cubicBezTo>
                        <a:pt x="128" y="122"/>
                        <a:pt x="123" y="116"/>
                        <a:pt x="123" y="116"/>
                      </a:cubicBezTo>
                      <a:cubicBezTo>
                        <a:pt x="123" y="116"/>
                        <a:pt x="134" y="110"/>
                        <a:pt x="134" y="106"/>
                      </a:cubicBezTo>
                      <a:cubicBezTo>
                        <a:pt x="135" y="103"/>
                        <a:pt x="130" y="95"/>
                        <a:pt x="130" y="95"/>
                      </a:cubicBezTo>
                      <a:cubicBezTo>
                        <a:pt x="124" y="80"/>
                        <a:pt x="124" y="80"/>
                        <a:pt x="124" y="80"/>
                      </a:cubicBezTo>
                      <a:cubicBezTo>
                        <a:pt x="124" y="80"/>
                        <a:pt x="146" y="88"/>
                        <a:pt x="148" y="85"/>
                      </a:cubicBezTo>
                      <a:cubicBezTo>
                        <a:pt x="150" y="82"/>
                        <a:pt x="152" y="77"/>
                        <a:pt x="152" y="77"/>
                      </a:cubicBezTo>
                      <a:cubicBezTo>
                        <a:pt x="158" y="78"/>
                        <a:pt x="158" y="78"/>
                        <a:pt x="158" y="78"/>
                      </a:cubicBezTo>
                      <a:cubicBezTo>
                        <a:pt x="160" y="67"/>
                        <a:pt x="160" y="67"/>
                        <a:pt x="160" y="67"/>
                      </a:cubicBezTo>
                      <a:cubicBezTo>
                        <a:pt x="160" y="67"/>
                        <a:pt x="168" y="63"/>
                        <a:pt x="168" y="59"/>
                      </a:cubicBezTo>
                      <a:cubicBezTo>
                        <a:pt x="168" y="55"/>
                        <a:pt x="154" y="50"/>
                        <a:pt x="153" y="47"/>
                      </a:cubicBezTo>
                      <a:cubicBezTo>
                        <a:pt x="152" y="44"/>
                        <a:pt x="164" y="40"/>
                        <a:pt x="164" y="40"/>
                      </a:cubicBezTo>
                      <a:cubicBezTo>
                        <a:pt x="172" y="40"/>
                        <a:pt x="172" y="40"/>
                        <a:pt x="172" y="40"/>
                      </a:cubicBezTo>
                      <a:cubicBezTo>
                        <a:pt x="172" y="40"/>
                        <a:pt x="168" y="32"/>
                        <a:pt x="170" y="28"/>
                      </a:cubicBezTo>
                      <a:cubicBezTo>
                        <a:pt x="171" y="24"/>
                        <a:pt x="182" y="20"/>
                        <a:pt x="182" y="20"/>
                      </a:cubicBezTo>
                      <a:cubicBezTo>
                        <a:pt x="177" y="12"/>
                        <a:pt x="177" y="12"/>
                        <a:pt x="177" y="12"/>
                      </a:cubicBezTo>
                      <a:cubicBezTo>
                        <a:pt x="180" y="10"/>
                        <a:pt x="180" y="10"/>
                        <a:pt x="180" y="10"/>
                      </a:cubicBezTo>
                      <a:cubicBezTo>
                        <a:pt x="176" y="7"/>
                        <a:pt x="176" y="7"/>
                        <a:pt x="176" y="7"/>
                      </a:cubicBezTo>
                      <a:cubicBezTo>
                        <a:pt x="176" y="7"/>
                        <a:pt x="160" y="1"/>
                        <a:pt x="154" y="1"/>
                      </a:cubicBezTo>
                      <a:cubicBezTo>
                        <a:pt x="148" y="1"/>
                        <a:pt x="125" y="0"/>
                        <a:pt x="125" y="0"/>
                      </a:cubicBezTo>
                      <a:cubicBezTo>
                        <a:pt x="125" y="0"/>
                        <a:pt x="111" y="5"/>
                        <a:pt x="103" y="10"/>
                      </a:cubicBezTo>
                      <a:cubicBezTo>
                        <a:pt x="104" y="14"/>
                        <a:pt x="107" y="19"/>
                        <a:pt x="107" y="21"/>
                      </a:cubicBezTo>
                      <a:cubicBezTo>
                        <a:pt x="108" y="24"/>
                        <a:pt x="111" y="34"/>
                        <a:pt x="111" y="34"/>
                      </a:cubicBezTo>
                      <a:cubicBezTo>
                        <a:pt x="111" y="34"/>
                        <a:pt x="114" y="40"/>
                        <a:pt x="116" y="40"/>
                      </a:cubicBezTo>
                      <a:cubicBezTo>
                        <a:pt x="119" y="40"/>
                        <a:pt x="122" y="43"/>
                        <a:pt x="122" y="48"/>
                      </a:cubicBezTo>
                      <a:cubicBezTo>
                        <a:pt x="123" y="52"/>
                        <a:pt x="111" y="59"/>
                        <a:pt x="104" y="60"/>
                      </a:cubicBezTo>
                      <a:cubicBezTo>
                        <a:pt x="98" y="60"/>
                        <a:pt x="95" y="55"/>
                        <a:pt x="92" y="52"/>
                      </a:cubicBezTo>
                      <a:cubicBezTo>
                        <a:pt x="88" y="48"/>
                        <a:pt x="94" y="45"/>
                        <a:pt x="100" y="37"/>
                      </a:cubicBezTo>
                      <a:cubicBezTo>
                        <a:pt x="106" y="29"/>
                        <a:pt x="102" y="24"/>
                        <a:pt x="102" y="24"/>
                      </a:cubicBezTo>
                      <a:cubicBezTo>
                        <a:pt x="102" y="24"/>
                        <a:pt x="99" y="21"/>
                        <a:pt x="97" y="16"/>
                      </a:cubicBezTo>
                      <a:cubicBezTo>
                        <a:pt x="92" y="23"/>
                        <a:pt x="81" y="30"/>
                        <a:pt x="81" y="30"/>
                      </a:cubicBezTo>
                      <a:cubicBezTo>
                        <a:pt x="81" y="30"/>
                        <a:pt x="64" y="42"/>
                        <a:pt x="64" y="49"/>
                      </a:cubicBezTo>
                      <a:cubicBezTo>
                        <a:pt x="64" y="56"/>
                        <a:pt x="60" y="69"/>
                        <a:pt x="60" y="69"/>
                      </a:cubicBezTo>
                      <a:cubicBezTo>
                        <a:pt x="42" y="89"/>
                        <a:pt x="42" y="89"/>
                        <a:pt x="42" y="89"/>
                      </a:cubicBezTo>
                      <a:cubicBezTo>
                        <a:pt x="48" y="97"/>
                        <a:pt x="48" y="97"/>
                        <a:pt x="48" y="97"/>
                      </a:cubicBezTo>
                      <a:cubicBezTo>
                        <a:pt x="31" y="98"/>
                        <a:pt x="31" y="98"/>
                        <a:pt x="31" y="98"/>
                      </a:cubicBezTo>
                      <a:lnTo>
                        <a:pt x="14" y="104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3" name="Montenegro">
                  <a:extLst>
                    <a:ext uri="{FF2B5EF4-FFF2-40B4-BE49-F238E27FC236}">
                      <a16:creationId xmlns:a16="http://schemas.microsoft.com/office/drawing/2014/main" id="{7096A76C-6494-C140-6050-70FC0A59F12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79830" y="2772886"/>
                  <a:ext cx="44458" cy="50776"/>
                </a:xfrm>
                <a:custGeom>
                  <a:avLst/>
                  <a:gdLst>
                    <a:gd name="T0" fmla="*/ 79 w 80"/>
                    <a:gd name="T1" fmla="*/ 27 h 90"/>
                    <a:gd name="T2" fmla="*/ 73 w 80"/>
                    <a:gd name="T3" fmla="*/ 31 h 90"/>
                    <a:gd name="T4" fmla="*/ 65 w 80"/>
                    <a:gd name="T5" fmla="*/ 17 h 90"/>
                    <a:gd name="T6" fmla="*/ 56 w 80"/>
                    <a:gd name="T7" fmla="*/ 10 h 90"/>
                    <a:gd name="T8" fmla="*/ 46 w 80"/>
                    <a:gd name="T9" fmla="*/ 0 h 90"/>
                    <a:gd name="T10" fmla="*/ 29 w 80"/>
                    <a:gd name="T11" fmla="*/ 0 h 90"/>
                    <a:gd name="T12" fmla="*/ 29 w 80"/>
                    <a:gd name="T13" fmla="*/ 15 h 90"/>
                    <a:gd name="T14" fmla="*/ 18 w 80"/>
                    <a:gd name="T15" fmla="*/ 14 h 90"/>
                    <a:gd name="T16" fmla="*/ 9 w 80"/>
                    <a:gd name="T17" fmla="*/ 29 h 90"/>
                    <a:gd name="T18" fmla="*/ 4 w 80"/>
                    <a:gd name="T19" fmla="*/ 29 h 90"/>
                    <a:gd name="T20" fmla="*/ 3 w 80"/>
                    <a:gd name="T21" fmla="*/ 39 h 90"/>
                    <a:gd name="T22" fmla="*/ 17 w 80"/>
                    <a:gd name="T23" fmla="*/ 48 h 90"/>
                    <a:gd name="T24" fmla="*/ 4 w 80"/>
                    <a:gd name="T25" fmla="*/ 64 h 90"/>
                    <a:gd name="T26" fmla="*/ 6 w 80"/>
                    <a:gd name="T27" fmla="*/ 65 h 90"/>
                    <a:gd name="T28" fmla="*/ 24 w 80"/>
                    <a:gd name="T29" fmla="*/ 62 h 90"/>
                    <a:gd name="T30" fmla="*/ 24 w 80"/>
                    <a:gd name="T31" fmla="*/ 74 h 90"/>
                    <a:gd name="T32" fmla="*/ 41 w 80"/>
                    <a:gd name="T33" fmla="*/ 90 h 90"/>
                    <a:gd name="T34" fmla="*/ 48 w 80"/>
                    <a:gd name="T35" fmla="*/ 81 h 90"/>
                    <a:gd name="T36" fmla="*/ 46 w 80"/>
                    <a:gd name="T37" fmla="*/ 71 h 90"/>
                    <a:gd name="T38" fmla="*/ 40 w 80"/>
                    <a:gd name="T39" fmla="*/ 74 h 90"/>
                    <a:gd name="T40" fmla="*/ 31 w 80"/>
                    <a:gd name="T41" fmla="*/ 68 h 90"/>
                    <a:gd name="T42" fmla="*/ 46 w 80"/>
                    <a:gd name="T43" fmla="*/ 68 h 90"/>
                    <a:gd name="T44" fmla="*/ 52 w 80"/>
                    <a:gd name="T45" fmla="*/ 63 h 90"/>
                    <a:gd name="T46" fmla="*/ 54 w 80"/>
                    <a:gd name="T47" fmla="*/ 49 h 90"/>
                    <a:gd name="T48" fmla="*/ 72 w 80"/>
                    <a:gd name="T49" fmla="*/ 59 h 90"/>
                    <a:gd name="T50" fmla="*/ 78 w 80"/>
                    <a:gd name="T51" fmla="*/ 53 h 90"/>
                    <a:gd name="T52" fmla="*/ 80 w 80"/>
                    <a:gd name="T53" fmla="*/ 56 h 90"/>
                    <a:gd name="T54" fmla="*/ 79 w 80"/>
                    <a:gd name="T55" fmla="*/ 27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0" h="90">
                      <a:moveTo>
                        <a:pt x="79" y="27"/>
                      </a:moveTo>
                      <a:cubicBezTo>
                        <a:pt x="73" y="31"/>
                        <a:pt x="73" y="31"/>
                        <a:pt x="73" y="31"/>
                      </a:cubicBezTo>
                      <a:cubicBezTo>
                        <a:pt x="65" y="17"/>
                        <a:pt x="65" y="17"/>
                        <a:pt x="65" y="17"/>
                      </a:cubicBez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39" y="2"/>
                        <a:pt x="29" y="0"/>
                        <a:pt x="29" y="0"/>
                      </a:cubicBezTo>
                      <a:cubicBezTo>
                        <a:pt x="29" y="15"/>
                        <a:pt x="29" y="15"/>
                        <a:pt x="29" y="15"/>
                      </a:cubicBezTo>
                      <a:cubicBezTo>
                        <a:pt x="29" y="15"/>
                        <a:pt x="21" y="10"/>
                        <a:pt x="18" y="14"/>
                      </a:cubicBezTo>
                      <a:cubicBezTo>
                        <a:pt x="15" y="18"/>
                        <a:pt x="9" y="29"/>
                        <a:pt x="9" y="29"/>
                      </a:cubicBez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4" y="29"/>
                        <a:pt x="0" y="36"/>
                        <a:pt x="3" y="39"/>
                      </a:cubicBezTo>
                      <a:cubicBezTo>
                        <a:pt x="6" y="42"/>
                        <a:pt x="17" y="48"/>
                        <a:pt x="17" y="48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5" y="65"/>
                        <a:pt x="6" y="65"/>
                        <a:pt x="6" y="65"/>
                      </a:cubicBezTo>
                      <a:cubicBezTo>
                        <a:pt x="13" y="67"/>
                        <a:pt x="24" y="62"/>
                        <a:pt x="24" y="62"/>
                      </a:cubicBezTo>
                      <a:cubicBezTo>
                        <a:pt x="24" y="74"/>
                        <a:pt x="24" y="74"/>
                        <a:pt x="24" y="74"/>
                      </a:cubicBezTo>
                      <a:cubicBezTo>
                        <a:pt x="41" y="90"/>
                        <a:pt x="41" y="90"/>
                        <a:pt x="41" y="90"/>
                      </a:cubicBezTo>
                      <a:cubicBezTo>
                        <a:pt x="48" y="81"/>
                        <a:pt x="48" y="81"/>
                        <a:pt x="48" y="81"/>
                      </a:cubicBezTo>
                      <a:cubicBezTo>
                        <a:pt x="46" y="71"/>
                        <a:pt x="46" y="71"/>
                        <a:pt x="46" y="71"/>
                      </a:cubicBezTo>
                      <a:cubicBezTo>
                        <a:pt x="40" y="74"/>
                        <a:pt x="40" y="74"/>
                        <a:pt x="40" y="74"/>
                      </a:cubicBezTo>
                      <a:cubicBezTo>
                        <a:pt x="31" y="68"/>
                        <a:pt x="31" y="68"/>
                        <a:pt x="31" y="68"/>
                      </a:cubicBezTo>
                      <a:cubicBezTo>
                        <a:pt x="46" y="68"/>
                        <a:pt x="46" y="68"/>
                        <a:pt x="46" y="68"/>
                      </a:cubicBezTo>
                      <a:cubicBezTo>
                        <a:pt x="52" y="63"/>
                        <a:pt x="52" y="63"/>
                        <a:pt x="52" y="63"/>
                      </a:cubicBezTo>
                      <a:cubicBezTo>
                        <a:pt x="54" y="49"/>
                        <a:pt x="54" y="49"/>
                        <a:pt x="54" y="49"/>
                      </a:cubicBezTo>
                      <a:cubicBezTo>
                        <a:pt x="72" y="59"/>
                        <a:pt x="72" y="59"/>
                        <a:pt x="72" y="59"/>
                      </a:cubicBezTo>
                      <a:cubicBezTo>
                        <a:pt x="78" y="53"/>
                        <a:pt x="78" y="53"/>
                        <a:pt x="78" y="53"/>
                      </a:cubicBezTo>
                      <a:cubicBezTo>
                        <a:pt x="80" y="56"/>
                        <a:pt x="80" y="56"/>
                        <a:pt x="80" y="56"/>
                      </a:cubicBezTo>
                      <a:lnTo>
                        <a:pt x="79" y="27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4" name="Moldova">
                  <a:extLst>
                    <a:ext uri="{FF2B5EF4-FFF2-40B4-BE49-F238E27FC236}">
                      <a16:creationId xmlns:a16="http://schemas.microsoft.com/office/drawing/2014/main" id="{EB2B3A05-A57D-FD6A-C10D-5E275C9F24A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70361" y="2630078"/>
                  <a:ext cx="79389" cy="88859"/>
                </a:xfrm>
                <a:custGeom>
                  <a:avLst/>
                  <a:gdLst>
                    <a:gd name="T0" fmla="*/ 0 w 143"/>
                    <a:gd name="T1" fmla="*/ 11 h 158"/>
                    <a:gd name="T2" fmla="*/ 24 w 143"/>
                    <a:gd name="T3" fmla="*/ 30 h 158"/>
                    <a:gd name="T4" fmla="*/ 23 w 143"/>
                    <a:gd name="T5" fmla="*/ 40 h 158"/>
                    <a:gd name="T6" fmla="*/ 38 w 143"/>
                    <a:gd name="T7" fmla="*/ 49 h 158"/>
                    <a:gd name="T8" fmla="*/ 44 w 143"/>
                    <a:gd name="T9" fmla="*/ 63 h 158"/>
                    <a:gd name="T10" fmla="*/ 52 w 143"/>
                    <a:gd name="T11" fmla="*/ 64 h 158"/>
                    <a:gd name="T12" fmla="*/ 54 w 143"/>
                    <a:gd name="T13" fmla="*/ 74 h 158"/>
                    <a:gd name="T14" fmla="*/ 71 w 143"/>
                    <a:gd name="T15" fmla="*/ 84 h 158"/>
                    <a:gd name="T16" fmla="*/ 69 w 143"/>
                    <a:gd name="T17" fmla="*/ 106 h 158"/>
                    <a:gd name="T18" fmla="*/ 74 w 143"/>
                    <a:gd name="T19" fmla="*/ 109 h 158"/>
                    <a:gd name="T20" fmla="*/ 67 w 143"/>
                    <a:gd name="T21" fmla="*/ 129 h 158"/>
                    <a:gd name="T22" fmla="*/ 73 w 143"/>
                    <a:gd name="T23" fmla="*/ 143 h 158"/>
                    <a:gd name="T24" fmla="*/ 75 w 143"/>
                    <a:gd name="T25" fmla="*/ 158 h 158"/>
                    <a:gd name="T26" fmla="*/ 92 w 143"/>
                    <a:gd name="T27" fmla="*/ 155 h 158"/>
                    <a:gd name="T28" fmla="*/ 88 w 143"/>
                    <a:gd name="T29" fmla="*/ 141 h 158"/>
                    <a:gd name="T30" fmla="*/ 104 w 143"/>
                    <a:gd name="T31" fmla="*/ 129 h 158"/>
                    <a:gd name="T32" fmla="*/ 113 w 143"/>
                    <a:gd name="T33" fmla="*/ 120 h 158"/>
                    <a:gd name="T34" fmla="*/ 97 w 143"/>
                    <a:gd name="T35" fmla="*/ 106 h 158"/>
                    <a:gd name="T36" fmla="*/ 113 w 143"/>
                    <a:gd name="T37" fmla="*/ 102 h 158"/>
                    <a:gd name="T38" fmla="*/ 126 w 143"/>
                    <a:gd name="T39" fmla="*/ 109 h 158"/>
                    <a:gd name="T40" fmla="*/ 143 w 143"/>
                    <a:gd name="T41" fmla="*/ 104 h 158"/>
                    <a:gd name="T42" fmla="*/ 141 w 143"/>
                    <a:gd name="T43" fmla="*/ 83 h 158"/>
                    <a:gd name="T44" fmla="*/ 120 w 143"/>
                    <a:gd name="T45" fmla="*/ 77 h 158"/>
                    <a:gd name="T46" fmla="*/ 122 w 143"/>
                    <a:gd name="T47" fmla="*/ 61 h 158"/>
                    <a:gd name="T48" fmla="*/ 117 w 143"/>
                    <a:gd name="T49" fmla="*/ 56 h 158"/>
                    <a:gd name="T50" fmla="*/ 105 w 143"/>
                    <a:gd name="T51" fmla="*/ 58 h 158"/>
                    <a:gd name="T52" fmla="*/ 105 w 143"/>
                    <a:gd name="T53" fmla="*/ 43 h 158"/>
                    <a:gd name="T54" fmla="*/ 103 w 143"/>
                    <a:gd name="T55" fmla="*/ 26 h 158"/>
                    <a:gd name="T56" fmla="*/ 83 w 143"/>
                    <a:gd name="T57" fmla="*/ 24 h 158"/>
                    <a:gd name="T58" fmla="*/ 78 w 143"/>
                    <a:gd name="T59" fmla="*/ 13 h 158"/>
                    <a:gd name="T60" fmla="*/ 57 w 143"/>
                    <a:gd name="T61" fmla="*/ 12 h 158"/>
                    <a:gd name="T62" fmla="*/ 52 w 143"/>
                    <a:gd name="T63" fmla="*/ 7 h 158"/>
                    <a:gd name="T64" fmla="*/ 48 w 143"/>
                    <a:gd name="T65" fmla="*/ 9 h 158"/>
                    <a:gd name="T66" fmla="*/ 33 w 143"/>
                    <a:gd name="T67" fmla="*/ 1 h 158"/>
                    <a:gd name="T68" fmla="*/ 18 w 143"/>
                    <a:gd name="T69" fmla="*/ 8 h 158"/>
                    <a:gd name="T70" fmla="*/ 2 w 143"/>
                    <a:gd name="T71" fmla="*/ 3 h 158"/>
                    <a:gd name="T72" fmla="*/ 0 w 143"/>
                    <a:gd name="T73" fmla="*/ 11 h 158"/>
                    <a:gd name="T74" fmla="*/ 0 w 143"/>
                    <a:gd name="T75" fmla="*/ 11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3" h="158">
                      <a:moveTo>
                        <a:pt x="0" y="11"/>
                      </a:moveTo>
                      <a:cubicBezTo>
                        <a:pt x="17" y="14"/>
                        <a:pt x="24" y="30"/>
                        <a:pt x="24" y="30"/>
                      </a:cubicBezTo>
                      <a:cubicBezTo>
                        <a:pt x="23" y="40"/>
                        <a:pt x="23" y="40"/>
                        <a:pt x="23" y="40"/>
                      </a:cubicBezTo>
                      <a:cubicBezTo>
                        <a:pt x="38" y="49"/>
                        <a:pt x="38" y="49"/>
                        <a:pt x="38" y="49"/>
                      </a:cubicBezTo>
                      <a:cubicBezTo>
                        <a:pt x="44" y="63"/>
                        <a:pt x="44" y="63"/>
                        <a:pt x="44" y="63"/>
                      </a:cubicBezTo>
                      <a:cubicBezTo>
                        <a:pt x="52" y="64"/>
                        <a:pt x="52" y="64"/>
                        <a:pt x="52" y="64"/>
                      </a:cubicBezTo>
                      <a:cubicBezTo>
                        <a:pt x="54" y="74"/>
                        <a:pt x="54" y="74"/>
                        <a:pt x="54" y="74"/>
                      </a:cubicBezTo>
                      <a:cubicBezTo>
                        <a:pt x="54" y="74"/>
                        <a:pt x="70" y="75"/>
                        <a:pt x="71" y="84"/>
                      </a:cubicBezTo>
                      <a:cubicBezTo>
                        <a:pt x="72" y="93"/>
                        <a:pt x="69" y="106"/>
                        <a:pt x="69" y="106"/>
                      </a:cubicBezTo>
                      <a:cubicBezTo>
                        <a:pt x="74" y="109"/>
                        <a:pt x="74" y="109"/>
                        <a:pt x="74" y="109"/>
                      </a:cubicBezTo>
                      <a:cubicBezTo>
                        <a:pt x="74" y="109"/>
                        <a:pt x="67" y="122"/>
                        <a:pt x="67" y="129"/>
                      </a:cubicBezTo>
                      <a:cubicBezTo>
                        <a:pt x="67" y="136"/>
                        <a:pt x="73" y="143"/>
                        <a:pt x="73" y="143"/>
                      </a:cubicBezTo>
                      <a:cubicBezTo>
                        <a:pt x="73" y="143"/>
                        <a:pt x="72" y="151"/>
                        <a:pt x="75" y="158"/>
                      </a:cubicBezTo>
                      <a:cubicBezTo>
                        <a:pt x="92" y="155"/>
                        <a:pt x="92" y="155"/>
                        <a:pt x="92" y="155"/>
                      </a:cubicBezTo>
                      <a:cubicBezTo>
                        <a:pt x="92" y="155"/>
                        <a:pt x="88" y="145"/>
                        <a:pt x="88" y="141"/>
                      </a:cubicBezTo>
                      <a:cubicBezTo>
                        <a:pt x="88" y="137"/>
                        <a:pt x="104" y="129"/>
                        <a:pt x="104" y="129"/>
                      </a:cubicBezTo>
                      <a:cubicBezTo>
                        <a:pt x="113" y="120"/>
                        <a:pt x="113" y="120"/>
                        <a:pt x="113" y="120"/>
                      </a:cubicBezTo>
                      <a:cubicBezTo>
                        <a:pt x="113" y="120"/>
                        <a:pt x="98" y="110"/>
                        <a:pt x="97" y="106"/>
                      </a:cubicBezTo>
                      <a:cubicBezTo>
                        <a:pt x="96" y="102"/>
                        <a:pt x="113" y="102"/>
                        <a:pt x="113" y="102"/>
                      </a:cubicBezTo>
                      <a:cubicBezTo>
                        <a:pt x="113" y="102"/>
                        <a:pt x="119" y="110"/>
                        <a:pt x="126" y="109"/>
                      </a:cubicBezTo>
                      <a:cubicBezTo>
                        <a:pt x="133" y="108"/>
                        <a:pt x="143" y="104"/>
                        <a:pt x="143" y="104"/>
                      </a:cubicBezTo>
                      <a:cubicBezTo>
                        <a:pt x="143" y="104"/>
                        <a:pt x="142" y="90"/>
                        <a:pt x="141" y="83"/>
                      </a:cubicBezTo>
                      <a:cubicBezTo>
                        <a:pt x="140" y="76"/>
                        <a:pt x="127" y="79"/>
                        <a:pt x="120" y="77"/>
                      </a:cubicBezTo>
                      <a:cubicBezTo>
                        <a:pt x="113" y="75"/>
                        <a:pt x="122" y="61"/>
                        <a:pt x="122" y="61"/>
                      </a:cubicBezTo>
                      <a:cubicBezTo>
                        <a:pt x="117" y="56"/>
                        <a:pt x="117" y="56"/>
                        <a:pt x="117" y="56"/>
                      </a:cubicBezTo>
                      <a:cubicBezTo>
                        <a:pt x="117" y="56"/>
                        <a:pt x="108" y="58"/>
                        <a:pt x="105" y="58"/>
                      </a:cubicBezTo>
                      <a:cubicBezTo>
                        <a:pt x="102" y="58"/>
                        <a:pt x="105" y="43"/>
                        <a:pt x="105" y="43"/>
                      </a:cubicBezTo>
                      <a:cubicBezTo>
                        <a:pt x="105" y="43"/>
                        <a:pt x="114" y="34"/>
                        <a:pt x="103" y="26"/>
                      </a:cubicBezTo>
                      <a:cubicBezTo>
                        <a:pt x="92" y="18"/>
                        <a:pt x="83" y="24"/>
                        <a:pt x="83" y="24"/>
                      </a:cubicBezTo>
                      <a:cubicBezTo>
                        <a:pt x="83" y="24"/>
                        <a:pt x="83" y="17"/>
                        <a:pt x="78" y="13"/>
                      </a:cubicBezTo>
                      <a:cubicBezTo>
                        <a:pt x="73" y="9"/>
                        <a:pt x="66" y="12"/>
                        <a:pt x="57" y="12"/>
                      </a:cubicBezTo>
                      <a:cubicBezTo>
                        <a:pt x="48" y="12"/>
                        <a:pt x="52" y="7"/>
                        <a:pt x="52" y="7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48" y="9"/>
                        <a:pt x="42" y="0"/>
                        <a:pt x="33" y="1"/>
                      </a:cubicBezTo>
                      <a:cubicBezTo>
                        <a:pt x="24" y="2"/>
                        <a:pt x="24" y="7"/>
                        <a:pt x="18" y="8"/>
                      </a:cubicBezTo>
                      <a:cubicBezTo>
                        <a:pt x="12" y="9"/>
                        <a:pt x="2" y="3"/>
                        <a:pt x="2" y="3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11"/>
                        <a:pt x="0" y="11"/>
                        <a:pt x="0" y="1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5" name="Malta">
                  <a:extLst>
                    <a:ext uri="{FF2B5EF4-FFF2-40B4-BE49-F238E27FC236}">
                      <a16:creationId xmlns:a16="http://schemas.microsoft.com/office/drawing/2014/main" id="{80A46DF8-501B-A64F-0162-A0DBC6BCCC3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78210" y="2987100"/>
                  <a:ext cx="19053" cy="19041"/>
                </a:xfrm>
                <a:custGeom>
                  <a:avLst/>
                  <a:gdLst>
                    <a:gd name="T0" fmla="*/ 23 w 34"/>
                    <a:gd name="T1" fmla="*/ 33 h 33"/>
                    <a:gd name="T2" fmla="*/ 8 w 34"/>
                    <a:gd name="T3" fmla="*/ 14 h 33"/>
                    <a:gd name="T4" fmla="*/ 23 w 34"/>
                    <a:gd name="T5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4" h="33">
                      <a:moveTo>
                        <a:pt x="23" y="33"/>
                      </a:moveTo>
                      <a:cubicBezTo>
                        <a:pt x="34" y="20"/>
                        <a:pt x="16" y="0"/>
                        <a:pt x="8" y="14"/>
                      </a:cubicBezTo>
                      <a:cubicBezTo>
                        <a:pt x="0" y="28"/>
                        <a:pt x="23" y="33"/>
                        <a:pt x="23" y="33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6" name="Macedonia">
                  <a:extLst>
                    <a:ext uri="{FF2B5EF4-FFF2-40B4-BE49-F238E27FC236}">
                      <a16:creationId xmlns:a16="http://schemas.microsoft.com/office/drawing/2014/main" id="{78A40902-F077-F135-71FD-9DDCFAFAB0B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133812" y="2809383"/>
                  <a:ext cx="61923" cy="49190"/>
                </a:xfrm>
                <a:custGeom>
                  <a:avLst/>
                  <a:gdLst>
                    <a:gd name="T0" fmla="*/ 100 w 111"/>
                    <a:gd name="T1" fmla="*/ 26 h 87"/>
                    <a:gd name="T2" fmla="*/ 88 w 111"/>
                    <a:gd name="T3" fmla="*/ 17 h 87"/>
                    <a:gd name="T4" fmla="*/ 88 w 111"/>
                    <a:gd name="T5" fmla="*/ 9 h 87"/>
                    <a:gd name="T6" fmla="*/ 83 w 111"/>
                    <a:gd name="T7" fmla="*/ 9 h 87"/>
                    <a:gd name="T8" fmla="*/ 77 w 111"/>
                    <a:gd name="T9" fmla="*/ 0 h 87"/>
                    <a:gd name="T10" fmla="*/ 76 w 111"/>
                    <a:gd name="T11" fmla="*/ 0 h 87"/>
                    <a:gd name="T12" fmla="*/ 50 w 111"/>
                    <a:gd name="T13" fmla="*/ 2 h 87"/>
                    <a:gd name="T14" fmla="*/ 46 w 111"/>
                    <a:gd name="T15" fmla="*/ 6 h 87"/>
                    <a:gd name="T16" fmla="*/ 33 w 111"/>
                    <a:gd name="T17" fmla="*/ 6 h 87"/>
                    <a:gd name="T18" fmla="*/ 30 w 111"/>
                    <a:gd name="T19" fmla="*/ 14 h 87"/>
                    <a:gd name="T20" fmla="*/ 18 w 111"/>
                    <a:gd name="T21" fmla="*/ 14 h 87"/>
                    <a:gd name="T22" fmla="*/ 13 w 111"/>
                    <a:gd name="T23" fmla="*/ 22 h 87"/>
                    <a:gd name="T24" fmla="*/ 2 w 111"/>
                    <a:gd name="T25" fmla="*/ 26 h 87"/>
                    <a:gd name="T26" fmla="*/ 0 w 111"/>
                    <a:gd name="T27" fmla="*/ 41 h 87"/>
                    <a:gd name="T28" fmla="*/ 5 w 111"/>
                    <a:gd name="T29" fmla="*/ 52 h 87"/>
                    <a:gd name="T30" fmla="*/ 3 w 111"/>
                    <a:gd name="T31" fmla="*/ 64 h 87"/>
                    <a:gd name="T32" fmla="*/ 11 w 111"/>
                    <a:gd name="T33" fmla="*/ 70 h 87"/>
                    <a:gd name="T34" fmla="*/ 11 w 111"/>
                    <a:gd name="T35" fmla="*/ 84 h 87"/>
                    <a:gd name="T36" fmla="*/ 29 w 111"/>
                    <a:gd name="T37" fmla="*/ 77 h 87"/>
                    <a:gd name="T38" fmla="*/ 31 w 111"/>
                    <a:gd name="T39" fmla="*/ 84 h 87"/>
                    <a:gd name="T40" fmla="*/ 36 w 111"/>
                    <a:gd name="T41" fmla="*/ 79 h 87"/>
                    <a:gd name="T42" fmla="*/ 60 w 111"/>
                    <a:gd name="T43" fmla="*/ 81 h 87"/>
                    <a:gd name="T44" fmla="*/ 63 w 111"/>
                    <a:gd name="T45" fmla="*/ 70 h 87"/>
                    <a:gd name="T46" fmla="*/ 90 w 111"/>
                    <a:gd name="T47" fmla="*/ 66 h 87"/>
                    <a:gd name="T48" fmla="*/ 108 w 111"/>
                    <a:gd name="T49" fmla="*/ 44 h 87"/>
                    <a:gd name="T50" fmla="*/ 100 w 111"/>
                    <a:gd name="T51" fmla="*/ 26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11" h="87">
                      <a:moveTo>
                        <a:pt x="100" y="26"/>
                      </a:moveTo>
                      <a:cubicBezTo>
                        <a:pt x="88" y="17"/>
                        <a:pt x="88" y="17"/>
                        <a:pt x="88" y="17"/>
                      </a:cubicBezTo>
                      <a:cubicBezTo>
                        <a:pt x="88" y="9"/>
                        <a:pt x="88" y="9"/>
                        <a:pt x="88" y="9"/>
                      </a:cubicBezTo>
                      <a:cubicBezTo>
                        <a:pt x="83" y="9"/>
                        <a:pt x="83" y="9"/>
                        <a:pt x="83" y="9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6" y="0"/>
                        <a:pt x="76" y="0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6" y="6"/>
                        <a:pt x="46" y="6"/>
                        <a:pt x="46" y="6"/>
                      </a:cubicBezTo>
                      <a:cubicBezTo>
                        <a:pt x="33" y="6"/>
                        <a:pt x="33" y="6"/>
                        <a:pt x="33" y="6"/>
                      </a:cubicBezTo>
                      <a:cubicBezTo>
                        <a:pt x="33" y="6"/>
                        <a:pt x="37" y="14"/>
                        <a:pt x="30" y="14"/>
                      </a:cubicBezTo>
                      <a:cubicBezTo>
                        <a:pt x="23" y="14"/>
                        <a:pt x="18" y="14"/>
                        <a:pt x="18" y="14"/>
                      </a:cubicBezTo>
                      <a:cubicBezTo>
                        <a:pt x="13" y="22"/>
                        <a:pt x="13" y="22"/>
                        <a:pt x="13" y="22"/>
                      </a:cubicBezTo>
                      <a:cubicBezTo>
                        <a:pt x="2" y="26"/>
                        <a:pt x="2" y="26"/>
                        <a:pt x="2" y="26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5" y="52"/>
                        <a:pt x="3" y="59"/>
                        <a:pt x="3" y="64"/>
                      </a:cubicBezTo>
                      <a:cubicBezTo>
                        <a:pt x="3" y="69"/>
                        <a:pt x="11" y="70"/>
                        <a:pt x="11" y="70"/>
                      </a:cubicBezTo>
                      <a:cubicBezTo>
                        <a:pt x="11" y="84"/>
                        <a:pt x="11" y="84"/>
                        <a:pt x="11" y="84"/>
                      </a:cubicBezTo>
                      <a:cubicBezTo>
                        <a:pt x="29" y="77"/>
                        <a:pt x="29" y="77"/>
                        <a:pt x="29" y="77"/>
                      </a:cubicBezTo>
                      <a:cubicBezTo>
                        <a:pt x="29" y="77"/>
                        <a:pt x="30" y="80"/>
                        <a:pt x="31" y="84"/>
                      </a:cubicBezTo>
                      <a:cubicBezTo>
                        <a:pt x="36" y="79"/>
                        <a:pt x="36" y="79"/>
                        <a:pt x="36" y="79"/>
                      </a:cubicBezTo>
                      <a:cubicBezTo>
                        <a:pt x="36" y="79"/>
                        <a:pt x="56" y="87"/>
                        <a:pt x="60" y="81"/>
                      </a:cubicBezTo>
                      <a:cubicBezTo>
                        <a:pt x="64" y="75"/>
                        <a:pt x="63" y="70"/>
                        <a:pt x="63" y="70"/>
                      </a:cubicBezTo>
                      <a:cubicBezTo>
                        <a:pt x="63" y="70"/>
                        <a:pt x="82" y="74"/>
                        <a:pt x="90" y="66"/>
                      </a:cubicBezTo>
                      <a:cubicBezTo>
                        <a:pt x="98" y="58"/>
                        <a:pt x="105" y="55"/>
                        <a:pt x="108" y="44"/>
                      </a:cubicBezTo>
                      <a:cubicBezTo>
                        <a:pt x="111" y="33"/>
                        <a:pt x="100" y="26"/>
                        <a:pt x="100" y="26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7" name="Luxembourg">
                  <a:extLst>
                    <a:ext uri="{FF2B5EF4-FFF2-40B4-BE49-F238E27FC236}">
                      <a16:creationId xmlns:a16="http://schemas.microsoft.com/office/drawing/2014/main" id="{3535124C-612C-B1DD-6239-98F8BE1151F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79738" y="2580888"/>
                  <a:ext cx="19053" cy="17455"/>
                </a:xfrm>
                <a:custGeom>
                  <a:avLst/>
                  <a:gdLst>
                    <a:gd name="T0" fmla="*/ 13 w 36"/>
                    <a:gd name="T1" fmla="*/ 32 h 32"/>
                    <a:gd name="T2" fmla="*/ 19 w 36"/>
                    <a:gd name="T3" fmla="*/ 27 h 32"/>
                    <a:gd name="T4" fmla="*/ 30 w 36"/>
                    <a:gd name="T5" fmla="*/ 29 h 32"/>
                    <a:gd name="T6" fmla="*/ 35 w 36"/>
                    <a:gd name="T7" fmla="*/ 20 h 32"/>
                    <a:gd name="T8" fmla="*/ 20 w 36"/>
                    <a:gd name="T9" fmla="*/ 8 h 32"/>
                    <a:gd name="T10" fmla="*/ 20 w 36"/>
                    <a:gd name="T11" fmla="*/ 0 h 32"/>
                    <a:gd name="T12" fmla="*/ 12 w 36"/>
                    <a:gd name="T13" fmla="*/ 4 h 32"/>
                    <a:gd name="T14" fmla="*/ 2 w 36"/>
                    <a:gd name="T15" fmla="*/ 18 h 32"/>
                    <a:gd name="T16" fmla="*/ 13 w 36"/>
                    <a:gd name="T17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6" h="32">
                      <a:moveTo>
                        <a:pt x="13" y="32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30" y="29"/>
                        <a:pt x="30" y="29"/>
                        <a:pt x="30" y="29"/>
                      </a:cubicBezTo>
                      <a:cubicBezTo>
                        <a:pt x="30" y="29"/>
                        <a:pt x="36" y="25"/>
                        <a:pt x="35" y="20"/>
                      </a:cubicBezTo>
                      <a:cubicBezTo>
                        <a:pt x="34" y="16"/>
                        <a:pt x="24" y="14"/>
                        <a:pt x="20" y="8"/>
                      </a:cubicBezTo>
                      <a:cubicBezTo>
                        <a:pt x="19" y="6"/>
                        <a:pt x="19" y="3"/>
                        <a:pt x="20" y="0"/>
                      </a:cubicBezTo>
                      <a:cubicBezTo>
                        <a:pt x="19" y="1"/>
                        <a:pt x="16" y="2"/>
                        <a:pt x="12" y="4"/>
                      </a:cubicBezTo>
                      <a:cubicBezTo>
                        <a:pt x="1" y="10"/>
                        <a:pt x="0" y="16"/>
                        <a:pt x="2" y="18"/>
                      </a:cubicBezTo>
                      <a:cubicBezTo>
                        <a:pt x="3" y="20"/>
                        <a:pt x="9" y="27"/>
                        <a:pt x="13" y="3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8" name="Lithuania">
                  <a:extLst>
                    <a:ext uri="{FF2B5EF4-FFF2-40B4-BE49-F238E27FC236}">
                      <a16:creationId xmlns:a16="http://schemas.microsoft.com/office/drawing/2014/main" id="{F2264935-4977-592C-FEFE-F80AB993DFB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122697" y="2398411"/>
                  <a:ext cx="128609" cy="72991"/>
                </a:xfrm>
                <a:custGeom>
                  <a:avLst/>
                  <a:gdLst>
                    <a:gd name="T0" fmla="*/ 222 w 230"/>
                    <a:gd name="T1" fmla="*/ 42 h 132"/>
                    <a:gd name="T2" fmla="*/ 210 w 230"/>
                    <a:gd name="T3" fmla="*/ 38 h 132"/>
                    <a:gd name="T4" fmla="*/ 195 w 230"/>
                    <a:gd name="T5" fmla="*/ 30 h 132"/>
                    <a:gd name="T6" fmla="*/ 184 w 230"/>
                    <a:gd name="T7" fmla="*/ 20 h 132"/>
                    <a:gd name="T8" fmla="*/ 157 w 230"/>
                    <a:gd name="T9" fmla="*/ 17 h 132"/>
                    <a:gd name="T10" fmla="*/ 145 w 230"/>
                    <a:gd name="T11" fmla="*/ 4 h 132"/>
                    <a:gd name="T12" fmla="*/ 128 w 230"/>
                    <a:gd name="T13" fmla="*/ 12 h 132"/>
                    <a:gd name="T14" fmla="*/ 113 w 230"/>
                    <a:gd name="T15" fmla="*/ 8 h 132"/>
                    <a:gd name="T16" fmla="*/ 104 w 230"/>
                    <a:gd name="T17" fmla="*/ 13 h 132"/>
                    <a:gd name="T18" fmla="*/ 81 w 230"/>
                    <a:gd name="T19" fmla="*/ 7 h 132"/>
                    <a:gd name="T20" fmla="*/ 73 w 230"/>
                    <a:gd name="T21" fmla="*/ 9 h 132"/>
                    <a:gd name="T22" fmla="*/ 60 w 230"/>
                    <a:gd name="T23" fmla="*/ 2 h 132"/>
                    <a:gd name="T24" fmla="*/ 46 w 230"/>
                    <a:gd name="T25" fmla="*/ 5 h 132"/>
                    <a:gd name="T26" fmla="*/ 13 w 230"/>
                    <a:gd name="T27" fmla="*/ 11 h 132"/>
                    <a:gd name="T28" fmla="*/ 0 w 230"/>
                    <a:gd name="T29" fmla="*/ 16 h 132"/>
                    <a:gd name="T30" fmla="*/ 1 w 230"/>
                    <a:gd name="T31" fmla="*/ 23 h 132"/>
                    <a:gd name="T32" fmla="*/ 11 w 230"/>
                    <a:gd name="T33" fmla="*/ 60 h 132"/>
                    <a:gd name="T34" fmla="*/ 14 w 230"/>
                    <a:gd name="T35" fmla="*/ 64 h 132"/>
                    <a:gd name="T36" fmla="*/ 19 w 230"/>
                    <a:gd name="T37" fmla="*/ 64 h 132"/>
                    <a:gd name="T38" fmla="*/ 22 w 230"/>
                    <a:gd name="T39" fmla="*/ 70 h 132"/>
                    <a:gd name="T40" fmla="*/ 30 w 230"/>
                    <a:gd name="T41" fmla="*/ 69 h 132"/>
                    <a:gd name="T42" fmla="*/ 32 w 230"/>
                    <a:gd name="T43" fmla="*/ 75 h 132"/>
                    <a:gd name="T44" fmla="*/ 64 w 230"/>
                    <a:gd name="T45" fmla="*/ 71 h 132"/>
                    <a:gd name="T46" fmla="*/ 74 w 230"/>
                    <a:gd name="T47" fmla="*/ 86 h 132"/>
                    <a:gd name="T48" fmla="*/ 65 w 230"/>
                    <a:gd name="T49" fmla="*/ 98 h 132"/>
                    <a:gd name="T50" fmla="*/ 70 w 230"/>
                    <a:gd name="T51" fmla="*/ 108 h 132"/>
                    <a:gd name="T52" fmla="*/ 74 w 230"/>
                    <a:gd name="T53" fmla="*/ 108 h 132"/>
                    <a:gd name="T54" fmla="*/ 103 w 230"/>
                    <a:gd name="T55" fmla="*/ 119 h 132"/>
                    <a:gd name="T56" fmla="*/ 103 w 230"/>
                    <a:gd name="T57" fmla="*/ 132 h 132"/>
                    <a:gd name="T58" fmla="*/ 127 w 230"/>
                    <a:gd name="T59" fmla="*/ 127 h 132"/>
                    <a:gd name="T60" fmla="*/ 137 w 230"/>
                    <a:gd name="T61" fmla="*/ 132 h 132"/>
                    <a:gd name="T62" fmla="*/ 155 w 230"/>
                    <a:gd name="T63" fmla="*/ 132 h 132"/>
                    <a:gd name="T64" fmla="*/ 157 w 230"/>
                    <a:gd name="T65" fmla="*/ 122 h 132"/>
                    <a:gd name="T66" fmla="*/ 165 w 230"/>
                    <a:gd name="T67" fmla="*/ 130 h 132"/>
                    <a:gd name="T68" fmla="*/ 169 w 230"/>
                    <a:gd name="T69" fmla="*/ 122 h 132"/>
                    <a:gd name="T70" fmla="*/ 187 w 230"/>
                    <a:gd name="T71" fmla="*/ 115 h 132"/>
                    <a:gd name="T72" fmla="*/ 193 w 230"/>
                    <a:gd name="T73" fmla="*/ 123 h 132"/>
                    <a:gd name="T74" fmla="*/ 188 w 230"/>
                    <a:gd name="T75" fmla="*/ 103 h 132"/>
                    <a:gd name="T76" fmla="*/ 195 w 230"/>
                    <a:gd name="T77" fmla="*/ 96 h 132"/>
                    <a:gd name="T78" fmla="*/ 193 w 230"/>
                    <a:gd name="T79" fmla="*/ 81 h 132"/>
                    <a:gd name="T80" fmla="*/ 208 w 230"/>
                    <a:gd name="T81" fmla="*/ 79 h 132"/>
                    <a:gd name="T82" fmla="*/ 204 w 230"/>
                    <a:gd name="T83" fmla="*/ 66 h 132"/>
                    <a:gd name="T84" fmla="*/ 217 w 230"/>
                    <a:gd name="T85" fmla="*/ 71 h 132"/>
                    <a:gd name="T86" fmla="*/ 230 w 230"/>
                    <a:gd name="T87" fmla="*/ 65 h 132"/>
                    <a:gd name="T88" fmla="*/ 216 w 230"/>
                    <a:gd name="T89" fmla="*/ 50 h 132"/>
                    <a:gd name="T90" fmla="*/ 222 w 230"/>
                    <a:gd name="T91" fmla="*/ 42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30" h="132">
                      <a:moveTo>
                        <a:pt x="222" y="42"/>
                      </a:moveTo>
                      <a:cubicBezTo>
                        <a:pt x="210" y="38"/>
                        <a:pt x="210" y="38"/>
                        <a:pt x="210" y="38"/>
                      </a:cubicBezTo>
                      <a:cubicBezTo>
                        <a:pt x="195" y="30"/>
                        <a:pt x="195" y="30"/>
                        <a:pt x="195" y="30"/>
                      </a:cubicBezTo>
                      <a:cubicBezTo>
                        <a:pt x="195" y="30"/>
                        <a:pt x="190" y="22"/>
                        <a:pt x="184" y="20"/>
                      </a:cubicBezTo>
                      <a:cubicBezTo>
                        <a:pt x="178" y="18"/>
                        <a:pt x="157" y="17"/>
                        <a:pt x="157" y="17"/>
                      </a:cubicBezTo>
                      <a:cubicBezTo>
                        <a:pt x="157" y="17"/>
                        <a:pt x="151" y="4"/>
                        <a:pt x="145" y="4"/>
                      </a:cubicBezTo>
                      <a:cubicBezTo>
                        <a:pt x="139" y="4"/>
                        <a:pt x="136" y="12"/>
                        <a:pt x="128" y="12"/>
                      </a:cubicBezTo>
                      <a:cubicBezTo>
                        <a:pt x="120" y="12"/>
                        <a:pt x="118" y="8"/>
                        <a:pt x="113" y="8"/>
                      </a:cubicBezTo>
                      <a:cubicBezTo>
                        <a:pt x="108" y="8"/>
                        <a:pt x="104" y="13"/>
                        <a:pt x="104" y="13"/>
                      </a:cubicBezTo>
                      <a:cubicBezTo>
                        <a:pt x="104" y="13"/>
                        <a:pt x="84" y="6"/>
                        <a:pt x="81" y="7"/>
                      </a:cubicBezTo>
                      <a:cubicBezTo>
                        <a:pt x="78" y="8"/>
                        <a:pt x="73" y="9"/>
                        <a:pt x="73" y="9"/>
                      </a:cubicBezTo>
                      <a:cubicBezTo>
                        <a:pt x="73" y="9"/>
                        <a:pt x="66" y="4"/>
                        <a:pt x="60" y="2"/>
                      </a:cubicBezTo>
                      <a:cubicBezTo>
                        <a:pt x="54" y="0"/>
                        <a:pt x="52" y="2"/>
                        <a:pt x="46" y="5"/>
                      </a:cubicBezTo>
                      <a:cubicBezTo>
                        <a:pt x="40" y="8"/>
                        <a:pt x="33" y="8"/>
                        <a:pt x="13" y="11"/>
                      </a:cubicBezTo>
                      <a:cubicBezTo>
                        <a:pt x="7" y="12"/>
                        <a:pt x="3" y="14"/>
                        <a:pt x="0" y="16"/>
                      </a:cubicBezTo>
                      <a:cubicBezTo>
                        <a:pt x="0" y="20"/>
                        <a:pt x="1" y="23"/>
                        <a:pt x="1" y="23"/>
                      </a:cubicBezTo>
                      <a:cubicBezTo>
                        <a:pt x="1" y="23"/>
                        <a:pt x="2" y="58"/>
                        <a:pt x="11" y="60"/>
                      </a:cubicBezTo>
                      <a:cubicBezTo>
                        <a:pt x="13" y="60"/>
                        <a:pt x="14" y="62"/>
                        <a:pt x="14" y="64"/>
                      </a:cubicBezTo>
                      <a:cubicBezTo>
                        <a:pt x="19" y="64"/>
                        <a:pt x="19" y="64"/>
                        <a:pt x="19" y="64"/>
                      </a:cubicBezTo>
                      <a:cubicBezTo>
                        <a:pt x="22" y="70"/>
                        <a:pt x="22" y="70"/>
                        <a:pt x="22" y="70"/>
                      </a:cubicBezTo>
                      <a:cubicBezTo>
                        <a:pt x="30" y="69"/>
                        <a:pt x="30" y="69"/>
                        <a:pt x="30" y="69"/>
                      </a:cubicBezTo>
                      <a:cubicBezTo>
                        <a:pt x="32" y="75"/>
                        <a:pt x="32" y="75"/>
                        <a:pt x="32" y="75"/>
                      </a:cubicBezTo>
                      <a:cubicBezTo>
                        <a:pt x="32" y="75"/>
                        <a:pt x="56" y="72"/>
                        <a:pt x="64" y="71"/>
                      </a:cubicBezTo>
                      <a:cubicBezTo>
                        <a:pt x="72" y="70"/>
                        <a:pt x="75" y="81"/>
                        <a:pt x="74" y="86"/>
                      </a:cubicBezTo>
                      <a:cubicBezTo>
                        <a:pt x="73" y="91"/>
                        <a:pt x="65" y="98"/>
                        <a:pt x="65" y="98"/>
                      </a:cubicBezTo>
                      <a:cubicBezTo>
                        <a:pt x="70" y="108"/>
                        <a:pt x="70" y="108"/>
                        <a:pt x="70" y="108"/>
                      </a:cubicBezTo>
                      <a:cubicBezTo>
                        <a:pt x="71" y="108"/>
                        <a:pt x="73" y="108"/>
                        <a:pt x="74" y="108"/>
                      </a:cubicBezTo>
                      <a:cubicBezTo>
                        <a:pt x="87" y="110"/>
                        <a:pt x="103" y="119"/>
                        <a:pt x="103" y="119"/>
                      </a:cubicBezTo>
                      <a:cubicBezTo>
                        <a:pt x="103" y="132"/>
                        <a:pt x="103" y="132"/>
                        <a:pt x="103" y="132"/>
                      </a:cubicBezTo>
                      <a:cubicBezTo>
                        <a:pt x="103" y="132"/>
                        <a:pt x="119" y="128"/>
                        <a:pt x="127" y="127"/>
                      </a:cubicBezTo>
                      <a:cubicBezTo>
                        <a:pt x="135" y="126"/>
                        <a:pt x="137" y="132"/>
                        <a:pt x="137" y="132"/>
                      </a:cubicBezTo>
                      <a:cubicBezTo>
                        <a:pt x="155" y="132"/>
                        <a:pt x="155" y="132"/>
                        <a:pt x="155" y="132"/>
                      </a:cubicBezTo>
                      <a:cubicBezTo>
                        <a:pt x="157" y="122"/>
                        <a:pt x="157" y="122"/>
                        <a:pt x="157" y="122"/>
                      </a:cubicBezTo>
                      <a:cubicBezTo>
                        <a:pt x="165" y="130"/>
                        <a:pt x="165" y="130"/>
                        <a:pt x="165" y="130"/>
                      </a:cubicBezTo>
                      <a:cubicBezTo>
                        <a:pt x="169" y="122"/>
                        <a:pt x="169" y="122"/>
                        <a:pt x="169" y="122"/>
                      </a:cubicBezTo>
                      <a:cubicBezTo>
                        <a:pt x="169" y="122"/>
                        <a:pt x="177" y="115"/>
                        <a:pt x="187" y="115"/>
                      </a:cubicBezTo>
                      <a:cubicBezTo>
                        <a:pt x="197" y="115"/>
                        <a:pt x="186" y="124"/>
                        <a:pt x="193" y="123"/>
                      </a:cubicBezTo>
                      <a:cubicBezTo>
                        <a:pt x="200" y="122"/>
                        <a:pt x="193" y="111"/>
                        <a:pt x="188" y="103"/>
                      </a:cubicBezTo>
                      <a:cubicBezTo>
                        <a:pt x="183" y="95"/>
                        <a:pt x="195" y="96"/>
                        <a:pt x="195" y="96"/>
                      </a:cubicBezTo>
                      <a:cubicBezTo>
                        <a:pt x="195" y="96"/>
                        <a:pt x="191" y="88"/>
                        <a:pt x="193" y="81"/>
                      </a:cubicBezTo>
                      <a:cubicBezTo>
                        <a:pt x="195" y="74"/>
                        <a:pt x="208" y="79"/>
                        <a:pt x="208" y="79"/>
                      </a:cubicBezTo>
                      <a:cubicBezTo>
                        <a:pt x="204" y="66"/>
                        <a:pt x="204" y="66"/>
                        <a:pt x="204" y="66"/>
                      </a:cubicBezTo>
                      <a:cubicBezTo>
                        <a:pt x="204" y="66"/>
                        <a:pt x="211" y="71"/>
                        <a:pt x="217" y="71"/>
                      </a:cubicBezTo>
                      <a:cubicBezTo>
                        <a:pt x="223" y="71"/>
                        <a:pt x="230" y="65"/>
                        <a:pt x="230" y="65"/>
                      </a:cubicBezTo>
                      <a:cubicBezTo>
                        <a:pt x="230" y="65"/>
                        <a:pt x="214" y="55"/>
                        <a:pt x="216" y="50"/>
                      </a:cubicBezTo>
                      <a:cubicBezTo>
                        <a:pt x="217" y="48"/>
                        <a:pt x="219" y="45"/>
                        <a:pt x="222" y="4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39" name="Liechtenstein">
                  <a:extLst>
                    <a:ext uri="{FF2B5EF4-FFF2-40B4-BE49-F238E27FC236}">
                      <a16:creationId xmlns:a16="http://schemas.microsoft.com/office/drawing/2014/main" id="{7109F060-6E94-F006-BCBD-FCF46B9899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62302" y="2663401"/>
                  <a:ext cx="7938" cy="9521"/>
                </a:xfrm>
                <a:custGeom>
                  <a:avLst/>
                  <a:gdLst>
                    <a:gd name="T0" fmla="*/ 11 w 15"/>
                    <a:gd name="T1" fmla="*/ 1 h 16"/>
                    <a:gd name="T2" fmla="*/ 4 w 15"/>
                    <a:gd name="T3" fmla="*/ 14 h 16"/>
                    <a:gd name="T4" fmla="*/ 12 w 15"/>
                    <a:gd name="T5" fmla="*/ 16 h 16"/>
                    <a:gd name="T6" fmla="*/ 15 w 15"/>
                    <a:gd name="T7" fmla="*/ 16 h 16"/>
                    <a:gd name="T8" fmla="*/ 15 w 15"/>
                    <a:gd name="T9" fmla="*/ 6 h 16"/>
                    <a:gd name="T10" fmla="*/ 13 w 15"/>
                    <a:gd name="T11" fmla="*/ 0 h 16"/>
                    <a:gd name="T12" fmla="*/ 11 w 15"/>
                    <a:gd name="T13" fmla="*/ 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16">
                      <a:moveTo>
                        <a:pt x="11" y="1"/>
                      </a:moveTo>
                      <a:cubicBezTo>
                        <a:pt x="6" y="3"/>
                        <a:pt x="0" y="11"/>
                        <a:pt x="4" y="14"/>
                      </a:cubicBezTo>
                      <a:cubicBezTo>
                        <a:pt x="8" y="16"/>
                        <a:pt x="12" y="16"/>
                        <a:pt x="12" y="16"/>
                      </a:cubicBezTo>
                      <a:cubicBezTo>
                        <a:pt x="15" y="16"/>
                        <a:pt x="15" y="16"/>
                        <a:pt x="15" y="16"/>
                      </a:cubicBezTo>
                      <a:cubicBezTo>
                        <a:pt x="15" y="14"/>
                        <a:pt x="15" y="9"/>
                        <a:pt x="15" y="6"/>
                      </a:cubicBezTo>
                      <a:cubicBezTo>
                        <a:pt x="15" y="4"/>
                        <a:pt x="14" y="2"/>
                        <a:pt x="13" y="0"/>
                      </a:cubicBezTo>
                      <a:cubicBezTo>
                        <a:pt x="12" y="0"/>
                        <a:pt x="12" y="1"/>
                        <a:pt x="11" y="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0" name="Latvia">
                  <a:extLst>
                    <a:ext uri="{FF2B5EF4-FFF2-40B4-BE49-F238E27FC236}">
                      <a16:creationId xmlns:a16="http://schemas.microsoft.com/office/drawing/2014/main" id="{5CEC92C5-D9C0-B4E5-A7A0-50786E4B92C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119522" y="2352394"/>
                  <a:ext cx="160365" cy="69818"/>
                </a:xfrm>
                <a:custGeom>
                  <a:avLst/>
                  <a:gdLst>
                    <a:gd name="T0" fmla="*/ 5 w 286"/>
                    <a:gd name="T1" fmla="*/ 97 h 123"/>
                    <a:gd name="T2" fmla="*/ 18 w 286"/>
                    <a:gd name="T3" fmla="*/ 92 h 123"/>
                    <a:gd name="T4" fmla="*/ 51 w 286"/>
                    <a:gd name="T5" fmla="*/ 86 h 123"/>
                    <a:gd name="T6" fmla="*/ 65 w 286"/>
                    <a:gd name="T7" fmla="*/ 83 h 123"/>
                    <a:gd name="T8" fmla="*/ 78 w 286"/>
                    <a:gd name="T9" fmla="*/ 90 h 123"/>
                    <a:gd name="T10" fmla="*/ 86 w 286"/>
                    <a:gd name="T11" fmla="*/ 88 h 123"/>
                    <a:gd name="T12" fmla="*/ 109 w 286"/>
                    <a:gd name="T13" fmla="*/ 94 h 123"/>
                    <a:gd name="T14" fmla="*/ 118 w 286"/>
                    <a:gd name="T15" fmla="*/ 89 h 123"/>
                    <a:gd name="T16" fmla="*/ 133 w 286"/>
                    <a:gd name="T17" fmla="*/ 93 h 123"/>
                    <a:gd name="T18" fmla="*/ 150 w 286"/>
                    <a:gd name="T19" fmla="*/ 85 h 123"/>
                    <a:gd name="T20" fmla="*/ 162 w 286"/>
                    <a:gd name="T21" fmla="*/ 98 h 123"/>
                    <a:gd name="T22" fmla="*/ 189 w 286"/>
                    <a:gd name="T23" fmla="*/ 101 h 123"/>
                    <a:gd name="T24" fmla="*/ 200 w 286"/>
                    <a:gd name="T25" fmla="*/ 111 h 123"/>
                    <a:gd name="T26" fmla="*/ 215 w 286"/>
                    <a:gd name="T27" fmla="*/ 119 h 123"/>
                    <a:gd name="T28" fmla="*/ 227 w 286"/>
                    <a:gd name="T29" fmla="*/ 123 h 123"/>
                    <a:gd name="T30" fmla="*/ 243 w 286"/>
                    <a:gd name="T31" fmla="*/ 113 h 123"/>
                    <a:gd name="T32" fmla="*/ 259 w 286"/>
                    <a:gd name="T33" fmla="*/ 119 h 123"/>
                    <a:gd name="T34" fmla="*/ 264 w 286"/>
                    <a:gd name="T35" fmla="*/ 113 h 123"/>
                    <a:gd name="T36" fmla="*/ 278 w 286"/>
                    <a:gd name="T37" fmla="*/ 100 h 123"/>
                    <a:gd name="T38" fmla="*/ 286 w 286"/>
                    <a:gd name="T39" fmla="*/ 101 h 123"/>
                    <a:gd name="T40" fmla="*/ 280 w 286"/>
                    <a:gd name="T41" fmla="*/ 82 h 123"/>
                    <a:gd name="T42" fmla="*/ 268 w 286"/>
                    <a:gd name="T43" fmla="*/ 65 h 123"/>
                    <a:gd name="T44" fmla="*/ 255 w 286"/>
                    <a:gd name="T45" fmla="*/ 61 h 123"/>
                    <a:gd name="T46" fmla="*/ 256 w 286"/>
                    <a:gd name="T47" fmla="*/ 52 h 123"/>
                    <a:gd name="T48" fmla="*/ 268 w 286"/>
                    <a:gd name="T49" fmla="*/ 45 h 123"/>
                    <a:gd name="T50" fmla="*/ 246 w 286"/>
                    <a:gd name="T51" fmla="*/ 30 h 123"/>
                    <a:gd name="T52" fmla="*/ 238 w 286"/>
                    <a:gd name="T53" fmla="*/ 31 h 123"/>
                    <a:gd name="T54" fmla="*/ 225 w 286"/>
                    <a:gd name="T55" fmla="*/ 26 h 123"/>
                    <a:gd name="T56" fmla="*/ 214 w 286"/>
                    <a:gd name="T57" fmla="*/ 32 h 123"/>
                    <a:gd name="T58" fmla="*/ 194 w 286"/>
                    <a:gd name="T59" fmla="*/ 20 h 123"/>
                    <a:gd name="T60" fmla="*/ 166 w 286"/>
                    <a:gd name="T61" fmla="*/ 3 h 123"/>
                    <a:gd name="T62" fmla="*/ 145 w 286"/>
                    <a:gd name="T63" fmla="*/ 4 h 123"/>
                    <a:gd name="T64" fmla="*/ 124 w 286"/>
                    <a:gd name="T65" fmla="*/ 10 h 123"/>
                    <a:gd name="T66" fmla="*/ 120 w 286"/>
                    <a:gd name="T67" fmla="*/ 10 h 123"/>
                    <a:gd name="T68" fmla="*/ 119 w 286"/>
                    <a:gd name="T69" fmla="*/ 12 h 123"/>
                    <a:gd name="T70" fmla="*/ 123 w 286"/>
                    <a:gd name="T71" fmla="*/ 55 h 123"/>
                    <a:gd name="T72" fmla="*/ 86 w 286"/>
                    <a:gd name="T73" fmla="*/ 52 h 123"/>
                    <a:gd name="T74" fmla="*/ 79 w 286"/>
                    <a:gd name="T75" fmla="*/ 37 h 123"/>
                    <a:gd name="T76" fmla="*/ 56 w 286"/>
                    <a:gd name="T77" fmla="*/ 18 h 123"/>
                    <a:gd name="T78" fmla="*/ 21 w 286"/>
                    <a:gd name="T79" fmla="*/ 30 h 123"/>
                    <a:gd name="T80" fmla="*/ 16 w 286"/>
                    <a:gd name="T81" fmla="*/ 46 h 123"/>
                    <a:gd name="T82" fmla="*/ 0 w 286"/>
                    <a:gd name="T83" fmla="*/ 69 h 123"/>
                    <a:gd name="T84" fmla="*/ 6 w 286"/>
                    <a:gd name="T85" fmla="*/ 104 h 123"/>
                    <a:gd name="T86" fmla="*/ 5 w 286"/>
                    <a:gd name="T87" fmla="*/ 97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86" h="123">
                      <a:moveTo>
                        <a:pt x="5" y="97"/>
                      </a:moveTo>
                      <a:cubicBezTo>
                        <a:pt x="8" y="95"/>
                        <a:pt x="12" y="93"/>
                        <a:pt x="18" y="92"/>
                      </a:cubicBezTo>
                      <a:cubicBezTo>
                        <a:pt x="38" y="89"/>
                        <a:pt x="45" y="89"/>
                        <a:pt x="51" y="86"/>
                      </a:cubicBezTo>
                      <a:cubicBezTo>
                        <a:pt x="57" y="83"/>
                        <a:pt x="59" y="81"/>
                        <a:pt x="65" y="83"/>
                      </a:cubicBezTo>
                      <a:cubicBezTo>
                        <a:pt x="71" y="85"/>
                        <a:pt x="78" y="90"/>
                        <a:pt x="78" y="90"/>
                      </a:cubicBezTo>
                      <a:cubicBezTo>
                        <a:pt x="78" y="90"/>
                        <a:pt x="83" y="89"/>
                        <a:pt x="86" y="88"/>
                      </a:cubicBezTo>
                      <a:cubicBezTo>
                        <a:pt x="89" y="87"/>
                        <a:pt x="109" y="94"/>
                        <a:pt x="109" y="94"/>
                      </a:cubicBezTo>
                      <a:cubicBezTo>
                        <a:pt x="109" y="94"/>
                        <a:pt x="113" y="89"/>
                        <a:pt x="118" y="89"/>
                      </a:cubicBezTo>
                      <a:cubicBezTo>
                        <a:pt x="123" y="89"/>
                        <a:pt x="125" y="93"/>
                        <a:pt x="133" y="93"/>
                      </a:cubicBezTo>
                      <a:cubicBezTo>
                        <a:pt x="141" y="93"/>
                        <a:pt x="144" y="85"/>
                        <a:pt x="150" y="85"/>
                      </a:cubicBezTo>
                      <a:cubicBezTo>
                        <a:pt x="156" y="85"/>
                        <a:pt x="162" y="98"/>
                        <a:pt x="162" y="98"/>
                      </a:cubicBezTo>
                      <a:cubicBezTo>
                        <a:pt x="162" y="98"/>
                        <a:pt x="183" y="99"/>
                        <a:pt x="189" y="101"/>
                      </a:cubicBezTo>
                      <a:cubicBezTo>
                        <a:pt x="195" y="103"/>
                        <a:pt x="200" y="111"/>
                        <a:pt x="200" y="111"/>
                      </a:cubicBezTo>
                      <a:cubicBezTo>
                        <a:pt x="215" y="119"/>
                        <a:pt x="215" y="119"/>
                        <a:pt x="215" y="119"/>
                      </a:cubicBezTo>
                      <a:cubicBezTo>
                        <a:pt x="227" y="123"/>
                        <a:pt x="227" y="123"/>
                        <a:pt x="227" y="123"/>
                      </a:cubicBezTo>
                      <a:cubicBezTo>
                        <a:pt x="233" y="118"/>
                        <a:pt x="240" y="113"/>
                        <a:pt x="243" y="113"/>
                      </a:cubicBezTo>
                      <a:cubicBezTo>
                        <a:pt x="248" y="113"/>
                        <a:pt x="259" y="119"/>
                        <a:pt x="259" y="119"/>
                      </a:cubicBezTo>
                      <a:cubicBezTo>
                        <a:pt x="259" y="119"/>
                        <a:pt x="264" y="110"/>
                        <a:pt x="264" y="113"/>
                      </a:cubicBezTo>
                      <a:cubicBezTo>
                        <a:pt x="264" y="116"/>
                        <a:pt x="278" y="100"/>
                        <a:pt x="278" y="100"/>
                      </a:cubicBezTo>
                      <a:cubicBezTo>
                        <a:pt x="278" y="100"/>
                        <a:pt x="282" y="101"/>
                        <a:pt x="286" y="101"/>
                      </a:cubicBezTo>
                      <a:cubicBezTo>
                        <a:pt x="286" y="97"/>
                        <a:pt x="286" y="87"/>
                        <a:pt x="280" y="82"/>
                      </a:cubicBezTo>
                      <a:cubicBezTo>
                        <a:pt x="273" y="76"/>
                        <a:pt x="268" y="65"/>
                        <a:pt x="268" y="65"/>
                      </a:cubicBezTo>
                      <a:cubicBezTo>
                        <a:pt x="255" y="61"/>
                        <a:pt x="255" y="61"/>
                        <a:pt x="255" y="61"/>
                      </a:cubicBezTo>
                      <a:cubicBezTo>
                        <a:pt x="256" y="52"/>
                        <a:pt x="256" y="52"/>
                        <a:pt x="256" y="52"/>
                      </a:cubicBezTo>
                      <a:cubicBezTo>
                        <a:pt x="256" y="52"/>
                        <a:pt x="269" y="50"/>
                        <a:pt x="268" y="45"/>
                      </a:cubicBezTo>
                      <a:cubicBezTo>
                        <a:pt x="267" y="40"/>
                        <a:pt x="246" y="30"/>
                        <a:pt x="246" y="30"/>
                      </a:cubicBezTo>
                      <a:cubicBezTo>
                        <a:pt x="238" y="31"/>
                        <a:pt x="238" y="31"/>
                        <a:pt x="238" y="31"/>
                      </a:cubicBezTo>
                      <a:cubicBezTo>
                        <a:pt x="238" y="31"/>
                        <a:pt x="228" y="27"/>
                        <a:pt x="225" y="26"/>
                      </a:cubicBezTo>
                      <a:cubicBezTo>
                        <a:pt x="222" y="25"/>
                        <a:pt x="220" y="32"/>
                        <a:pt x="214" y="32"/>
                      </a:cubicBezTo>
                      <a:cubicBezTo>
                        <a:pt x="208" y="32"/>
                        <a:pt x="205" y="29"/>
                        <a:pt x="194" y="20"/>
                      </a:cubicBezTo>
                      <a:cubicBezTo>
                        <a:pt x="183" y="11"/>
                        <a:pt x="181" y="6"/>
                        <a:pt x="166" y="3"/>
                      </a:cubicBezTo>
                      <a:cubicBezTo>
                        <a:pt x="151" y="0"/>
                        <a:pt x="145" y="4"/>
                        <a:pt x="145" y="4"/>
                      </a:cubicBezTo>
                      <a:cubicBezTo>
                        <a:pt x="124" y="10"/>
                        <a:pt x="124" y="10"/>
                        <a:pt x="124" y="10"/>
                      </a:cubicBezTo>
                      <a:cubicBezTo>
                        <a:pt x="120" y="10"/>
                        <a:pt x="120" y="10"/>
                        <a:pt x="120" y="10"/>
                      </a:cubicBezTo>
                      <a:cubicBezTo>
                        <a:pt x="119" y="12"/>
                        <a:pt x="119" y="12"/>
                        <a:pt x="119" y="12"/>
                      </a:cubicBezTo>
                      <a:cubicBezTo>
                        <a:pt x="119" y="12"/>
                        <a:pt x="136" y="55"/>
                        <a:pt x="123" y="55"/>
                      </a:cubicBezTo>
                      <a:cubicBezTo>
                        <a:pt x="110" y="55"/>
                        <a:pt x="86" y="52"/>
                        <a:pt x="86" y="52"/>
                      </a:cubicBezTo>
                      <a:cubicBezTo>
                        <a:pt x="79" y="37"/>
                        <a:pt x="79" y="37"/>
                        <a:pt x="79" y="37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24" y="23"/>
                        <a:pt x="21" y="30"/>
                      </a:cubicBezTo>
                      <a:cubicBezTo>
                        <a:pt x="18" y="37"/>
                        <a:pt x="16" y="46"/>
                        <a:pt x="16" y="46"/>
                      </a:cubicBezTo>
                      <a:cubicBezTo>
                        <a:pt x="16" y="46"/>
                        <a:pt x="0" y="64"/>
                        <a:pt x="0" y="69"/>
                      </a:cubicBezTo>
                      <a:cubicBezTo>
                        <a:pt x="0" y="74"/>
                        <a:pt x="6" y="104"/>
                        <a:pt x="6" y="104"/>
                      </a:cubicBezTo>
                      <a:cubicBezTo>
                        <a:pt x="6" y="104"/>
                        <a:pt x="5" y="101"/>
                        <a:pt x="5" y="97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1" name="Italy">
                  <a:extLst>
                    <a:ext uri="{FF2B5EF4-FFF2-40B4-BE49-F238E27FC236}">
                      <a16:creationId xmlns:a16="http://schemas.microsoft.com/office/drawing/2014/main" id="{D26A04BD-650F-EAB1-B402-3658EFA857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797204" y="2669747"/>
                  <a:ext cx="293738" cy="309420"/>
                </a:xfrm>
                <a:custGeom>
                  <a:avLst/>
                  <a:gdLst>
                    <a:gd name="T0" fmla="*/ 341 w 523"/>
                    <a:gd name="T1" fmla="*/ 483 h 554"/>
                    <a:gd name="T2" fmla="*/ 278 w 523"/>
                    <a:gd name="T3" fmla="*/ 485 h 554"/>
                    <a:gd name="T4" fmla="*/ 281 w 523"/>
                    <a:gd name="T5" fmla="*/ 507 h 554"/>
                    <a:gd name="T6" fmla="*/ 330 w 523"/>
                    <a:gd name="T7" fmla="*/ 531 h 554"/>
                    <a:gd name="T8" fmla="*/ 372 w 523"/>
                    <a:gd name="T9" fmla="*/ 513 h 554"/>
                    <a:gd name="T10" fmla="*/ 378 w 523"/>
                    <a:gd name="T11" fmla="*/ 479 h 554"/>
                    <a:gd name="T12" fmla="*/ 68 w 523"/>
                    <a:gd name="T13" fmla="*/ 320 h 554"/>
                    <a:gd name="T14" fmla="*/ 75 w 523"/>
                    <a:gd name="T15" fmla="*/ 381 h 554"/>
                    <a:gd name="T16" fmla="*/ 78 w 523"/>
                    <a:gd name="T17" fmla="*/ 424 h 554"/>
                    <a:gd name="T18" fmla="*/ 103 w 523"/>
                    <a:gd name="T19" fmla="*/ 414 h 554"/>
                    <a:gd name="T20" fmla="*/ 133 w 523"/>
                    <a:gd name="T21" fmla="*/ 388 h 554"/>
                    <a:gd name="T22" fmla="*/ 140 w 523"/>
                    <a:gd name="T23" fmla="*/ 352 h 554"/>
                    <a:gd name="T24" fmla="*/ 481 w 523"/>
                    <a:gd name="T25" fmla="*/ 337 h 554"/>
                    <a:gd name="T26" fmla="*/ 414 w 523"/>
                    <a:gd name="T27" fmla="*/ 281 h 554"/>
                    <a:gd name="T28" fmla="*/ 311 w 523"/>
                    <a:gd name="T29" fmla="*/ 216 h 554"/>
                    <a:gd name="T30" fmla="*/ 249 w 523"/>
                    <a:gd name="T31" fmla="*/ 148 h 554"/>
                    <a:gd name="T32" fmla="*/ 244 w 523"/>
                    <a:gd name="T33" fmla="*/ 92 h 554"/>
                    <a:gd name="T34" fmla="*/ 294 w 523"/>
                    <a:gd name="T35" fmla="*/ 46 h 554"/>
                    <a:gd name="T36" fmla="*/ 265 w 523"/>
                    <a:gd name="T37" fmla="*/ 29 h 554"/>
                    <a:gd name="T38" fmla="*/ 243 w 523"/>
                    <a:gd name="T39" fmla="*/ 16 h 554"/>
                    <a:gd name="T40" fmla="*/ 195 w 523"/>
                    <a:gd name="T41" fmla="*/ 7 h 554"/>
                    <a:gd name="T42" fmla="*/ 165 w 523"/>
                    <a:gd name="T43" fmla="*/ 16 h 554"/>
                    <a:gd name="T44" fmla="*/ 154 w 523"/>
                    <a:gd name="T45" fmla="*/ 40 h 554"/>
                    <a:gd name="T46" fmla="*/ 124 w 523"/>
                    <a:gd name="T47" fmla="*/ 44 h 554"/>
                    <a:gd name="T48" fmla="*/ 107 w 523"/>
                    <a:gd name="T49" fmla="*/ 54 h 554"/>
                    <a:gd name="T50" fmla="*/ 85 w 523"/>
                    <a:gd name="T51" fmla="*/ 51 h 554"/>
                    <a:gd name="T52" fmla="*/ 60 w 523"/>
                    <a:gd name="T53" fmla="*/ 62 h 554"/>
                    <a:gd name="T54" fmla="*/ 19 w 523"/>
                    <a:gd name="T55" fmla="*/ 64 h 554"/>
                    <a:gd name="T56" fmla="*/ 28 w 523"/>
                    <a:gd name="T57" fmla="*/ 93 h 554"/>
                    <a:gd name="T58" fmla="*/ 6 w 523"/>
                    <a:gd name="T59" fmla="*/ 118 h 554"/>
                    <a:gd name="T60" fmla="*/ 12 w 523"/>
                    <a:gd name="T61" fmla="*/ 141 h 554"/>
                    <a:gd name="T62" fmla="*/ 45 w 523"/>
                    <a:gd name="T63" fmla="*/ 160 h 554"/>
                    <a:gd name="T64" fmla="*/ 58 w 523"/>
                    <a:gd name="T65" fmla="*/ 173 h 554"/>
                    <a:gd name="T66" fmla="*/ 160 w 523"/>
                    <a:gd name="T67" fmla="*/ 192 h 554"/>
                    <a:gd name="T68" fmla="*/ 193 w 523"/>
                    <a:gd name="T69" fmla="*/ 236 h 554"/>
                    <a:gd name="T70" fmla="*/ 259 w 523"/>
                    <a:gd name="T71" fmla="*/ 294 h 554"/>
                    <a:gd name="T72" fmla="*/ 325 w 523"/>
                    <a:gd name="T73" fmla="*/ 334 h 554"/>
                    <a:gd name="T74" fmla="*/ 397 w 523"/>
                    <a:gd name="T75" fmla="*/ 373 h 554"/>
                    <a:gd name="T76" fmla="*/ 418 w 523"/>
                    <a:gd name="T77" fmla="*/ 446 h 554"/>
                    <a:gd name="T78" fmla="*/ 395 w 523"/>
                    <a:gd name="T79" fmla="*/ 489 h 554"/>
                    <a:gd name="T80" fmla="*/ 435 w 523"/>
                    <a:gd name="T81" fmla="*/ 466 h 554"/>
                    <a:gd name="T82" fmla="*/ 452 w 523"/>
                    <a:gd name="T83" fmla="*/ 408 h 554"/>
                    <a:gd name="T84" fmla="*/ 468 w 523"/>
                    <a:gd name="T85" fmla="*/ 361 h 554"/>
                    <a:gd name="T86" fmla="*/ 515 w 523"/>
                    <a:gd name="T87" fmla="*/ 363 h 5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23" h="554">
                      <a:moveTo>
                        <a:pt x="378" y="479"/>
                      </a:moveTo>
                      <a:cubicBezTo>
                        <a:pt x="378" y="479"/>
                        <a:pt x="365" y="472"/>
                        <a:pt x="358" y="474"/>
                      </a:cubicBezTo>
                      <a:cubicBezTo>
                        <a:pt x="351" y="476"/>
                        <a:pt x="341" y="483"/>
                        <a:pt x="341" y="483"/>
                      </a:cubicBezTo>
                      <a:cubicBezTo>
                        <a:pt x="341" y="483"/>
                        <a:pt x="322" y="486"/>
                        <a:pt x="314" y="486"/>
                      </a:cubicBezTo>
                      <a:cubicBezTo>
                        <a:pt x="306" y="486"/>
                        <a:pt x="292" y="470"/>
                        <a:pt x="289" y="473"/>
                      </a:cubicBezTo>
                      <a:cubicBezTo>
                        <a:pt x="286" y="476"/>
                        <a:pt x="278" y="485"/>
                        <a:pt x="278" y="485"/>
                      </a:cubicBezTo>
                      <a:cubicBezTo>
                        <a:pt x="265" y="477"/>
                        <a:pt x="265" y="477"/>
                        <a:pt x="265" y="477"/>
                      </a:cubicBezTo>
                      <a:cubicBezTo>
                        <a:pt x="265" y="477"/>
                        <a:pt x="245" y="482"/>
                        <a:pt x="253" y="494"/>
                      </a:cubicBezTo>
                      <a:cubicBezTo>
                        <a:pt x="264" y="510"/>
                        <a:pt x="276" y="505"/>
                        <a:pt x="281" y="507"/>
                      </a:cubicBezTo>
                      <a:cubicBezTo>
                        <a:pt x="286" y="509"/>
                        <a:pt x="291" y="517"/>
                        <a:pt x="293" y="521"/>
                      </a:cubicBezTo>
                      <a:cubicBezTo>
                        <a:pt x="295" y="525"/>
                        <a:pt x="317" y="535"/>
                        <a:pt x="317" y="535"/>
                      </a:cubicBezTo>
                      <a:cubicBezTo>
                        <a:pt x="330" y="531"/>
                        <a:pt x="330" y="531"/>
                        <a:pt x="330" y="531"/>
                      </a:cubicBezTo>
                      <a:cubicBezTo>
                        <a:pt x="330" y="531"/>
                        <a:pt x="344" y="552"/>
                        <a:pt x="363" y="553"/>
                      </a:cubicBezTo>
                      <a:cubicBezTo>
                        <a:pt x="382" y="554"/>
                        <a:pt x="377" y="537"/>
                        <a:pt x="377" y="537"/>
                      </a:cubicBezTo>
                      <a:cubicBezTo>
                        <a:pt x="377" y="537"/>
                        <a:pt x="372" y="520"/>
                        <a:pt x="372" y="513"/>
                      </a:cubicBezTo>
                      <a:cubicBezTo>
                        <a:pt x="372" y="506"/>
                        <a:pt x="377" y="496"/>
                        <a:pt x="383" y="491"/>
                      </a:cubicBezTo>
                      <a:cubicBezTo>
                        <a:pt x="389" y="486"/>
                        <a:pt x="383" y="469"/>
                        <a:pt x="383" y="469"/>
                      </a:cubicBezTo>
                      <a:lnTo>
                        <a:pt x="378" y="479"/>
                      </a:lnTo>
                      <a:close/>
                      <a:moveTo>
                        <a:pt x="119" y="312"/>
                      </a:moveTo>
                      <a:cubicBezTo>
                        <a:pt x="107" y="311"/>
                        <a:pt x="95" y="332"/>
                        <a:pt x="87" y="332"/>
                      </a:cubicBezTo>
                      <a:cubicBezTo>
                        <a:pt x="79" y="332"/>
                        <a:pt x="68" y="320"/>
                        <a:pt x="68" y="320"/>
                      </a:cubicBezTo>
                      <a:cubicBezTo>
                        <a:pt x="64" y="331"/>
                        <a:pt x="64" y="331"/>
                        <a:pt x="64" y="331"/>
                      </a:cubicBezTo>
                      <a:cubicBezTo>
                        <a:pt x="64" y="331"/>
                        <a:pt x="79" y="344"/>
                        <a:pt x="79" y="354"/>
                      </a:cubicBezTo>
                      <a:cubicBezTo>
                        <a:pt x="79" y="364"/>
                        <a:pt x="75" y="381"/>
                        <a:pt x="75" y="381"/>
                      </a:cubicBezTo>
                      <a:cubicBezTo>
                        <a:pt x="81" y="388"/>
                        <a:pt x="81" y="388"/>
                        <a:pt x="81" y="388"/>
                      </a:cubicBezTo>
                      <a:cubicBezTo>
                        <a:pt x="73" y="393"/>
                        <a:pt x="73" y="393"/>
                        <a:pt x="73" y="393"/>
                      </a:cubicBezTo>
                      <a:cubicBezTo>
                        <a:pt x="78" y="424"/>
                        <a:pt x="78" y="424"/>
                        <a:pt x="78" y="424"/>
                      </a:cubicBezTo>
                      <a:cubicBezTo>
                        <a:pt x="69" y="424"/>
                        <a:pt x="69" y="424"/>
                        <a:pt x="69" y="424"/>
                      </a:cubicBezTo>
                      <a:cubicBezTo>
                        <a:pt x="82" y="435"/>
                        <a:pt x="82" y="435"/>
                        <a:pt x="82" y="435"/>
                      </a:cubicBezTo>
                      <a:cubicBezTo>
                        <a:pt x="98" y="435"/>
                        <a:pt x="103" y="414"/>
                        <a:pt x="103" y="414"/>
                      </a:cubicBezTo>
                      <a:cubicBezTo>
                        <a:pt x="103" y="414"/>
                        <a:pt x="115" y="430"/>
                        <a:pt x="124" y="423"/>
                      </a:cubicBezTo>
                      <a:cubicBezTo>
                        <a:pt x="133" y="416"/>
                        <a:pt x="129" y="398"/>
                        <a:pt x="129" y="398"/>
                      </a:cubicBezTo>
                      <a:cubicBezTo>
                        <a:pt x="133" y="388"/>
                        <a:pt x="133" y="388"/>
                        <a:pt x="133" y="388"/>
                      </a:cubicBezTo>
                      <a:cubicBezTo>
                        <a:pt x="133" y="371"/>
                        <a:pt x="133" y="371"/>
                        <a:pt x="133" y="371"/>
                      </a:cubicBezTo>
                      <a:cubicBezTo>
                        <a:pt x="133" y="371"/>
                        <a:pt x="127" y="369"/>
                        <a:pt x="128" y="364"/>
                      </a:cubicBezTo>
                      <a:cubicBezTo>
                        <a:pt x="129" y="359"/>
                        <a:pt x="140" y="359"/>
                        <a:pt x="140" y="352"/>
                      </a:cubicBezTo>
                      <a:cubicBezTo>
                        <a:pt x="140" y="345"/>
                        <a:pt x="131" y="313"/>
                        <a:pt x="119" y="312"/>
                      </a:cubicBezTo>
                      <a:close/>
                      <a:moveTo>
                        <a:pt x="515" y="363"/>
                      </a:moveTo>
                      <a:cubicBezTo>
                        <a:pt x="507" y="354"/>
                        <a:pt x="481" y="337"/>
                        <a:pt x="481" y="337"/>
                      </a:cubicBezTo>
                      <a:cubicBezTo>
                        <a:pt x="451" y="321"/>
                        <a:pt x="451" y="321"/>
                        <a:pt x="451" y="321"/>
                      </a:cubicBezTo>
                      <a:cubicBezTo>
                        <a:pt x="451" y="321"/>
                        <a:pt x="398" y="308"/>
                        <a:pt x="402" y="299"/>
                      </a:cubicBezTo>
                      <a:cubicBezTo>
                        <a:pt x="406" y="290"/>
                        <a:pt x="415" y="289"/>
                        <a:pt x="414" y="281"/>
                      </a:cubicBezTo>
                      <a:cubicBezTo>
                        <a:pt x="413" y="273"/>
                        <a:pt x="365" y="271"/>
                        <a:pt x="365" y="271"/>
                      </a:cubicBezTo>
                      <a:cubicBezTo>
                        <a:pt x="365" y="271"/>
                        <a:pt x="351" y="266"/>
                        <a:pt x="334" y="249"/>
                      </a:cubicBezTo>
                      <a:cubicBezTo>
                        <a:pt x="317" y="232"/>
                        <a:pt x="311" y="216"/>
                        <a:pt x="311" y="216"/>
                      </a:cubicBezTo>
                      <a:cubicBezTo>
                        <a:pt x="311" y="216"/>
                        <a:pt x="306" y="192"/>
                        <a:pt x="296" y="186"/>
                      </a:cubicBezTo>
                      <a:cubicBezTo>
                        <a:pt x="286" y="180"/>
                        <a:pt x="275" y="170"/>
                        <a:pt x="275" y="170"/>
                      </a:cubicBezTo>
                      <a:cubicBezTo>
                        <a:pt x="249" y="148"/>
                        <a:pt x="249" y="148"/>
                        <a:pt x="249" y="148"/>
                      </a:cubicBezTo>
                      <a:cubicBezTo>
                        <a:pt x="249" y="148"/>
                        <a:pt x="235" y="126"/>
                        <a:pt x="240" y="124"/>
                      </a:cubicBezTo>
                      <a:cubicBezTo>
                        <a:pt x="245" y="122"/>
                        <a:pt x="253" y="120"/>
                        <a:pt x="253" y="115"/>
                      </a:cubicBezTo>
                      <a:cubicBezTo>
                        <a:pt x="253" y="110"/>
                        <a:pt x="236" y="101"/>
                        <a:pt x="244" y="92"/>
                      </a:cubicBezTo>
                      <a:cubicBezTo>
                        <a:pt x="252" y="83"/>
                        <a:pt x="275" y="77"/>
                        <a:pt x="275" y="77"/>
                      </a:cubicBezTo>
                      <a:cubicBezTo>
                        <a:pt x="289" y="71"/>
                        <a:pt x="289" y="71"/>
                        <a:pt x="289" y="71"/>
                      </a:cubicBezTo>
                      <a:cubicBezTo>
                        <a:pt x="294" y="46"/>
                        <a:pt x="294" y="46"/>
                        <a:pt x="294" y="46"/>
                      </a:cubicBezTo>
                      <a:cubicBezTo>
                        <a:pt x="286" y="43"/>
                        <a:pt x="286" y="43"/>
                        <a:pt x="286" y="43"/>
                      </a:cubicBezTo>
                      <a:cubicBezTo>
                        <a:pt x="286" y="43"/>
                        <a:pt x="294" y="36"/>
                        <a:pt x="291" y="30"/>
                      </a:cubicBezTo>
                      <a:cubicBezTo>
                        <a:pt x="288" y="25"/>
                        <a:pt x="265" y="29"/>
                        <a:pt x="265" y="29"/>
                      </a:cubicBezTo>
                      <a:cubicBezTo>
                        <a:pt x="253" y="29"/>
                        <a:pt x="253" y="29"/>
                        <a:pt x="253" y="29"/>
                      </a:cubicBezTo>
                      <a:cubicBezTo>
                        <a:pt x="248" y="16"/>
                        <a:pt x="248" y="16"/>
                        <a:pt x="248" y="16"/>
                      </a:cubicBezTo>
                      <a:cubicBezTo>
                        <a:pt x="243" y="16"/>
                        <a:pt x="243" y="16"/>
                        <a:pt x="243" y="16"/>
                      </a:cubicBezTo>
                      <a:cubicBezTo>
                        <a:pt x="243" y="16"/>
                        <a:pt x="242" y="2"/>
                        <a:pt x="233" y="1"/>
                      </a:cubicBezTo>
                      <a:cubicBezTo>
                        <a:pt x="223" y="0"/>
                        <a:pt x="221" y="9"/>
                        <a:pt x="221" y="9"/>
                      </a:cubicBezTo>
                      <a:cubicBezTo>
                        <a:pt x="195" y="7"/>
                        <a:pt x="195" y="7"/>
                        <a:pt x="195" y="7"/>
                      </a:cubicBezTo>
                      <a:cubicBezTo>
                        <a:pt x="185" y="19"/>
                        <a:pt x="185" y="19"/>
                        <a:pt x="185" y="19"/>
                      </a:cubicBezTo>
                      <a:cubicBezTo>
                        <a:pt x="179" y="15"/>
                        <a:pt x="179" y="15"/>
                        <a:pt x="179" y="15"/>
                      </a:cubicBezTo>
                      <a:cubicBezTo>
                        <a:pt x="165" y="16"/>
                        <a:pt x="165" y="16"/>
                        <a:pt x="165" y="16"/>
                      </a:cubicBezTo>
                      <a:cubicBezTo>
                        <a:pt x="163" y="29"/>
                        <a:pt x="163" y="29"/>
                        <a:pt x="163" y="29"/>
                      </a:cubicBezTo>
                      <a:cubicBezTo>
                        <a:pt x="163" y="29"/>
                        <a:pt x="161" y="25"/>
                        <a:pt x="150" y="27"/>
                      </a:cubicBezTo>
                      <a:cubicBezTo>
                        <a:pt x="139" y="29"/>
                        <a:pt x="154" y="40"/>
                        <a:pt x="154" y="40"/>
                      </a:cubicBezTo>
                      <a:cubicBezTo>
                        <a:pt x="149" y="46"/>
                        <a:pt x="149" y="46"/>
                        <a:pt x="149" y="46"/>
                      </a:cubicBezTo>
                      <a:cubicBezTo>
                        <a:pt x="138" y="41"/>
                        <a:pt x="138" y="41"/>
                        <a:pt x="138" y="41"/>
                      </a:cubicBezTo>
                      <a:cubicBezTo>
                        <a:pt x="124" y="44"/>
                        <a:pt x="124" y="44"/>
                        <a:pt x="124" y="44"/>
                      </a:cubicBezTo>
                      <a:cubicBezTo>
                        <a:pt x="118" y="32"/>
                        <a:pt x="118" y="32"/>
                        <a:pt x="118" y="32"/>
                      </a:cubicBezTo>
                      <a:cubicBezTo>
                        <a:pt x="113" y="48"/>
                        <a:pt x="113" y="48"/>
                        <a:pt x="113" y="48"/>
                      </a:cubicBezTo>
                      <a:cubicBezTo>
                        <a:pt x="107" y="54"/>
                        <a:pt x="107" y="54"/>
                        <a:pt x="107" y="54"/>
                      </a:cubicBezTo>
                      <a:cubicBezTo>
                        <a:pt x="106" y="69"/>
                        <a:pt x="106" y="69"/>
                        <a:pt x="106" y="69"/>
                      </a:cubicBezTo>
                      <a:cubicBezTo>
                        <a:pt x="90" y="52"/>
                        <a:pt x="90" y="52"/>
                        <a:pt x="90" y="52"/>
                      </a:cubicBezTo>
                      <a:cubicBezTo>
                        <a:pt x="85" y="51"/>
                        <a:pt x="85" y="51"/>
                        <a:pt x="85" y="51"/>
                      </a:cubicBezTo>
                      <a:cubicBezTo>
                        <a:pt x="85" y="51"/>
                        <a:pt x="81" y="36"/>
                        <a:pt x="77" y="36"/>
                      </a:cubicBezTo>
                      <a:cubicBezTo>
                        <a:pt x="73" y="36"/>
                        <a:pt x="66" y="42"/>
                        <a:pt x="66" y="42"/>
                      </a:cubicBezTo>
                      <a:cubicBezTo>
                        <a:pt x="66" y="42"/>
                        <a:pt x="70" y="53"/>
                        <a:pt x="60" y="62"/>
                      </a:cubicBezTo>
                      <a:cubicBezTo>
                        <a:pt x="50" y="70"/>
                        <a:pt x="45" y="57"/>
                        <a:pt x="40" y="57"/>
                      </a:cubicBezTo>
                      <a:cubicBezTo>
                        <a:pt x="35" y="57"/>
                        <a:pt x="26" y="64"/>
                        <a:pt x="26" y="64"/>
                      </a:cubicBezTo>
                      <a:cubicBezTo>
                        <a:pt x="19" y="64"/>
                        <a:pt x="19" y="64"/>
                        <a:pt x="19" y="64"/>
                      </a:cubicBezTo>
                      <a:cubicBezTo>
                        <a:pt x="19" y="68"/>
                        <a:pt x="9" y="72"/>
                        <a:pt x="9" y="72"/>
                      </a:cubicBezTo>
                      <a:cubicBezTo>
                        <a:pt x="17" y="80"/>
                        <a:pt x="17" y="80"/>
                        <a:pt x="17" y="80"/>
                      </a:cubicBezTo>
                      <a:cubicBezTo>
                        <a:pt x="17" y="80"/>
                        <a:pt x="28" y="84"/>
                        <a:pt x="28" y="93"/>
                      </a:cubicBezTo>
                      <a:cubicBezTo>
                        <a:pt x="28" y="102"/>
                        <a:pt x="9" y="103"/>
                        <a:pt x="9" y="103"/>
                      </a:cubicBezTo>
                      <a:cubicBezTo>
                        <a:pt x="0" y="105"/>
                        <a:pt x="0" y="105"/>
                        <a:pt x="0" y="105"/>
                      </a:cubicBezTo>
                      <a:cubicBezTo>
                        <a:pt x="6" y="118"/>
                        <a:pt x="6" y="118"/>
                        <a:pt x="6" y="118"/>
                      </a:cubicBezTo>
                      <a:cubicBezTo>
                        <a:pt x="13" y="118"/>
                        <a:pt x="13" y="118"/>
                        <a:pt x="13" y="118"/>
                      </a:cubicBezTo>
                      <a:cubicBezTo>
                        <a:pt x="13" y="118"/>
                        <a:pt x="17" y="121"/>
                        <a:pt x="18" y="126"/>
                      </a:cubicBezTo>
                      <a:cubicBezTo>
                        <a:pt x="19" y="131"/>
                        <a:pt x="13" y="131"/>
                        <a:pt x="12" y="141"/>
                      </a:cubicBezTo>
                      <a:cubicBezTo>
                        <a:pt x="11" y="151"/>
                        <a:pt x="25" y="152"/>
                        <a:pt x="25" y="152"/>
                      </a:cubicBezTo>
                      <a:cubicBezTo>
                        <a:pt x="28" y="158"/>
                        <a:pt x="28" y="158"/>
                        <a:pt x="28" y="158"/>
                      </a:cubicBezTo>
                      <a:cubicBezTo>
                        <a:pt x="28" y="158"/>
                        <a:pt x="42" y="156"/>
                        <a:pt x="45" y="160"/>
                      </a:cubicBezTo>
                      <a:cubicBezTo>
                        <a:pt x="48" y="164"/>
                        <a:pt x="42" y="174"/>
                        <a:pt x="38" y="174"/>
                      </a:cubicBezTo>
                      <a:cubicBezTo>
                        <a:pt x="36" y="174"/>
                        <a:pt x="35" y="176"/>
                        <a:pt x="35" y="179"/>
                      </a:cubicBezTo>
                      <a:cubicBezTo>
                        <a:pt x="44" y="178"/>
                        <a:pt x="54" y="177"/>
                        <a:pt x="58" y="173"/>
                      </a:cubicBezTo>
                      <a:cubicBezTo>
                        <a:pt x="65" y="166"/>
                        <a:pt x="83" y="145"/>
                        <a:pt x="93" y="145"/>
                      </a:cubicBezTo>
                      <a:cubicBezTo>
                        <a:pt x="103" y="145"/>
                        <a:pt x="132" y="152"/>
                        <a:pt x="144" y="162"/>
                      </a:cubicBezTo>
                      <a:cubicBezTo>
                        <a:pt x="156" y="172"/>
                        <a:pt x="160" y="192"/>
                        <a:pt x="160" y="192"/>
                      </a:cubicBezTo>
                      <a:cubicBezTo>
                        <a:pt x="168" y="200"/>
                        <a:pt x="168" y="200"/>
                        <a:pt x="168" y="200"/>
                      </a:cubicBezTo>
                      <a:cubicBezTo>
                        <a:pt x="168" y="200"/>
                        <a:pt x="160" y="221"/>
                        <a:pt x="169" y="226"/>
                      </a:cubicBezTo>
                      <a:cubicBezTo>
                        <a:pt x="178" y="231"/>
                        <a:pt x="193" y="236"/>
                        <a:pt x="193" y="236"/>
                      </a:cubicBezTo>
                      <a:cubicBezTo>
                        <a:pt x="197" y="249"/>
                        <a:pt x="197" y="249"/>
                        <a:pt x="197" y="249"/>
                      </a:cubicBezTo>
                      <a:cubicBezTo>
                        <a:pt x="217" y="250"/>
                        <a:pt x="217" y="250"/>
                        <a:pt x="217" y="250"/>
                      </a:cubicBezTo>
                      <a:cubicBezTo>
                        <a:pt x="217" y="250"/>
                        <a:pt x="250" y="284"/>
                        <a:pt x="259" y="294"/>
                      </a:cubicBezTo>
                      <a:cubicBezTo>
                        <a:pt x="268" y="304"/>
                        <a:pt x="276" y="313"/>
                        <a:pt x="276" y="313"/>
                      </a:cubicBezTo>
                      <a:cubicBezTo>
                        <a:pt x="303" y="314"/>
                        <a:pt x="303" y="314"/>
                        <a:pt x="303" y="314"/>
                      </a:cubicBezTo>
                      <a:cubicBezTo>
                        <a:pt x="303" y="314"/>
                        <a:pt x="310" y="329"/>
                        <a:pt x="325" y="334"/>
                      </a:cubicBezTo>
                      <a:cubicBezTo>
                        <a:pt x="340" y="339"/>
                        <a:pt x="359" y="335"/>
                        <a:pt x="362" y="342"/>
                      </a:cubicBezTo>
                      <a:cubicBezTo>
                        <a:pt x="365" y="349"/>
                        <a:pt x="366" y="372"/>
                        <a:pt x="379" y="375"/>
                      </a:cubicBezTo>
                      <a:cubicBezTo>
                        <a:pt x="392" y="378"/>
                        <a:pt x="397" y="373"/>
                        <a:pt x="397" y="373"/>
                      </a:cubicBezTo>
                      <a:cubicBezTo>
                        <a:pt x="397" y="373"/>
                        <a:pt x="400" y="392"/>
                        <a:pt x="402" y="406"/>
                      </a:cubicBezTo>
                      <a:cubicBezTo>
                        <a:pt x="404" y="420"/>
                        <a:pt x="417" y="419"/>
                        <a:pt x="417" y="429"/>
                      </a:cubicBezTo>
                      <a:cubicBezTo>
                        <a:pt x="417" y="439"/>
                        <a:pt x="418" y="446"/>
                        <a:pt x="418" y="446"/>
                      </a:cubicBezTo>
                      <a:cubicBezTo>
                        <a:pt x="405" y="445"/>
                        <a:pt x="405" y="445"/>
                        <a:pt x="405" y="445"/>
                      </a:cubicBezTo>
                      <a:cubicBezTo>
                        <a:pt x="404" y="460"/>
                        <a:pt x="404" y="460"/>
                        <a:pt x="404" y="460"/>
                      </a:cubicBezTo>
                      <a:cubicBezTo>
                        <a:pt x="404" y="460"/>
                        <a:pt x="384" y="489"/>
                        <a:pt x="395" y="489"/>
                      </a:cubicBezTo>
                      <a:cubicBezTo>
                        <a:pt x="406" y="489"/>
                        <a:pt x="414" y="483"/>
                        <a:pt x="414" y="483"/>
                      </a:cubicBezTo>
                      <a:cubicBezTo>
                        <a:pt x="422" y="468"/>
                        <a:pt x="422" y="468"/>
                        <a:pt x="422" y="468"/>
                      </a:cubicBezTo>
                      <a:cubicBezTo>
                        <a:pt x="435" y="466"/>
                        <a:pt x="435" y="466"/>
                        <a:pt x="435" y="466"/>
                      </a:cubicBezTo>
                      <a:cubicBezTo>
                        <a:pt x="435" y="466"/>
                        <a:pt x="432" y="444"/>
                        <a:pt x="436" y="441"/>
                      </a:cubicBezTo>
                      <a:cubicBezTo>
                        <a:pt x="440" y="438"/>
                        <a:pt x="461" y="432"/>
                        <a:pt x="461" y="432"/>
                      </a:cubicBezTo>
                      <a:cubicBezTo>
                        <a:pt x="461" y="432"/>
                        <a:pt x="456" y="412"/>
                        <a:pt x="452" y="408"/>
                      </a:cubicBezTo>
                      <a:cubicBezTo>
                        <a:pt x="448" y="404"/>
                        <a:pt x="430" y="399"/>
                        <a:pt x="431" y="392"/>
                      </a:cubicBezTo>
                      <a:cubicBezTo>
                        <a:pt x="432" y="385"/>
                        <a:pt x="445" y="351"/>
                        <a:pt x="453" y="354"/>
                      </a:cubicBezTo>
                      <a:cubicBezTo>
                        <a:pt x="461" y="357"/>
                        <a:pt x="468" y="361"/>
                        <a:pt x="468" y="361"/>
                      </a:cubicBezTo>
                      <a:cubicBezTo>
                        <a:pt x="488" y="361"/>
                        <a:pt x="488" y="361"/>
                        <a:pt x="488" y="361"/>
                      </a:cubicBezTo>
                      <a:cubicBezTo>
                        <a:pt x="488" y="361"/>
                        <a:pt x="491" y="384"/>
                        <a:pt x="505" y="385"/>
                      </a:cubicBezTo>
                      <a:cubicBezTo>
                        <a:pt x="519" y="386"/>
                        <a:pt x="523" y="372"/>
                        <a:pt x="515" y="363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2" name="Ireland">
                  <a:extLst>
                    <a:ext uri="{FF2B5EF4-FFF2-40B4-BE49-F238E27FC236}">
                      <a16:creationId xmlns:a16="http://schemas.microsoft.com/office/drawing/2014/main" id="{546D1C74-0339-30BE-9DA1-9E7108C3184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14549" y="2431732"/>
                  <a:ext cx="106380" cy="112661"/>
                </a:xfrm>
                <a:custGeom>
                  <a:avLst/>
                  <a:gdLst>
                    <a:gd name="T0" fmla="*/ 186 w 189"/>
                    <a:gd name="T1" fmla="*/ 104 h 202"/>
                    <a:gd name="T2" fmla="*/ 177 w 189"/>
                    <a:gd name="T3" fmla="*/ 87 h 202"/>
                    <a:gd name="T4" fmla="*/ 175 w 189"/>
                    <a:gd name="T5" fmla="*/ 73 h 202"/>
                    <a:gd name="T6" fmla="*/ 189 w 189"/>
                    <a:gd name="T7" fmla="*/ 66 h 202"/>
                    <a:gd name="T8" fmla="*/ 167 w 189"/>
                    <a:gd name="T9" fmla="*/ 61 h 202"/>
                    <a:gd name="T10" fmla="*/ 155 w 189"/>
                    <a:gd name="T11" fmla="*/ 45 h 202"/>
                    <a:gd name="T12" fmla="*/ 138 w 189"/>
                    <a:gd name="T13" fmla="*/ 61 h 202"/>
                    <a:gd name="T14" fmla="*/ 113 w 189"/>
                    <a:gd name="T15" fmla="*/ 51 h 202"/>
                    <a:gd name="T16" fmla="*/ 129 w 189"/>
                    <a:gd name="T17" fmla="*/ 38 h 202"/>
                    <a:gd name="T18" fmla="*/ 128 w 189"/>
                    <a:gd name="T19" fmla="*/ 28 h 202"/>
                    <a:gd name="T20" fmla="*/ 158 w 189"/>
                    <a:gd name="T21" fmla="*/ 14 h 202"/>
                    <a:gd name="T22" fmla="*/ 161 w 189"/>
                    <a:gd name="T23" fmla="*/ 7 h 202"/>
                    <a:gd name="T24" fmla="*/ 153 w 189"/>
                    <a:gd name="T25" fmla="*/ 2 h 202"/>
                    <a:gd name="T26" fmla="*/ 138 w 189"/>
                    <a:gd name="T27" fmla="*/ 14 h 202"/>
                    <a:gd name="T28" fmla="*/ 134 w 189"/>
                    <a:gd name="T29" fmla="*/ 4 h 202"/>
                    <a:gd name="T30" fmla="*/ 107 w 189"/>
                    <a:gd name="T31" fmla="*/ 9 h 202"/>
                    <a:gd name="T32" fmla="*/ 99 w 189"/>
                    <a:gd name="T33" fmla="*/ 30 h 202"/>
                    <a:gd name="T34" fmla="*/ 84 w 189"/>
                    <a:gd name="T35" fmla="*/ 35 h 202"/>
                    <a:gd name="T36" fmla="*/ 102 w 189"/>
                    <a:gd name="T37" fmla="*/ 44 h 202"/>
                    <a:gd name="T38" fmla="*/ 92 w 189"/>
                    <a:gd name="T39" fmla="*/ 50 h 202"/>
                    <a:gd name="T40" fmla="*/ 87 w 189"/>
                    <a:gd name="T41" fmla="*/ 57 h 202"/>
                    <a:gd name="T42" fmla="*/ 69 w 189"/>
                    <a:gd name="T43" fmla="*/ 56 h 202"/>
                    <a:gd name="T44" fmla="*/ 69 w 189"/>
                    <a:gd name="T45" fmla="*/ 61 h 202"/>
                    <a:gd name="T46" fmla="*/ 48 w 189"/>
                    <a:gd name="T47" fmla="*/ 51 h 202"/>
                    <a:gd name="T48" fmla="*/ 30 w 189"/>
                    <a:gd name="T49" fmla="*/ 54 h 202"/>
                    <a:gd name="T50" fmla="*/ 33 w 189"/>
                    <a:gd name="T51" fmla="*/ 71 h 202"/>
                    <a:gd name="T52" fmla="*/ 42 w 189"/>
                    <a:gd name="T53" fmla="*/ 79 h 202"/>
                    <a:gd name="T54" fmla="*/ 31 w 189"/>
                    <a:gd name="T55" fmla="*/ 86 h 202"/>
                    <a:gd name="T56" fmla="*/ 25 w 189"/>
                    <a:gd name="T57" fmla="*/ 98 h 202"/>
                    <a:gd name="T58" fmla="*/ 48 w 189"/>
                    <a:gd name="T59" fmla="*/ 107 h 202"/>
                    <a:gd name="T60" fmla="*/ 66 w 189"/>
                    <a:gd name="T61" fmla="*/ 107 h 202"/>
                    <a:gd name="T62" fmla="*/ 50 w 189"/>
                    <a:gd name="T63" fmla="*/ 116 h 202"/>
                    <a:gd name="T64" fmla="*/ 50 w 189"/>
                    <a:gd name="T65" fmla="*/ 130 h 202"/>
                    <a:gd name="T66" fmla="*/ 35 w 189"/>
                    <a:gd name="T67" fmla="*/ 134 h 202"/>
                    <a:gd name="T68" fmla="*/ 30 w 189"/>
                    <a:gd name="T69" fmla="*/ 156 h 202"/>
                    <a:gd name="T70" fmla="*/ 4 w 189"/>
                    <a:gd name="T71" fmla="*/ 161 h 202"/>
                    <a:gd name="T72" fmla="*/ 15 w 189"/>
                    <a:gd name="T73" fmla="*/ 167 h 202"/>
                    <a:gd name="T74" fmla="*/ 0 w 189"/>
                    <a:gd name="T75" fmla="*/ 176 h 202"/>
                    <a:gd name="T76" fmla="*/ 7 w 189"/>
                    <a:gd name="T77" fmla="*/ 183 h 202"/>
                    <a:gd name="T78" fmla="*/ 30 w 189"/>
                    <a:gd name="T79" fmla="*/ 180 h 202"/>
                    <a:gd name="T80" fmla="*/ 19 w 189"/>
                    <a:gd name="T81" fmla="*/ 192 h 202"/>
                    <a:gd name="T82" fmla="*/ 35 w 189"/>
                    <a:gd name="T83" fmla="*/ 190 h 202"/>
                    <a:gd name="T84" fmla="*/ 29 w 189"/>
                    <a:gd name="T85" fmla="*/ 202 h 202"/>
                    <a:gd name="T86" fmla="*/ 74 w 189"/>
                    <a:gd name="T87" fmla="*/ 191 h 202"/>
                    <a:gd name="T88" fmla="*/ 83 w 189"/>
                    <a:gd name="T89" fmla="*/ 178 h 202"/>
                    <a:gd name="T90" fmla="*/ 102 w 189"/>
                    <a:gd name="T91" fmla="*/ 178 h 202"/>
                    <a:gd name="T92" fmla="*/ 124 w 189"/>
                    <a:gd name="T93" fmla="*/ 166 h 202"/>
                    <a:gd name="T94" fmla="*/ 140 w 189"/>
                    <a:gd name="T95" fmla="*/ 165 h 202"/>
                    <a:gd name="T96" fmla="*/ 143 w 189"/>
                    <a:gd name="T97" fmla="*/ 159 h 202"/>
                    <a:gd name="T98" fmla="*/ 168 w 189"/>
                    <a:gd name="T99" fmla="*/ 160 h 202"/>
                    <a:gd name="T100" fmla="*/ 167 w 189"/>
                    <a:gd name="T101" fmla="*/ 148 h 202"/>
                    <a:gd name="T102" fmla="*/ 179 w 189"/>
                    <a:gd name="T103" fmla="*/ 146 h 202"/>
                    <a:gd name="T104" fmla="*/ 178 w 189"/>
                    <a:gd name="T105" fmla="*/ 133 h 202"/>
                    <a:gd name="T106" fmla="*/ 186 w 189"/>
                    <a:gd name="T107" fmla="*/ 104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89" h="202">
                      <a:moveTo>
                        <a:pt x="186" y="104"/>
                      </a:moveTo>
                      <a:cubicBezTo>
                        <a:pt x="186" y="94"/>
                        <a:pt x="177" y="87"/>
                        <a:pt x="177" y="87"/>
                      </a:cubicBezTo>
                      <a:cubicBezTo>
                        <a:pt x="177" y="87"/>
                        <a:pt x="177" y="78"/>
                        <a:pt x="175" y="73"/>
                      </a:cubicBezTo>
                      <a:cubicBezTo>
                        <a:pt x="175" y="69"/>
                        <a:pt x="184" y="68"/>
                        <a:pt x="189" y="66"/>
                      </a:cubicBezTo>
                      <a:cubicBezTo>
                        <a:pt x="167" y="61"/>
                        <a:pt x="167" y="61"/>
                        <a:pt x="167" y="61"/>
                      </a:cubicBezTo>
                      <a:cubicBezTo>
                        <a:pt x="155" y="45"/>
                        <a:pt x="155" y="45"/>
                        <a:pt x="155" y="45"/>
                      </a:cubicBezTo>
                      <a:cubicBezTo>
                        <a:pt x="138" y="61"/>
                        <a:pt x="138" y="61"/>
                        <a:pt x="138" y="61"/>
                      </a:cubicBezTo>
                      <a:cubicBezTo>
                        <a:pt x="138" y="61"/>
                        <a:pt x="126" y="59"/>
                        <a:pt x="113" y="51"/>
                      </a:cubicBezTo>
                      <a:cubicBezTo>
                        <a:pt x="100" y="44"/>
                        <a:pt x="129" y="38"/>
                        <a:pt x="129" y="38"/>
                      </a:cubicBezTo>
                      <a:cubicBezTo>
                        <a:pt x="128" y="28"/>
                        <a:pt x="128" y="28"/>
                        <a:pt x="128" y="28"/>
                      </a:cubicBezTo>
                      <a:cubicBezTo>
                        <a:pt x="158" y="14"/>
                        <a:pt x="158" y="14"/>
                        <a:pt x="158" y="14"/>
                      </a:cubicBezTo>
                      <a:cubicBezTo>
                        <a:pt x="161" y="7"/>
                        <a:pt x="161" y="7"/>
                        <a:pt x="161" y="7"/>
                      </a:cubicBezTo>
                      <a:cubicBezTo>
                        <a:pt x="160" y="6"/>
                        <a:pt x="158" y="4"/>
                        <a:pt x="153" y="2"/>
                      </a:cubicBezTo>
                      <a:cubicBezTo>
                        <a:pt x="146" y="0"/>
                        <a:pt x="138" y="14"/>
                        <a:pt x="138" y="14"/>
                      </a:cubicBezTo>
                      <a:cubicBezTo>
                        <a:pt x="134" y="4"/>
                        <a:pt x="134" y="4"/>
                        <a:pt x="134" y="4"/>
                      </a:cubicBezTo>
                      <a:cubicBezTo>
                        <a:pt x="134" y="4"/>
                        <a:pt x="111" y="4"/>
                        <a:pt x="107" y="9"/>
                      </a:cubicBezTo>
                      <a:cubicBezTo>
                        <a:pt x="103" y="15"/>
                        <a:pt x="99" y="30"/>
                        <a:pt x="99" y="30"/>
                      </a:cubicBezTo>
                      <a:cubicBezTo>
                        <a:pt x="99" y="30"/>
                        <a:pt x="84" y="29"/>
                        <a:pt x="84" y="35"/>
                      </a:cubicBezTo>
                      <a:cubicBezTo>
                        <a:pt x="84" y="41"/>
                        <a:pt x="106" y="37"/>
                        <a:pt x="102" y="44"/>
                      </a:cubicBezTo>
                      <a:cubicBezTo>
                        <a:pt x="98" y="51"/>
                        <a:pt x="94" y="47"/>
                        <a:pt x="92" y="50"/>
                      </a:cubicBezTo>
                      <a:cubicBezTo>
                        <a:pt x="90" y="53"/>
                        <a:pt x="87" y="57"/>
                        <a:pt x="87" y="57"/>
                      </a:cubicBezTo>
                      <a:cubicBezTo>
                        <a:pt x="69" y="56"/>
                        <a:pt x="69" y="56"/>
                        <a:pt x="69" y="56"/>
                      </a:cubicBezTo>
                      <a:cubicBezTo>
                        <a:pt x="69" y="61"/>
                        <a:pt x="69" y="61"/>
                        <a:pt x="69" y="61"/>
                      </a:cubicBezTo>
                      <a:cubicBezTo>
                        <a:pt x="69" y="61"/>
                        <a:pt x="56" y="47"/>
                        <a:pt x="48" y="51"/>
                      </a:cubicBezTo>
                      <a:cubicBezTo>
                        <a:pt x="40" y="55"/>
                        <a:pt x="30" y="54"/>
                        <a:pt x="30" y="54"/>
                      </a:cubicBezTo>
                      <a:cubicBezTo>
                        <a:pt x="30" y="54"/>
                        <a:pt x="28" y="71"/>
                        <a:pt x="33" y="71"/>
                      </a:cubicBezTo>
                      <a:cubicBezTo>
                        <a:pt x="38" y="71"/>
                        <a:pt x="42" y="79"/>
                        <a:pt x="42" y="79"/>
                      </a:cubicBezTo>
                      <a:cubicBezTo>
                        <a:pt x="31" y="86"/>
                        <a:pt x="31" y="86"/>
                        <a:pt x="31" y="86"/>
                      </a:cubicBezTo>
                      <a:cubicBezTo>
                        <a:pt x="31" y="86"/>
                        <a:pt x="20" y="90"/>
                        <a:pt x="25" y="98"/>
                      </a:cubicBezTo>
                      <a:cubicBezTo>
                        <a:pt x="30" y="106"/>
                        <a:pt x="48" y="107"/>
                        <a:pt x="48" y="107"/>
                      </a:cubicBezTo>
                      <a:cubicBezTo>
                        <a:pt x="48" y="107"/>
                        <a:pt x="67" y="99"/>
                        <a:pt x="66" y="107"/>
                      </a:cubicBezTo>
                      <a:cubicBezTo>
                        <a:pt x="65" y="115"/>
                        <a:pt x="50" y="116"/>
                        <a:pt x="50" y="116"/>
                      </a:cubicBezTo>
                      <a:cubicBezTo>
                        <a:pt x="50" y="130"/>
                        <a:pt x="50" y="130"/>
                        <a:pt x="50" y="130"/>
                      </a:cubicBezTo>
                      <a:cubicBezTo>
                        <a:pt x="50" y="130"/>
                        <a:pt x="37" y="125"/>
                        <a:pt x="35" y="134"/>
                      </a:cubicBezTo>
                      <a:cubicBezTo>
                        <a:pt x="33" y="143"/>
                        <a:pt x="30" y="156"/>
                        <a:pt x="30" y="156"/>
                      </a:cubicBezTo>
                      <a:cubicBezTo>
                        <a:pt x="30" y="156"/>
                        <a:pt x="5" y="156"/>
                        <a:pt x="4" y="161"/>
                      </a:cubicBezTo>
                      <a:cubicBezTo>
                        <a:pt x="3" y="166"/>
                        <a:pt x="15" y="167"/>
                        <a:pt x="15" y="167"/>
                      </a:cubicBezTo>
                      <a:cubicBezTo>
                        <a:pt x="15" y="167"/>
                        <a:pt x="0" y="169"/>
                        <a:pt x="0" y="176"/>
                      </a:cubicBezTo>
                      <a:cubicBezTo>
                        <a:pt x="0" y="184"/>
                        <a:pt x="7" y="183"/>
                        <a:pt x="7" y="183"/>
                      </a:cubicBezTo>
                      <a:cubicBezTo>
                        <a:pt x="30" y="180"/>
                        <a:pt x="30" y="180"/>
                        <a:pt x="30" y="180"/>
                      </a:cubicBezTo>
                      <a:cubicBezTo>
                        <a:pt x="19" y="192"/>
                        <a:pt x="19" y="192"/>
                        <a:pt x="19" y="192"/>
                      </a:cubicBezTo>
                      <a:cubicBezTo>
                        <a:pt x="19" y="192"/>
                        <a:pt x="36" y="187"/>
                        <a:pt x="35" y="190"/>
                      </a:cubicBezTo>
                      <a:cubicBezTo>
                        <a:pt x="34" y="193"/>
                        <a:pt x="14" y="202"/>
                        <a:pt x="29" y="202"/>
                      </a:cubicBezTo>
                      <a:cubicBezTo>
                        <a:pt x="44" y="202"/>
                        <a:pt x="65" y="196"/>
                        <a:pt x="74" y="191"/>
                      </a:cubicBezTo>
                      <a:cubicBezTo>
                        <a:pt x="83" y="186"/>
                        <a:pt x="83" y="178"/>
                        <a:pt x="83" y="178"/>
                      </a:cubicBezTo>
                      <a:cubicBezTo>
                        <a:pt x="83" y="178"/>
                        <a:pt x="93" y="184"/>
                        <a:pt x="102" y="178"/>
                      </a:cubicBezTo>
                      <a:cubicBezTo>
                        <a:pt x="111" y="173"/>
                        <a:pt x="112" y="167"/>
                        <a:pt x="124" y="166"/>
                      </a:cubicBezTo>
                      <a:cubicBezTo>
                        <a:pt x="135" y="165"/>
                        <a:pt x="140" y="165"/>
                        <a:pt x="140" y="165"/>
                      </a:cubicBezTo>
                      <a:cubicBezTo>
                        <a:pt x="143" y="159"/>
                        <a:pt x="143" y="159"/>
                        <a:pt x="143" y="159"/>
                      </a:cubicBezTo>
                      <a:cubicBezTo>
                        <a:pt x="168" y="160"/>
                        <a:pt x="168" y="160"/>
                        <a:pt x="168" y="160"/>
                      </a:cubicBezTo>
                      <a:cubicBezTo>
                        <a:pt x="167" y="148"/>
                        <a:pt x="167" y="148"/>
                        <a:pt x="167" y="148"/>
                      </a:cubicBezTo>
                      <a:cubicBezTo>
                        <a:pt x="167" y="148"/>
                        <a:pt x="179" y="150"/>
                        <a:pt x="179" y="146"/>
                      </a:cubicBezTo>
                      <a:cubicBezTo>
                        <a:pt x="179" y="142"/>
                        <a:pt x="174" y="138"/>
                        <a:pt x="178" y="133"/>
                      </a:cubicBezTo>
                      <a:cubicBezTo>
                        <a:pt x="181" y="128"/>
                        <a:pt x="186" y="114"/>
                        <a:pt x="186" y="10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3" name="Iceland">
                  <a:extLst>
                    <a:ext uri="{FF2B5EF4-FFF2-40B4-BE49-F238E27FC236}">
                      <a16:creationId xmlns:a16="http://schemas.microsoft.com/office/drawing/2014/main" id="{F2C81F6E-01E1-F2B8-AA58-BF06674DFD5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89085" y="2125486"/>
                  <a:ext cx="222289" cy="84099"/>
                </a:xfrm>
                <a:custGeom>
                  <a:avLst/>
                  <a:gdLst>
                    <a:gd name="T0" fmla="*/ 207 w 396"/>
                    <a:gd name="T1" fmla="*/ 144 h 152"/>
                    <a:gd name="T2" fmla="*/ 238 w 396"/>
                    <a:gd name="T3" fmla="*/ 136 h 152"/>
                    <a:gd name="T4" fmla="*/ 262 w 396"/>
                    <a:gd name="T5" fmla="*/ 130 h 152"/>
                    <a:gd name="T6" fmla="*/ 339 w 396"/>
                    <a:gd name="T7" fmla="*/ 105 h 152"/>
                    <a:gd name="T8" fmla="*/ 363 w 396"/>
                    <a:gd name="T9" fmla="*/ 83 h 152"/>
                    <a:gd name="T10" fmla="*/ 373 w 396"/>
                    <a:gd name="T11" fmla="*/ 68 h 152"/>
                    <a:gd name="T12" fmla="*/ 356 w 396"/>
                    <a:gd name="T13" fmla="*/ 50 h 152"/>
                    <a:gd name="T14" fmla="*/ 341 w 396"/>
                    <a:gd name="T15" fmla="*/ 41 h 152"/>
                    <a:gd name="T16" fmla="*/ 342 w 396"/>
                    <a:gd name="T17" fmla="*/ 24 h 152"/>
                    <a:gd name="T18" fmla="*/ 325 w 396"/>
                    <a:gd name="T19" fmla="*/ 17 h 152"/>
                    <a:gd name="T20" fmla="*/ 294 w 396"/>
                    <a:gd name="T21" fmla="*/ 16 h 152"/>
                    <a:gd name="T22" fmla="*/ 262 w 396"/>
                    <a:gd name="T23" fmla="*/ 19 h 152"/>
                    <a:gd name="T24" fmla="*/ 227 w 396"/>
                    <a:gd name="T25" fmla="*/ 19 h 152"/>
                    <a:gd name="T26" fmla="*/ 201 w 396"/>
                    <a:gd name="T27" fmla="*/ 16 h 152"/>
                    <a:gd name="T28" fmla="*/ 182 w 396"/>
                    <a:gd name="T29" fmla="*/ 26 h 152"/>
                    <a:gd name="T30" fmla="*/ 171 w 396"/>
                    <a:gd name="T31" fmla="*/ 39 h 152"/>
                    <a:gd name="T32" fmla="*/ 145 w 396"/>
                    <a:gd name="T33" fmla="*/ 50 h 152"/>
                    <a:gd name="T34" fmla="*/ 112 w 396"/>
                    <a:gd name="T35" fmla="*/ 63 h 152"/>
                    <a:gd name="T36" fmla="*/ 102 w 396"/>
                    <a:gd name="T37" fmla="*/ 40 h 152"/>
                    <a:gd name="T38" fmla="*/ 68 w 396"/>
                    <a:gd name="T39" fmla="*/ 7 h 152"/>
                    <a:gd name="T40" fmla="*/ 43 w 396"/>
                    <a:gd name="T41" fmla="*/ 19 h 152"/>
                    <a:gd name="T42" fmla="*/ 35 w 396"/>
                    <a:gd name="T43" fmla="*/ 37 h 152"/>
                    <a:gd name="T44" fmla="*/ 4 w 396"/>
                    <a:gd name="T45" fmla="*/ 47 h 152"/>
                    <a:gd name="T46" fmla="*/ 55 w 396"/>
                    <a:gd name="T47" fmla="*/ 43 h 152"/>
                    <a:gd name="T48" fmla="*/ 64 w 396"/>
                    <a:gd name="T49" fmla="*/ 61 h 152"/>
                    <a:gd name="T50" fmla="*/ 35 w 396"/>
                    <a:gd name="T51" fmla="*/ 73 h 152"/>
                    <a:gd name="T52" fmla="*/ 38 w 396"/>
                    <a:gd name="T53" fmla="*/ 82 h 152"/>
                    <a:gd name="T54" fmla="*/ 88 w 396"/>
                    <a:gd name="T55" fmla="*/ 91 h 152"/>
                    <a:gd name="T56" fmla="*/ 85 w 396"/>
                    <a:gd name="T57" fmla="*/ 105 h 152"/>
                    <a:gd name="T58" fmla="*/ 41 w 396"/>
                    <a:gd name="T59" fmla="*/ 125 h 152"/>
                    <a:gd name="T60" fmla="*/ 98 w 396"/>
                    <a:gd name="T61" fmla="*/ 123 h 152"/>
                    <a:gd name="T62" fmla="*/ 124 w 396"/>
                    <a:gd name="T63" fmla="*/ 127 h 152"/>
                    <a:gd name="T64" fmla="*/ 172 w 396"/>
                    <a:gd name="T65" fmla="*/ 150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96" h="152">
                      <a:moveTo>
                        <a:pt x="172" y="150"/>
                      </a:moveTo>
                      <a:cubicBezTo>
                        <a:pt x="200" y="143"/>
                        <a:pt x="200" y="149"/>
                        <a:pt x="207" y="144"/>
                      </a:cubicBezTo>
                      <a:cubicBezTo>
                        <a:pt x="214" y="139"/>
                        <a:pt x="211" y="131"/>
                        <a:pt x="211" y="131"/>
                      </a:cubicBezTo>
                      <a:cubicBezTo>
                        <a:pt x="211" y="131"/>
                        <a:pt x="230" y="139"/>
                        <a:pt x="238" y="136"/>
                      </a:cubicBezTo>
                      <a:cubicBezTo>
                        <a:pt x="246" y="133"/>
                        <a:pt x="246" y="126"/>
                        <a:pt x="246" y="126"/>
                      </a:cubicBezTo>
                      <a:cubicBezTo>
                        <a:pt x="246" y="126"/>
                        <a:pt x="257" y="130"/>
                        <a:pt x="262" y="130"/>
                      </a:cubicBezTo>
                      <a:cubicBezTo>
                        <a:pt x="267" y="130"/>
                        <a:pt x="305" y="107"/>
                        <a:pt x="313" y="106"/>
                      </a:cubicBezTo>
                      <a:cubicBezTo>
                        <a:pt x="321" y="105"/>
                        <a:pt x="332" y="112"/>
                        <a:pt x="339" y="105"/>
                      </a:cubicBezTo>
                      <a:cubicBezTo>
                        <a:pt x="346" y="98"/>
                        <a:pt x="347" y="87"/>
                        <a:pt x="347" y="87"/>
                      </a:cubicBezTo>
                      <a:cubicBezTo>
                        <a:pt x="347" y="87"/>
                        <a:pt x="354" y="87"/>
                        <a:pt x="363" y="83"/>
                      </a:cubicBezTo>
                      <a:cubicBezTo>
                        <a:pt x="372" y="79"/>
                        <a:pt x="383" y="69"/>
                        <a:pt x="383" y="69"/>
                      </a:cubicBezTo>
                      <a:cubicBezTo>
                        <a:pt x="373" y="68"/>
                        <a:pt x="373" y="68"/>
                        <a:pt x="373" y="68"/>
                      </a:cubicBezTo>
                      <a:cubicBezTo>
                        <a:pt x="373" y="68"/>
                        <a:pt x="396" y="57"/>
                        <a:pt x="382" y="50"/>
                      </a:cubicBezTo>
                      <a:cubicBezTo>
                        <a:pt x="368" y="43"/>
                        <a:pt x="356" y="50"/>
                        <a:pt x="356" y="50"/>
                      </a:cubicBezTo>
                      <a:cubicBezTo>
                        <a:pt x="359" y="40"/>
                        <a:pt x="359" y="40"/>
                        <a:pt x="359" y="40"/>
                      </a:cubicBezTo>
                      <a:cubicBezTo>
                        <a:pt x="341" y="41"/>
                        <a:pt x="341" y="41"/>
                        <a:pt x="341" y="41"/>
                      </a:cubicBezTo>
                      <a:cubicBezTo>
                        <a:pt x="351" y="26"/>
                        <a:pt x="351" y="26"/>
                        <a:pt x="351" y="26"/>
                      </a:cubicBezTo>
                      <a:cubicBezTo>
                        <a:pt x="342" y="24"/>
                        <a:pt x="342" y="24"/>
                        <a:pt x="342" y="24"/>
                      </a:cubicBezTo>
                      <a:cubicBezTo>
                        <a:pt x="346" y="12"/>
                        <a:pt x="346" y="12"/>
                        <a:pt x="346" y="12"/>
                      </a:cubicBezTo>
                      <a:cubicBezTo>
                        <a:pt x="325" y="17"/>
                        <a:pt x="325" y="17"/>
                        <a:pt x="325" y="17"/>
                      </a:cubicBezTo>
                      <a:cubicBezTo>
                        <a:pt x="325" y="17"/>
                        <a:pt x="304" y="0"/>
                        <a:pt x="297" y="0"/>
                      </a:cubicBezTo>
                      <a:cubicBezTo>
                        <a:pt x="290" y="0"/>
                        <a:pt x="294" y="16"/>
                        <a:pt x="294" y="16"/>
                      </a:cubicBezTo>
                      <a:cubicBezTo>
                        <a:pt x="280" y="22"/>
                        <a:pt x="280" y="22"/>
                        <a:pt x="280" y="22"/>
                      </a:cubicBezTo>
                      <a:cubicBezTo>
                        <a:pt x="280" y="22"/>
                        <a:pt x="268" y="19"/>
                        <a:pt x="262" y="19"/>
                      </a:cubicBezTo>
                      <a:cubicBezTo>
                        <a:pt x="256" y="19"/>
                        <a:pt x="249" y="29"/>
                        <a:pt x="249" y="29"/>
                      </a:cubicBezTo>
                      <a:cubicBezTo>
                        <a:pt x="249" y="29"/>
                        <a:pt x="233" y="17"/>
                        <a:pt x="227" y="19"/>
                      </a:cubicBezTo>
                      <a:cubicBezTo>
                        <a:pt x="221" y="21"/>
                        <a:pt x="226" y="41"/>
                        <a:pt x="226" y="41"/>
                      </a:cubicBezTo>
                      <a:cubicBezTo>
                        <a:pt x="226" y="41"/>
                        <a:pt x="208" y="16"/>
                        <a:pt x="201" y="16"/>
                      </a:cubicBezTo>
                      <a:cubicBezTo>
                        <a:pt x="194" y="16"/>
                        <a:pt x="198" y="23"/>
                        <a:pt x="198" y="23"/>
                      </a:cubicBezTo>
                      <a:cubicBezTo>
                        <a:pt x="198" y="23"/>
                        <a:pt x="183" y="23"/>
                        <a:pt x="182" y="26"/>
                      </a:cubicBezTo>
                      <a:cubicBezTo>
                        <a:pt x="181" y="29"/>
                        <a:pt x="181" y="38"/>
                        <a:pt x="181" y="38"/>
                      </a:cubicBezTo>
                      <a:cubicBezTo>
                        <a:pt x="171" y="39"/>
                        <a:pt x="171" y="39"/>
                        <a:pt x="171" y="39"/>
                      </a:cubicBezTo>
                      <a:cubicBezTo>
                        <a:pt x="171" y="39"/>
                        <a:pt x="155" y="18"/>
                        <a:pt x="150" y="22"/>
                      </a:cubicBezTo>
                      <a:cubicBezTo>
                        <a:pt x="145" y="26"/>
                        <a:pt x="150" y="49"/>
                        <a:pt x="145" y="50"/>
                      </a:cubicBezTo>
                      <a:cubicBezTo>
                        <a:pt x="140" y="51"/>
                        <a:pt x="133" y="42"/>
                        <a:pt x="129" y="42"/>
                      </a:cubicBezTo>
                      <a:cubicBezTo>
                        <a:pt x="125" y="42"/>
                        <a:pt x="112" y="63"/>
                        <a:pt x="112" y="63"/>
                      </a:cubicBezTo>
                      <a:cubicBezTo>
                        <a:pt x="110" y="56"/>
                        <a:pt x="110" y="56"/>
                        <a:pt x="110" y="56"/>
                      </a:cubicBezTo>
                      <a:cubicBezTo>
                        <a:pt x="102" y="40"/>
                        <a:pt x="102" y="40"/>
                        <a:pt x="102" y="40"/>
                      </a:cubicBezTo>
                      <a:cubicBezTo>
                        <a:pt x="102" y="40"/>
                        <a:pt x="118" y="35"/>
                        <a:pt x="112" y="26"/>
                      </a:cubicBezTo>
                      <a:cubicBezTo>
                        <a:pt x="106" y="17"/>
                        <a:pt x="73" y="3"/>
                        <a:pt x="68" y="7"/>
                      </a:cubicBezTo>
                      <a:cubicBezTo>
                        <a:pt x="63" y="11"/>
                        <a:pt x="69" y="26"/>
                        <a:pt x="69" y="26"/>
                      </a:cubicBezTo>
                      <a:cubicBezTo>
                        <a:pt x="69" y="26"/>
                        <a:pt x="49" y="19"/>
                        <a:pt x="43" y="19"/>
                      </a:cubicBezTo>
                      <a:cubicBezTo>
                        <a:pt x="37" y="19"/>
                        <a:pt x="25" y="31"/>
                        <a:pt x="25" y="31"/>
                      </a:cubicBezTo>
                      <a:cubicBezTo>
                        <a:pt x="35" y="37"/>
                        <a:pt x="35" y="37"/>
                        <a:pt x="35" y="37"/>
                      </a:cubicBezTo>
                      <a:cubicBezTo>
                        <a:pt x="35" y="37"/>
                        <a:pt x="23" y="35"/>
                        <a:pt x="17" y="41"/>
                      </a:cubicBezTo>
                      <a:cubicBezTo>
                        <a:pt x="11" y="47"/>
                        <a:pt x="4" y="47"/>
                        <a:pt x="4" y="47"/>
                      </a:cubicBezTo>
                      <a:cubicBezTo>
                        <a:pt x="4" y="47"/>
                        <a:pt x="12" y="54"/>
                        <a:pt x="20" y="54"/>
                      </a:cubicBezTo>
                      <a:cubicBezTo>
                        <a:pt x="28" y="54"/>
                        <a:pt x="55" y="43"/>
                        <a:pt x="55" y="43"/>
                      </a:cubicBezTo>
                      <a:cubicBezTo>
                        <a:pt x="90" y="49"/>
                        <a:pt x="90" y="49"/>
                        <a:pt x="90" y="49"/>
                      </a:cubicBezTo>
                      <a:cubicBezTo>
                        <a:pt x="64" y="61"/>
                        <a:pt x="64" y="61"/>
                        <a:pt x="64" y="61"/>
                      </a:cubicBezTo>
                      <a:cubicBezTo>
                        <a:pt x="64" y="61"/>
                        <a:pt x="84" y="64"/>
                        <a:pt x="84" y="68"/>
                      </a:cubicBezTo>
                      <a:cubicBezTo>
                        <a:pt x="84" y="72"/>
                        <a:pt x="39" y="72"/>
                        <a:pt x="35" y="73"/>
                      </a:cubicBezTo>
                      <a:cubicBezTo>
                        <a:pt x="31" y="74"/>
                        <a:pt x="0" y="72"/>
                        <a:pt x="6" y="79"/>
                      </a:cubicBezTo>
                      <a:cubicBezTo>
                        <a:pt x="12" y="86"/>
                        <a:pt x="25" y="81"/>
                        <a:pt x="38" y="82"/>
                      </a:cubicBezTo>
                      <a:cubicBezTo>
                        <a:pt x="51" y="83"/>
                        <a:pt x="65" y="95"/>
                        <a:pt x="65" y="95"/>
                      </a:cubicBezTo>
                      <a:cubicBezTo>
                        <a:pt x="88" y="91"/>
                        <a:pt x="88" y="91"/>
                        <a:pt x="88" y="91"/>
                      </a:cubicBezTo>
                      <a:cubicBezTo>
                        <a:pt x="75" y="101"/>
                        <a:pt x="75" y="101"/>
                        <a:pt x="75" y="101"/>
                      </a:cubicBezTo>
                      <a:cubicBezTo>
                        <a:pt x="85" y="105"/>
                        <a:pt x="85" y="105"/>
                        <a:pt x="85" y="105"/>
                      </a:cubicBezTo>
                      <a:cubicBezTo>
                        <a:pt x="85" y="105"/>
                        <a:pt x="82" y="114"/>
                        <a:pt x="75" y="118"/>
                      </a:cubicBezTo>
                      <a:cubicBezTo>
                        <a:pt x="68" y="122"/>
                        <a:pt x="35" y="116"/>
                        <a:pt x="41" y="125"/>
                      </a:cubicBezTo>
                      <a:cubicBezTo>
                        <a:pt x="47" y="134"/>
                        <a:pt x="75" y="130"/>
                        <a:pt x="82" y="130"/>
                      </a:cubicBezTo>
                      <a:cubicBezTo>
                        <a:pt x="89" y="130"/>
                        <a:pt x="98" y="123"/>
                        <a:pt x="98" y="123"/>
                      </a:cubicBezTo>
                      <a:cubicBezTo>
                        <a:pt x="116" y="134"/>
                        <a:pt x="116" y="134"/>
                        <a:pt x="116" y="134"/>
                      </a:cubicBezTo>
                      <a:cubicBezTo>
                        <a:pt x="124" y="127"/>
                        <a:pt x="124" y="127"/>
                        <a:pt x="124" y="127"/>
                      </a:cubicBezTo>
                      <a:cubicBezTo>
                        <a:pt x="124" y="127"/>
                        <a:pt x="121" y="133"/>
                        <a:pt x="131" y="138"/>
                      </a:cubicBezTo>
                      <a:cubicBezTo>
                        <a:pt x="141" y="143"/>
                        <a:pt x="164" y="152"/>
                        <a:pt x="172" y="150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4" name="Hungary">
                  <a:extLst>
                    <a:ext uri="{FF2B5EF4-FFF2-40B4-BE49-F238E27FC236}">
                      <a16:creationId xmlns:a16="http://schemas.microsoft.com/office/drawing/2014/main" id="{308ECAA5-2075-9411-C2A8-3F13B550A45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24255" y="2626905"/>
                  <a:ext cx="160365" cy="82512"/>
                </a:xfrm>
                <a:custGeom>
                  <a:avLst/>
                  <a:gdLst>
                    <a:gd name="T0" fmla="*/ 31 w 286"/>
                    <a:gd name="T1" fmla="*/ 43 h 148"/>
                    <a:gd name="T2" fmla="*/ 16 w 286"/>
                    <a:gd name="T3" fmla="*/ 43 h 148"/>
                    <a:gd name="T4" fmla="*/ 15 w 286"/>
                    <a:gd name="T5" fmla="*/ 52 h 148"/>
                    <a:gd name="T6" fmla="*/ 23 w 286"/>
                    <a:gd name="T7" fmla="*/ 53 h 148"/>
                    <a:gd name="T8" fmla="*/ 15 w 286"/>
                    <a:gd name="T9" fmla="*/ 65 h 148"/>
                    <a:gd name="T10" fmla="*/ 15 w 286"/>
                    <a:gd name="T11" fmla="*/ 79 h 148"/>
                    <a:gd name="T12" fmla="*/ 2 w 286"/>
                    <a:gd name="T13" fmla="*/ 81 h 148"/>
                    <a:gd name="T14" fmla="*/ 0 w 286"/>
                    <a:gd name="T15" fmla="*/ 85 h 148"/>
                    <a:gd name="T16" fmla="*/ 7 w 286"/>
                    <a:gd name="T17" fmla="*/ 90 h 148"/>
                    <a:gd name="T18" fmla="*/ 10 w 286"/>
                    <a:gd name="T19" fmla="*/ 100 h 148"/>
                    <a:gd name="T20" fmla="*/ 20 w 286"/>
                    <a:gd name="T21" fmla="*/ 107 h 148"/>
                    <a:gd name="T22" fmla="*/ 34 w 286"/>
                    <a:gd name="T23" fmla="*/ 120 h 148"/>
                    <a:gd name="T24" fmla="*/ 54 w 286"/>
                    <a:gd name="T25" fmla="*/ 137 h 148"/>
                    <a:gd name="T26" fmla="*/ 63 w 286"/>
                    <a:gd name="T27" fmla="*/ 141 h 148"/>
                    <a:gd name="T28" fmla="*/ 75 w 286"/>
                    <a:gd name="T29" fmla="*/ 141 h 148"/>
                    <a:gd name="T30" fmla="*/ 78 w 286"/>
                    <a:gd name="T31" fmla="*/ 148 h 148"/>
                    <a:gd name="T32" fmla="*/ 106 w 286"/>
                    <a:gd name="T33" fmla="*/ 145 h 148"/>
                    <a:gd name="T34" fmla="*/ 112 w 286"/>
                    <a:gd name="T35" fmla="*/ 139 h 148"/>
                    <a:gd name="T36" fmla="*/ 115 w 286"/>
                    <a:gd name="T37" fmla="*/ 140 h 148"/>
                    <a:gd name="T38" fmla="*/ 118 w 286"/>
                    <a:gd name="T39" fmla="*/ 136 h 148"/>
                    <a:gd name="T40" fmla="*/ 133 w 286"/>
                    <a:gd name="T41" fmla="*/ 136 h 148"/>
                    <a:gd name="T42" fmla="*/ 145 w 286"/>
                    <a:gd name="T43" fmla="*/ 125 h 148"/>
                    <a:gd name="T44" fmla="*/ 163 w 286"/>
                    <a:gd name="T45" fmla="*/ 125 h 148"/>
                    <a:gd name="T46" fmla="*/ 176 w 286"/>
                    <a:gd name="T47" fmla="*/ 131 h 148"/>
                    <a:gd name="T48" fmla="*/ 192 w 286"/>
                    <a:gd name="T49" fmla="*/ 127 h 148"/>
                    <a:gd name="T50" fmla="*/ 194 w 286"/>
                    <a:gd name="T51" fmla="*/ 118 h 148"/>
                    <a:gd name="T52" fmla="*/ 205 w 286"/>
                    <a:gd name="T53" fmla="*/ 120 h 148"/>
                    <a:gd name="T54" fmla="*/ 221 w 286"/>
                    <a:gd name="T55" fmla="*/ 110 h 148"/>
                    <a:gd name="T56" fmla="*/ 222 w 286"/>
                    <a:gd name="T57" fmla="*/ 96 h 148"/>
                    <a:gd name="T58" fmla="*/ 238 w 286"/>
                    <a:gd name="T59" fmla="*/ 83 h 148"/>
                    <a:gd name="T60" fmla="*/ 245 w 286"/>
                    <a:gd name="T61" fmla="*/ 66 h 148"/>
                    <a:gd name="T62" fmla="*/ 246 w 286"/>
                    <a:gd name="T63" fmla="*/ 48 h 148"/>
                    <a:gd name="T64" fmla="*/ 266 w 286"/>
                    <a:gd name="T65" fmla="*/ 41 h 148"/>
                    <a:gd name="T66" fmla="*/ 286 w 286"/>
                    <a:gd name="T67" fmla="*/ 27 h 148"/>
                    <a:gd name="T68" fmla="*/ 264 w 286"/>
                    <a:gd name="T69" fmla="*/ 19 h 148"/>
                    <a:gd name="T70" fmla="*/ 248 w 286"/>
                    <a:gd name="T71" fmla="*/ 6 h 148"/>
                    <a:gd name="T72" fmla="*/ 219 w 286"/>
                    <a:gd name="T73" fmla="*/ 10 h 148"/>
                    <a:gd name="T74" fmla="*/ 213 w 286"/>
                    <a:gd name="T75" fmla="*/ 0 h 148"/>
                    <a:gd name="T76" fmla="*/ 208 w 286"/>
                    <a:gd name="T77" fmla="*/ 11 h 148"/>
                    <a:gd name="T78" fmla="*/ 199 w 286"/>
                    <a:gd name="T79" fmla="*/ 10 h 148"/>
                    <a:gd name="T80" fmla="*/ 196 w 286"/>
                    <a:gd name="T81" fmla="*/ 0 h 148"/>
                    <a:gd name="T82" fmla="*/ 180 w 286"/>
                    <a:gd name="T83" fmla="*/ 0 h 148"/>
                    <a:gd name="T84" fmla="*/ 169 w 286"/>
                    <a:gd name="T85" fmla="*/ 16 h 148"/>
                    <a:gd name="T86" fmla="*/ 143 w 286"/>
                    <a:gd name="T87" fmla="*/ 20 h 148"/>
                    <a:gd name="T88" fmla="*/ 136 w 286"/>
                    <a:gd name="T89" fmla="*/ 28 h 148"/>
                    <a:gd name="T90" fmla="*/ 112 w 286"/>
                    <a:gd name="T91" fmla="*/ 25 h 148"/>
                    <a:gd name="T92" fmla="*/ 106 w 286"/>
                    <a:gd name="T93" fmla="*/ 41 h 148"/>
                    <a:gd name="T94" fmla="*/ 65 w 286"/>
                    <a:gd name="T95" fmla="*/ 44 h 148"/>
                    <a:gd name="T96" fmla="*/ 45 w 286"/>
                    <a:gd name="T97" fmla="*/ 28 h 148"/>
                    <a:gd name="T98" fmla="*/ 38 w 286"/>
                    <a:gd name="T99" fmla="*/ 39 h 148"/>
                    <a:gd name="T100" fmla="*/ 32 w 286"/>
                    <a:gd name="T101" fmla="*/ 34 h 148"/>
                    <a:gd name="T102" fmla="*/ 31 w 286"/>
                    <a:gd name="T103" fmla="*/ 43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86" h="148">
                      <a:moveTo>
                        <a:pt x="31" y="43"/>
                      </a:moveTo>
                      <a:cubicBezTo>
                        <a:pt x="16" y="43"/>
                        <a:pt x="16" y="43"/>
                        <a:pt x="16" y="43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23" y="53"/>
                        <a:pt x="23" y="53"/>
                        <a:pt x="23" y="53"/>
                      </a:cubicBez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79"/>
                        <a:pt x="15" y="79"/>
                        <a:pt x="15" y="79"/>
                      </a:cubicBezTo>
                      <a:cubicBezTo>
                        <a:pt x="2" y="81"/>
                        <a:pt x="2" y="81"/>
                        <a:pt x="2" y="81"/>
                      </a:cubicBezTo>
                      <a:cubicBezTo>
                        <a:pt x="0" y="85"/>
                        <a:pt x="0" y="85"/>
                        <a:pt x="0" y="85"/>
                      </a:cubicBezTo>
                      <a:cubicBezTo>
                        <a:pt x="7" y="90"/>
                        <a:pt x="7" y="90"/>
                        <a:pt x="7" y="90"/>
                      </a:cubicBezTo>
                      <a:cubicBezTo>
                        <a:pt x="10" y="100"/>
                        <a:pt x="10" y="100"/>
                        <a:pt x="10" y="100"/>
                      </a:cubicBezTo>
                      <a:cubicBezTo>
                        <a:pt x="20" y="107"/>
                        <a:pt x="20" y="107"/>
                        <a:pt x="20" y="107"/>
                      </a:cubicBezTo>
                      <a:cubicBezTo>
                        <a:pt x="20" y="107"/>
                        <a:pt x="32" y="117"/>
                        <a:pt x="34" y="120"/>
                      </a:cubicBezTo>
                      <a:cubicBezTo>
                        <a:pt x="36" y="123"/>
                        <a:pt x="54" y="137"/>
                        <a:pt x="54" y="137"/>
                      </a:cubicBezTo>
                      <a:cubicBezTo>
                        <a:pt x="63" y="141"/>
                        <a:pt x="63" y="141"/>
                        <a:pt x="63" y="141"/>
                      </a:cubicBezTo>
                      <a:cubicBezTo>
                        <a:pt x="75" y="141"/>
                        <a:pt x="75" y="141"/>
                        <a:pt x="75" y="141"/>
                      </a:cubicBezTo>
                      <a:cubicBezTo>
                        <a:pt x="78" y="148"/>
                        <a:pt x="78" y="148"/>
                        <a:pt x="78" y="148"/>
                      </a:cubicBezTo>
                      <a:cubicBezTo>
                        <a:pt x="106" y="145"/>
                        <a:pt x="106" y="145"/>
                        <a:pt x="106" y="145"/>
                      </a:cubicBezTo>
                      <a:cubicBezTo>
                        <a:pt x="112" y="139"/>
                        <a:pt x="112" y="139"/>
                        <a:pt x="112" y="139"/>
                      </a:cubicBez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18" y="136"/>
                        <a:pt x="118" y="136"/>
                        <a:pt x="118" y="136"/>
                      </a:cubicBezTo>
                      <a:cubicBezTo>
                        <a:pt x="133" y="136"/>
                        <a:pt x="133" y="136"/>
                        <a:pt x="133" y="136"/>
                      </a:cubicBezTo>
                      <a:cubicBezTo>
                        <a:pt x="133" y="136"/>
                        <a:pt x="142" y="131"/>
                        <a:pt x="145" y="125"/>
                      </a:cubicBezTo>
                      <a:cubicBezTo>
                        <a:pt x="148" y="119"/>
                        <a:pt x="163" y="125"/>
                        <a:pt x="163" y="125"/>
                      </a:cubicBezTo>
                      <a:cubicBezTo>
                        <a:pt x="176" y="131"/>
                        <a:pt x="176" y="131"/>
                        <a:pt x="176" y="131"/>
                      </a:cubicBezTo>
                      <a:cubicBezTo>
                        <a:pt x="192" y="127"/>
                        <a:pt x="192" y="127"/>
                        <a:pt x="192" y="127"/>
                      </a:cubicBezTo>
                      <a:cubicBezTo>
                        <a:pt x="194" y="118"/>
                        <a:pt x="194" y="118"/>
                        <a:pt x="194" y="118"/>
                      </a:cubicBezTo>
                      <a:cubicBezTo>
                        <a:pt x="205" y="120"/>
                        <a:pt x="205" y="120"/>
                        <a:pt x="205" y="120"/>
                      </a:cubicBezTo>
                      <a:cubicBezTo>
                        <a:pt x="205" y="120"/>
                        <a:pt x="215" y="116"/>
                        <a:pt x="221" y="110"/>
                      </a:cubicBezTo>
                      <a:cubicBezTo>
                        <a:pt x="227" y="104"/>
                        <a:pt x="222" y="96"/>
                        <a:pt x="222" y="96"/>
                      </a:cubicBezTo>
                      <a:cubicBezTo>
                        <a:pt x="222" y="96"/>
                        <a:pt x="228" y="88"/>
                        <a:pt x="238" y="83"/>
                      </a:cubicBezTo>
                      <a:cubicBezTo>
                        <a:pt x="248" y="78"/>
                        <a:pt x="245" y="66"/>
                        <a:pt x="245" y="66"/>
                      </a:cubicBezTo>
                      <a:cubicBezTo>
                        <a:pt x="245" y="66"/>
                        <a:pt x="245" y="54"/>
                        <a:pt x="246" y="48"/>
                      </a:cubicBezTo>
                      <a:cubicBezTo>
                        <a:pt x="247" y="42"/>
                        <a:pt x="256" y="42"/>
                        <a:pt x="266" y="41"/>
                      </a:cubicBezTo>
                      <a:cubicBezTo>
                        <a:pt x="276" y="40"/>
                        <a:pt x="286" y="27"/>
                        <a:pt x="286" y="27"/>
                      </a:cubicBezTo>
                      <a:cubicBezTo>
                        <a:pt x="286" y="27"/>
                        <a:pt x="270" y="20"/>
                        <a:pt x="264" y="19"/>
                      </a:cubicBezTo>
                      <a:cubicBezTo>
                        <a:pt x="258" y="18"/>
                        <a:pt x="256" y="8"/>
                        <a:pt x="248" y="6"/>
                      </a:cubicBezTo>
                      <a:cubicBezTo>
                        <a:pt x="240" y="4"/>
                        <a:pt x="219" y="10"/>
                        <a:pt x="219" y="10"/>
                      </a:cubicBezTo>
                      <a:cubicBezTo>
                        <a:pt x="219" y="10"/>
                        <a:pt x="218" y="0"/>
                        <a:pt x="213" y="0"/>
                      </a:cubicBezTo>
                      <a:cubicBezTo>
                        <a:pt x="208" y="0"/>
                        <a:pt x="208" y="11"/>
                        <a:pt x="208" y="11"/>
                      </a:cubicBezTo>
                      <a:cubicBezTo>
                        <a:pt x="199" y="10"/>
                        <a:pt x="199" y="10"/>
                        <a:pt x="199" y="10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cubicBezTo>
                        <a:pt x="180" y="0"/>
                        <a:pt x="180" y="0"/>
                        <a:pt x="180" y="0"/>
                      </a:cubicBezTo>
                      <a:cubicBezTo>
                        <a:pt x="180" y="0"/>
                        <a:pt x="172" y="13"/>
                        <a:pt x="169" y="16"/>
                      </a:cubicBezTo>
                      <a:cubicBezTo>
                        <a:pt x="166" y="19"/>
                        <a:pt x="143" y="20"/>
                        <a:pt x="143" y="20"/>
                      </a:cubicBezTo>
                      <a:cubicBezTo>
                        <a:pt x="136" y="28"/>
                        <a:pt x="136" y="28"/>
                        <a:pt x="136" y="28"/>
                      </a:cubicBezTo>
                      <a:cubicBezTo>
                        <a:pt x="112" y="25"/>
                        <a:pt x="112" y="25"/>
                        <a:pt x="112" y="25"/>
                      </a:cubicBezTo>
                      <a:cubicBezTo>
                        <a:pt x="106" y="41"/>
                        <a:pt x="106" y="41"/>
                        <a:pt x="106" y="41"/>
                      </a:cubicBezTo>
                      <a:cubicBezTo>
                        <a:pt x="106" y="41"/>
                        <a:pt x="82" y="43"/>
                        <a:pt x="65" y="44"/>
                      </a:cubicBezTo>
                      <a:cubicBezTo>
                        <a:pt x="48" y="45"/>
                        <a:pt x="45" y="28"/>
                        <a:pt x="45" y="28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2" y="34"/>
                        <a:pt x="32" y="34"/>
                        <a:pt x="32" y="34"/>
                      </a:cubicBezTo>
                      <a:cubicBezTo>
                        <a:pt x="31" y="39"/>
                        <a:pt x="31" y="43"/>
                        <a:pt x="31" y="43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5" name="Greenland">
                  <a:extLst>
                    <a:ext uri="{FF2B5EF4-FFF2-40B4-BE49-F238E27FC236}">
                      <a16:creationId xmlns:a16="http://schemas.microsoft.com/office/drawing/2014/main" id="{2DDDDC25-3141-2FEB-879F-35ED20F9FC6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465059" y="1736728"/>
                  <a:ext cx="1479807" cy="717218"/>
                </a:xfrm>
                <a:custGeom>
                  <a:avLst/>
                  <a:gdLst>
                    <a:gd name="T0" fmla="*/ 1565 w 2644"/>
                    <a:gd name="T1" fmla="*/ 52 h 1282"/>
                    <a:gd name="T2" fmla="*/ 1392 w 2644"/>
                    <a:gd name="T3" fmla="*/ 47 h 1282"/>
                    <a:gd name="T4" fmla="*/ 1490 w 2644"/>
                    <a:gd name="T5" fmla="*/ 10 h 1282"/>
                    <a:gd name="T6" fmla="*/ 1129 w 2644"/>
                    <a:gd name="T7" fmla="*/ 20 h 1282"/>
                    <a:gd name="T8" fmla="*/ 1006 w 2644"/>
                    <a:gd name="T9" fmla="*/ 38 h 1282"/>
                    <a:gd name="T10" fmla="*/ 728 w 2644"/>
                    <a:gd name="T11" fmla="*/ 51 h 1282"/>
                    <a:gd name="T12" fmla="*/ 452 w 2644"/>
                    <a:gd name="T13" fmla="*/ 80 h 1282"/>
                    <a:gd name="T14" fmla="*/ 236 w 2644"/>
                    <a:gd name="T15" fmla="*/ 157 h 1282"/>
                    <a:gd name="T16" fmla="*/ 83 w 2644"/>
                    <a:gd name="T17" fmla="*/ 219 h 1282"/>
                    <a:gd name="T18" fmla="*/ 96 w 2644"/>
                    <a:gd name="T19" fmla="*/ 231 h 1282"/>
                    <a:gd name="T20" fmla="*/ 106 w 2644"/>
                    <a:gd name="T21" fmla="*/ 266 h 1282"/>
                    <a:gd name="T22" fmla="*/ 313 w 2644"/>
                    <a:gd name="T23" fmla="*/ 274 h 1282"/>
                    <a:gd name="T24" fmla="*/ 399 w 2644"/>
                    <a:gd name="T25" fmla="*/ 369 h 1282"/>
                    <a:gd name="T26" fmla="*/ 370 w 2644"/>
                    <a:gd name="T27" fmla="*/ 445 h 1282"/>
                    <a:gd name="T28" fmla="*/ 438 w 2644"/>
                    <a:gd name="T29" fmla="*/ 447 h 1282"/>
                    <a:gd name="T30" fmla="*/ 432 w 2644"/>
                    <a:gd name="T31" fmla="*/ 517 h 1282"/>
                    <a:gd name="T32" fmla="*/ 456 w 2644"/>
                    <a:gd name="T33" fmla="*/ 542 h 1282"/>
                    <a:gd name="T34" fmla="*/ 421 w 2644"/>
                    <a:gd name="T35" fmla="*/ 578 h 1282"/>
                    <a:gd name="T36" fmla="*/ 408 w 2644"/>
                    <a:gd name="T37" fmla="*/ 639 h 1282"/>
                    <a:gd name="T38" fmla="*/ 354 w 2644"/>
                    <a:gd name="T39" fmla="*/ 640 h 1282"/>
                    <a:gd name="T40" fmla="*/ 276 w 2644"/>
                    <a:gd name="T41" fmla="*/ 668 h 1282"/>
                    <a:gd name="T42" fmla="*/ 273 w 2644"/>
                    <a:gd name="T43" fmla="*/ 727 h 1282"/>
                    <a:gd name="T44" fmla="*/ 270 w 2644"/>
                    <a:gd name="T45" fmla="*/ 802 h 1282"/>
                    <a:gd name="T46" fmla="*/ 328 w 2644"/>
                    <a:gd name="T47" fmla="*/ 798 h 1282"/>
                    <a:gd name="T48" fmla="*/ 286 w 2644"/>
                    <a:gd name="T49" fmla="*/ 851 h 1282"/>
                    <a:gd name="T50" fmla="*/ 322 w 2644"/>
                    <a:gd name="T51" fmla="*/ 925 h 1282"/>
                    <a:gd name="T52" fmla="*/ 398 w 2644"/>
                    <a:gd name="T53" fmla="*/ 969 h 1282"/>
                    <a:gd name="T54" fmla="*/ 443 w 2644"/>
                    <a:gd name="T55" fmla="*/ 1000 h 1282"/>
                    <a:gd name="T56" fmla="*/ 540 w 2644"/>
                    <a:gd name="T57" fmla="*/ 948 h 1282"/>
                    <a:gd name="T58" fmla="*/ 585 w 2644"/>
                    <a:gd name="T59" fmla="*/ 903 h 1282"/>
                    <a:gd name="T60" fmla="*/ 625 w 2644"/>
                    <a:gd name="T61" fmla="*/ 858 h 1282"/>
                    <a:gd name="T62" fmla="*/ 673 w 2644"/>
                    <a:gd name="T63" fmla="*/ 802 h 1282"/>
                    <a:gd name="T64" fmla="*/ 752 w 2644"/>
                    <a:gd name="T65" fmla="*/ 741 h 1282"/>
                    <a:gd name="T66" fmla="*/ 841 w 2644"/>
                    <a:gd name="T67" fmla="*/ 727 h 1282"/>
                    <a:gd name="T68" fmla="*/ 1053 w 2644"/>
                    <a:gd name="T69" fmla="*/ 599 h 1282"/>
                    <a:gd name="T70" fmla="*/ 1317 w 2644"/>
                    <a:gd name="T71" fmla="*/ 578 h 1282"/>
                    <a:gd name="T72" fmla="*/ 1303 w 2644"/>
                    <a:gd name="T73" fmla="*/ 524 h 1282"/>
                    <a:gd name="T74" fmla="*/ 1217 w 2644"/>
                    <a:gd name="T75" fmla="*/ 512 h 1282"/>
                    <a:gd name="T76" fmla="*/ 1271 w 2644"/>
                    <a:gd name="T77" fmla="*/ 465 h 1282"/>
                    <a:gd name="T78" fmla="*/ 1427 w 2644"/>
                    <a:gd name="T79" fmla="*/ 502 h 1282"/>
                    <a:gd name="T80" fmla="*/ 1425 w 2644"/>
                    <a:gd name="T81" fmla="*/ 459 h 1282"/>
                    <a:gd name="T82" fmla="*/ 1303 w 2644"/>
                    <a:gd name="T83" fmla="*/ 412 h 1282"/>
                    <a:gd name="T84" fmla="*/ 1471 w 2644"/>
                    <a:gd name="T85" fmla="*/ 404 h 1282"/>
                    <a:gd name="T86" fmla="*/ 1535 w 2644"/>
                    <a:gd name="T87" fmla="*/ 368 h 1282"/>
                    <a:gd name="T88" fmla="*/ 1546 w 2644"/>
                    <a:gd name="T89" fmla="*/ 334 h 1282"/>
                    <a:gd name="T90" fmla="*/ 1594 w 2644"/>
                    <a:gd name="T91" fmla="*/ 289 h 1282"/>
                    <a:gd name="T92" fmla="*/ 1590 w 2644"/>
                    <a:gd name="T93" fmla="*/ 221 h 1282"/>
                    <a:gd name="T94" fmla="*/ 1627 w 2644"/>
                    <a:gd name="T95" fmla="*/ 165 h 1282"/>
                    <a:gd name="T96" fmla="*/ 1659 w 2644"/>
                    <a:gd name="T97" fmla="*/ 111 h 1282"/>
                    <a:gd name="T98" fmla="*/ 1807 w 2644"/>
                    <a:gd name="T99" fmla="*/ 79 h 1282"/>
                    <a:gd name="T100" fmla="*/ 371 w 2644"/>
                    <a:gd name="T101" fmla="*/ 534 h 1282"/>
                    <a:gd name="T102" fmla="*/ 2531 w 2644"/>
                    <a:gd name="T103" fmla="*/ 1160 h 1282"/>
                    <a:gd name="T104" fmla="*/ 2458 w 2644"/>
                    <a:gd name="T105" fmla="*/ 1164 h 1282"/>
                    <a:gd name="T106" fmla="*/ 2471 w 2644"/>
                    <a:gd name="T107" fmla="*/ 1249 h 1282"/>
                    <a:gd name="T108" fmla="*/ 2517 w 2644"/>
                    <a:gd name="T109" fmla="*/ 1268 h 1282"/>
                    <a:gd name="T110" fmla="*/ 2531 w 2644"/>
                    <a:gd name="T111" fmla="*/ 1179 h 1282"/>
                    <a:gd name="T112" fmla="*/ 2577 w 2644"/>
                    <a:gd name="T113" fmla="*/ 1240 h 1282"/>
                    <a:gd name="T114" fmla="*/ 2624 w 2644"/>
                    <a:gd name="T115" fmla="*/ 1211 h 1282"/>
                    <a:gd name="T116" fmla="*/ 2629 w 2644"/>
                    <a:gd name="T117" fmla="*/ 1260 h 1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644" h="1282">
                      <a:moveTo>
                        <a:pt x="1845" y="57"/>
                      </a:moveTo>
                      <a:cubicBezTo>
                        <a:pt x="1825" y="57"/>
                        <a:pt x="1757" y="51"/>
                        <a:pt x="1752" y="57"/>
                      </a:cubicBezTo>
                      <a:cubicBezTo>
                        <a:pt x="1747" y="63"/>
                        <a:pt x="1722" y="69"/>
                        <a:pt x="1711" y="69"/>
                      </a:cubicBezTo>
                      <a:cubicBezTo>
                        <a:pt x="1700" y="69"/>
                        <a:pt x="1655" y="60"/>
                        <a:pt x="1647" y="64"/>
                      </a:cubicBezTo>
                      <a:cubicBezTo>
                        <a:pt x="1639" y="68"/>
                        <a:pt x="1587" y="83"/>
                        <a:pt x="1581" y="86"/>
                      </a:cubicBezTo>
                      <a:cubicBezTo>
                        <a:pt x="1575" y="89"/>
                        <a:pt x="1523" y="101"/>
                        <a:pt x="1532" y="94"/>
                      </a:cubicBezTo>
                      <a:cubicBezTo>
                        <a:pt x="1541" y="87"/>
                        <a:pt x="1615" y="71"/>
                        <a:pt x="1610" y="61"/>
                      </a:cubicBezTo>
                      <a:cubicBezTo>
                        <a:pt x="1605" y="51"/>
                        <a:pt x="1576" y="48"/>
                        <a:pt x="1565" y="52"/>
                      </a:cubicBezTo>
                      <a:cubicBezTo>
                        <a:pt x="1554" y="56"/>
                        <a:pt x="1536" y="63"/>
                        <a:pt x="1536" y="63"/>
                      </a:cubicBezTo>
                      <a:cubicBezTo>
                        <a:pt x="1457" y="73"/>
                        <a:pt x="1457" y="73"/>
                        <a:pt x="1457" y="73"/>
                      </a:cubicBezTo>
                      <a:cubicBezTo>
                        <a:pt x="1457" y="73"/>
                        <a:pt x="1531" y="55"/>
                        <a:pt x="1513" y="54"/>
                      </a:cubicBezTo>
                      <a:cubicBezTo>
                        <a:pt x="1495" y="53"/>
                        <a:pt x="1427" y="52"/>
                        <a:pt x="1427" y="52"/>
                      </a:cubicBezTo>
                      <a:cubicBezTo>
                        <a:pt x="1403" y="57"/>
                        <a:pt x="1403" y="57"/>
                        <a:pt x="1403" y="57"/>
                      </a:cubicBezTo>
                      <a:cubicBezTo>
                        <a:pt x="1358" y="53"/>
                        <a:pt x="1358" y="53"/>
                        <a:pt x="1358" y="53"/>
                      </a:cubicBezTo>
                      <a:cubicBezTo>
                        <a:pt x="1358" y="53"/>
                        <a:pt x="1307" y="68"/>
                        <a:pt x="1309" y="61"/>
                      </a:cubicBezTo>
                      <a:cubicBezTo>
                        <a:pt x="1311" y="54"/>
                        <a:pt x="1371" y="47"/>
                        <a:pt x="1392" y="47"/>
                      </a:cubicBezTo>
                      <a:cubicBezTo>
                        <a:pt x="1413" y="47"/>
                        <a:pt x="1548" y="45"/>
                        <a:pt x="1557" y="45"/>
                      </a:cubicBezTo>
                      <a:cubicBezTo>
                        <a:pt x="1566" y="45"/>
                        <a:pt x="1645" y="43"/>
                        <a:pt x="1636" y="35"/>
                      </a:cubicBezTo>
                      <a:cubicBezTo>
                        <a:pt x="1627" y="27"/>
                        <a:pt x="1577" y="24"/>
                        <a:pt x="1558" y="27"/>
                      </a:cubicBezTo>
                      <a:cubicBezTo>
                        <a:pt x="1539" y="30"/>
                        <a:pt x="1526" y="29"/>
                        <a:pt x="1526" y="29"/>
                      </a:cubicBezTo>
                      <a:cubicBezTo>
                        <a:pt x="1526" y="29"/>
                        <a:pt x="1551" y="18"/>
                        <a:pt x="1535" y="17"/>
                      </a:cubicBezTo>
                      <a:cubicBezTo>
                        <a:pt x="1519" y="16"/>
                        <a:pt x="1492" y="19"/>
                        <a:pt x="1492" y="19"/>
                      </a:cubicBezTo>
                      <a:cubicBezTo>
                        <a:pt x="1492" y="19"/>
                        <a:pt x="1462" y="18"/>
                        <a:pt x="1455" y="16"/>
                      </a:cubicBezTo>
                      <a:cubicBezTo>
                        <a:pt x="1448" y="14"/>
                        <a:pt x="1483" y="17"/>
                        <a:pt x="1490" y="10"/>
                      </a:cubicBezTo>
                      <a:cubicBezTo>
                        <a:pt x="1497" y="3"/>
                        <a:pt x="1454" y="5"/>
                        <a:pt x="1432" y="5"/>
                      </a:cubicBezTo>
                      <a:cubicBezTo>
                        <a:pt x="1410" y="5"/>
                        <a:pt x="1355" y="8"/>
                        <a:pt x="1355" y="8"/>
                      </a:cubicBezTo>
                      <a:cubicBezTo>
                        <a:pt x="1355" y="8"/>
                        <a:pt x="1315" y="4"/>
                        <a:pt x="1292" y="2"/>
                      </a:cubicBezTo>
                      <a:cubicBezTo>
                        <a:pt x="1269" y="0"/>
                        <a:pt x="1246" y="5"/>
                        <a:pt x="1237" y="6"/>
                      </a:cubicBezTo>
                      <a:cubicBezTo>
                        <a:pt x="1228" y="7"/>
                        <a:pt x="1210" y="7"/>
                        <a:pt x="1188" y="6"/>
                      </a:cubicBezTo>
                      <a:cubicBezTo>
                        <a:pt x="1166" y="5"/>
                        <a:pt x="1144" y="5"/>
                        <a:pt x="1146" y="10"/>
                      </a:cubicBezTo>
                      <a:cubicBezTo>
                        <a:pt x="1148" y="15"/>
                        <a:pt x="1177" y="16"/>
                        <a:pt x="1177" y="16"/>
                      </a:cubicBezTo>
                      <a:cubicBezTo>
                        <a:pt x="1177" y="16"/>
                        <a:pt x="1142" y="21"/>
                        <a:pt x="1129" y="20"/>
                      </a:cubicBezTo>
                      <a:cubicBezTo>
                        <a:pt x="1116" y="19"/>
                        <a:pt x="1061" y="13"/>
                        <a:pt x="1047" y="11"/>
                      </a:cubicBezTo>
                      <a:cubicBezTo>
                        <a:pt x="1033" y="9"/>
                        <a:pt x="995" y="13"/>
                        <a:pt x="990" y="13"/>
                      </a:cubicBezTo>
                      <a:cubicBezTo>
                        <a:pt x="985" y="13"/>
                        <a:pt x="935" y="19"/>
                        <a:pt x="956" y="24"/>
                      </a:cubicBezTo>
                      <a:cubicBezTo>
                        <a:pt x="977" y="29"/>
                        <a:pt x="1046" y="31"/>
                        <a:pt x="1046" y="31"/>
                      </a:cubicBezTo>
                      <a:cubicBezTo>
                        <a:pt x="1103" y="38"/>
                        <a:pt x="1103" y="38"/>
                        <a:pt x="1103" y="38"/>
                      </a:cubicBezTo>
                      <a:cubicBezTo>
                        <a:pt x="1103" y="38"/>
                        <a:pt x="1048" y="40"/>
                        <a:pt x="1040" y="40"/>
                      </a:cubicBezTo>
                      <a:cubicBezTo>
                        <a:pt x="1032" y="40"/>
                        <a:pt x="984" y="27"/>
                        <a:pt x="985" y="31"/>
                      </a:cubicBezTo>
                      <a:cubicBezTo>
                        <a:pt x="986" y="35"/>
                        <a:pt x="1006" y="38"/>
                        <a:pt x="1006" y="38"/>
                      </a:cubicBezTo>
                      <a:cubicBezTo>
                        <a:pt x="975" y="41"/>
                        <a:pt x="975" y="41"/>
                        <a:pt x="975" y="41"/>
                      </a:cubicBezTo>
                      <a:cubicBezTo>
                        <a:pt x="975" y="41"/>
                        <a:pt x="958" y="55"/>
                        <a:pt x="962" y="59"/>
                      </a:cubicBezTo>
                      <a:cubicBezTo>
                        <a:pt x="966" y="63"/>
                        <a:pt x="938" y="64"/>
                        <a:pt x="925" y="56"/>
                      </a:cubicBezTo>
                      <a:cubicBezTo>
                        <a:pt x="912" y="48"/>
                        <a:pt x="885" y="42"/>
                        <a:pt x="859" y="40"/>
                      </a:cubicBezTo>
                      <a:cubicBezTo>
                        <a:pt x="833" y="38"/>
                        <a:pt x="804" y="38"/>
                        <a:pt x="804" y="38"/>
                      </a:cubicBezTo>
                      <a:cubicBezTo>
                        <a:pt x="806" y="58"/>
                        <a:pt x="806" y="58"/>
                        <a:pt x="806" y="58"/>
                      </a:cubicBezTo>
                      <a:cubicBezTo>
                        <a:pt x="806" y="58"/>
                        <a:pt x="786" y="61"/>
                        <a:pt x="773" y="59"/>
                      </a:cubicBezTo>
                      <a:cubicBezTo>
                        <a:pt x="760" y="57"/>
                        <a:pt x="736" y="49"/>
                        <a:pt x="728" y="51"/>
                      </a:cubicBezTo>
                      <a:cubicBezTo>
                        <a:pt x="720" y="53"/>
                        <a:pt x="702" y="62"/>
                        <a:pt x="702" y="62"/>
                      </a:cubicBezTo>
                      <a:cubicBezTo>
                        <a:pt x="702" y="62"/>
                        <a:pt x="713" y="44"/>
                        <a:pt x="700" y="44"/>
                      </a:cubicBezTo>
                      <a:cubicBezTo>
                        <a:pt x="687" y="44"/>
                        <a:pt x="616" y="45"/>
                        <a:pt x="597" y="48"/>
                      </a:cubicBezTo>
                      <a:cubicBezTo>
                        <a:pt x="578" y="51"/>
                        <a:pt x="545" y="44"/>
                        <a:pt x="550" y="49"/>
                      </a:cubicBezTo>
                      <a:cubicBezTo>
                        <a:pt x="555" y="54"/>
                        <a:pt x="590" y="71"/>
                        <a:pt x="590" y="71"/>
                      </a:cubicBezTo>
                      <a:cubicBezTo>
                        <a:pt x="590" y="71"/>
                        <a:pt x="536" y="54"/>
                        <a:pt x="527" y="54"/>
                      </a:cubicBezTo>
                      <a:cubicBezTo>
                        <a:pt x="518" y="54"/>
                        <a:pt x="491" y="49"/>
                        <a:pt x="487" y="59"/>
                      </a:cubicBezTo>
                      <a:cubicBezTo>
                        <a:pt x="483" y="69"/>
                        <a:pt x="465" y="80"/>
                        <a:pt x="452" y="80"/>
                      </a:cubicBezTo>
                      <a:cubicBezTo>
                        <a:pt x="439" y="80"/>
                        <a:pt x="402" y="80"/>
                        <a:pt x="402" y="80"/>
                      </a:cubicBezTo>
                      <a:cubicBezTo>
                        <a:pt x="402" y="80"/>
                        <a:pt x="328" y="94"/>
                        <a:pt x="324" y="95"/>
                      </a:cubicBezTo>
                      <a:cubicBezTo>
                        <a:pt x="320" y="96"/>
                        <a:pt x="248" y="106"/>
                        <a:pt x="259" y="113"/>
                      </a:cubicBezTo>
                      <a:cubicBezTo>
                        <a:pt x="270" y="120"/>
                        <a:pt x="310" y="122"/>
                        <a:pt x="315" y="121"/>
                      </a:cubicBezTo>
                      <a:cubicBezTo>
                        <a:pt x="320" y="120"/>
                        <a:pt x="335" y="118"/>
                        <a:pt x="335" y="118"/>
                      </a:cubicBezTo>
                      <a:cubicBezTo>
                        <a:pt x="311" y="128"/>
                        <a:pt x="311" y="128"/>
                        <a:pt x="311" y="128"/>
                      </a:cubicBezTo>
                      <a:cubicBezTo>
                        <a:pt x="300" y="139"/>
                        <a:pt x="300" y="139"/>
                        <a:pt x="300" y="139"/>
                      </a:cubicBezTo>
                      <a:cubicBezTo>
                        <a:pt x="300" y="139"/>
                        <a:pt x="253" y="157"/>
                        <a:pt x="236" y="157"/>
                      </a:cubicBezTo>
                      <a:cubicBezTo>
                        <a:pt x="219" y="157"/>
                        <a:pt x="151" y="157"/>
                        <a:pt x="137" y="169"/>
                      </a:cubicBezTo>
                      <a:cubicBezTo>
                        <a:pt x="123" y="181"/>
                        <a:pt x="112" y="167"/>
                        <a:pt x="112" y="167"/>
                      </a:cubicBezTo>
                      <a:cubicBezTo>
                        <a:pt x="90" y="176"/>
                        <a:pt x="90" y="176"/>
                        <a:pt x="90" y="176"/>
                      </a:cubicBezTo>
                      <a:cubicBezTo>
                        <a:pt x="57" y="175"/>
                        <a:pt x="57" y="175"/>
                        <a:pt x="57" y="175"/>
                      </a:cubicBezTo>
                      <a:cubicBezTo>
                        <a:pt x="57" y="175"/>
                        <a:pt x="0" y="181"/>
                        <a:pt x="14" y="191"/>
                      </a:cubicBezTo>
                      <a:cubicBezTo>
                        <a:pt x="28" y="201"/>
                        <a:pt x="51" y="212"/>
                        <a:pt x="51" y="212"/>
                      </a:cubicBezTo>
                      <a:cubicBezTo>
                        <a:pt x="71" y="204"/>
                        <a:pt x="71" y="204"/>
                        <a:pt x="71" y="204"/>
                      </a:cubicBezTo>
                      <a:cubicBezTo>
                        <a:pt x="71" y="204"/>
                        <a:pt x="73" y="216"/>
                        <a:pt x="83" y="219"/>
                      </a:cubicBezTo>
                      <a:cubicBezTo>
                        <a:pt x="93" y="222"/>
                        <a:pt x="116" y="209"/>
                        <a:pt x="116" y="209"/>
                      </a:cubicBezTo>
                      <a:cubicBezTo>
                        <a:pt x="116" y="209"/>
                        <a:pt x="112" y="220"/>
                        <a:pt x="122" y="220"/>
                      </a:cubicBezTo>
                      <a:cubicBezTo>
                        <a:pt x="132" y="220"/>
                        <a:pt x="169" y="204"/>
                        <a:pt x="176" y="209"/>
                      </a:cubicBezTo>
                      <a:cubicBezTo>
                        <a:pt x="183" y="214"/>
                        <a:pt x="181" y="220"/>
                        <a:pt x="181" y="220"/>
                      </a:cubicBezTo>
                      <a:cubicBezTo>
                        <a:pt x="170" y="221"/>
                        <a:pt x="170" y="221"/>
                        <a:pt x="170" y="221"/>
                      </a:cubicBezTo>
                      <a:cubicBezTo>
                        <a:pt x="170" y="221"/>
                        <a:pt x="162" y="232"/>
                        <a:pt x="155" y="232"/>
                      </a:cubicBezTo>
                      <a:cubicBezTo>
                        <a:pt x="148" y="232"/>
                        <a:pt x="152" y="226"/>
                        <a:pt x="141" y="226"/>
                      </a:cubicBezTo>
                      <a:cubicBezTo>
                        <a:pt x="130" y="226"/>
                        <a:pt x="96" y="231"/>
                        <a:pt x="96" y="231"/>
                      </a:cubicBezTo>
                      <a:cubicBezTo>
                        <a:pt x="69" y="228"/>
                        <a:pt x="69" y="228"/>
                        <a:pt x="69" y="228"/>
                      </a:cubicBezTo>
                      <a:cubicBezTo>
                        <a:pt x="69" y="228"/>
                        <a:pt x="31" y="208"/>
                        <a:pt x="20" y="227"/>
                      </a:cubicBezTo>
                      <a:cubicBezTo>
                        <a:pt x="9" y="246"/>
                        <a:pt x="36" y="252"/>
                        <a:pt x="44" y="251"/>
                      </a:cubicBezTo>
                      <a:cubicBezTo>
                        <a:pt x="52" y="250"/>
                        <a:pt x="79" y="251"/>
                        <a:pt x="79" y="251"/>
                      </a:cubicBezTo>
                      <a:cubicBezTo>
                        <a:pt x="79" y="251"/>
                        <a:pt x="36" y="254"/>
                        <a:pt x="41" y="261"/>
                      </a:cubicBezTo>
                      <a:cubicBezTo>
                        <a:pt x="46" y="268"/>
                        <a:pt x="74" y="274"/>
                        <a:pt x="74" y="274"/>
                      </a:cubicBezTo>
                      <a:cubicBezTo>
                        <a:pt x="98" y="277"/>
                        <a:pt x="98" y="277"/>
                        <a:pt x="98" y="277"/>
                      </a:cubicBezTo>
                      <a:cubicBezTo>
                        <a:pt x="98" y="277"/>
                        <a:pt x="99" y="267"/>
                        <a:pt x="106" y="266"/>
                      </a:cubicBezTo>
                      <a:cubicBezTo>
                        <a:pt x="113" y="265"/>
                        <a:pt x="121" y="276"/>
                        <a:pt x="121" y="276"/>
                      </a:cubicBezTo>
                      <a:cubicBezTo>
                        <a:pt x="144" y="267"/>
                        <a:pt x="144" y="267"/>
                        <a:pt x="144" y="267"/>
                      </a:cubicBezTo>
                      <a:cubicBezTo>
                        <a:pt x="144" y="267"/>
                        <a:pt x="148" y="277"/>
                        <a:pt x="151" y="277"/>
                      </a:cubicBezTo>
                      <a:cubicBezTo>
                        <a:pt x="154" y="277"/>
                        <a:pt x="184" y="263"/>
                        <a:pt x="193" y="265"/>
                      </a:cubicBezTo>
                      <a:cubicBezTo>
                        <a:pt x="202" y="267"/>
                        <a:pt x="209" y="271"/>
                        <a:pt x="214" y="271"/>
                      </a:cubicBezTo>
                      <a:cubicBezTo>
                        <a:pt x="219" y="271"/>
                        <a:pt x="230" y="262"/>
                        <a:pt x="236" y="262"/>
                      </a:cubicBezTo>
                      <a:cubicBezTo>
                        <a:pt x="242" y="262"/>
                        <a:pt x="259" y="273"/>
                        <a:pt x="259" y="273"/>
                      </a:cubicBezTo>
                      <a:cubicBezTo>
                        <a:pt x="259" y="273"/>
                        <a:pt x="291" y="268"/>
                        <a:pt x="313" y="274"/>
                      </a:cubicBezTo>
                      <a:cubicBezTo>
                        <a:pt x="335" y="280"/>
                        <a:pt x="339" y="291"/>
                        <a:pt x="339" y="291"/>
                      </a:cubicBezTo>
                      <a:cubicBezTo>
                        <a:pt x="339" y="291"/>
                        <a:pt x="361" y="286"/>
                        <a:pt x="361" y="291"/>
                      </a:cubicBezTo>
                      <a:cubicBezTo>
                        <a:pt x="361" y="296"/>
                        <a:pt x="351" y="306"/>
                        <a:pt x="351" y="306"/>
                      </a:cubicBezTo>
                      <a:cubicBezTo>
                        <a:pt x="357" y="315"/>
                        <a:pt x="357" y="315"/>
                        <a:pt x="357" y="315"/>
                      </a:cubicBezTo>
                      <a:cubicBezTo>
                        <a:pt x="357" y="315"/>
                        <a:pt x="390" y="321"/>
                        <a:pt x="390" y="330"/>
                      </a:cubicBezTo>
                      <a:cubicBezTo>
                        <a:pt x="390" y="339"/>
                        <a:pt x="374" y="343"/>
                        <a:pt x="374" y="343"/>
                      </a:cubicBezTo>
                      <a:cubicBezTo>
                        <a:pt x="383" y="359"/>
                        <a:pt x="383" y="359"/>
                        <a:pt x="383" y="359"/>
                      </a:cubicBezTo>
                      <a:cubicBezTo>
                        <a:pt x="399" y="369"/>
                        <a:pt x="399" y="369"/>
                        <a:pt x="399" y="369"/>
                      </a:cubicBezTo>
                      <a:cubicBezTo>
                        <a:pt x="385" y="374"/>
                        <a:pt x="385" y="374"/>
                        <a:pt x="385" y="374"/>
                      </a:cubicBezTo>
                      <a:cubicBezTo>
                        <a:pt x="395" y="387"/>
                        <a:pt x="395" y="387"/>
                        <a:pt x="395" y="387"/>
                      </a:cubicBezTo>
                      <a:cubicBezTo>
                        <a:pt x="395" y="387"/>
                        <a:pt x="383" y="386"/>
                        <a:pt x="383" y="395"/>
                      </a:cubicBezTo>
                      <a:cubicBezTo>
                        <a:pt x="383" y="404"/>
                        <a:pt x="405" y="407"/>
                        <a:pt x="402" y="412"/>
                      </a:cubicBezTo>
                      <a:cubicBezTo>
                        <a:pt x="399" y="417"/>
                        <a:pt x="380" y="426"/>
                        <a:pt x="380" y="426"/>
                      </a:cubicBezTo>
                      <a:cubicBezTo>
                        <a:pt x="388" y="433"/>
                        <a:pt x="388" y="433"/>
                        <a:pt x="388" y="433"/>
                      </a:cubicBezTo>
                      <a:cubicBezTo>
                        <a:pt x="388" y="433"/>
                        <a:pt x="347" y="438"/>
                        <a:pt x="348" y="441"/>
                      </a:cubicBezTo>
                      <a:cubicBezTo>
                        <a:pt x="349" y="444"/>
                        <a:pt x="357" y="446"/>
                        <a:pt x="370" y="445"/>
                      </a:cubicBezTo>
                      <a:cubicBezTo>
                        <a:pt x="383" y="444"/>
                        <a:pt x="367" y="455"/>
                        <a:pt x="367" y="455"/>
                      </a:cubicBezTo>
                      <a:cubicBezTo>
                        <a:pt x="367" y="455"/>
                        <a:pt x="316" y="456"/>
                        <a:pt x="328" y="465"/>
                      </a:cubicBezTo>
                      <a:cubicBezTo>
                        <a:pt x="340" y="474"/>
                        <a:pt x="353" y="479"/>
                        <a:pt x="369" y="478"/>
                      </a:cubicBezTo>
                      <a:cubicBezTo>
                        <a:pt x="385" y="477"/>
                        <a:pt x="389" y="467"/>
                        <a:pt x="389" y="467"/>
                      </a:cubicBezTo>
                      <a:cubicBezTo>
                        <a:pt x="389" y="467"/>
                        <a:pt x="416" y="469"/>
                        <a:pt x="414" y="460"/>
                      </a:cubicBezTo>
                      <a:cubicBezTo>
                        <a:pt x="412" y="451"/>
                        <a:pt x="419" y="439"/>
                        <a:pt x="419" y="439"/>
                      </a:cubicBezTo>
                      <a:cubicBezTo>
                        <a:pt x="421" y="458"/>
                        <a:pt x="421" y="458"/>
                        <a:pt x="421" y="458"/>
                      </a:cubicBezTo>
                      <a:cubicBezTo>
                        <a:pt x="438" y="447"/>
                        <a:pt x="438" y="447"/>
                        <a:pt x="438" y="447"/>
                      </a:cubicBezTo>
                      <a:cubicBezTo>
                        <a:pt x="438" y="447"/>
                        <a:pt x="430" y="453"/>
                        <a:pt x="434" y="458"/>
                      </a:cubicBezTo>
                      <a:cubicBezTo>
                        <a:pt x="438" y="463"/>
                        <a:pt x="463" y="465"/>
                        <a:pt x="463" y="465"/>
                      </a:cubicBezTo>
                      <a:cubicBezTo>
                        <a:pt x="454" y="471"/>
                        <a:pt x="454" y="471"/>
                        <a:pt x="454" y="471"/>
                      </a:cubicBezTo>
                      <a:cubicBezTo>
                        <a:pt x="454" y="471"/>
                        <a:pt x="448" y="484"/>
                        <a:pt x="457" y="487"/>
                      </a:cubicBezTo>
                      <a:cubicBezTo>
                        <a:pt x="466" y="490"/>
                        <a:pt x="479" y="504"/>
                        <a:pt x="473" y="510"/>
                      </a:cubicBezTo>
                      <a:cubicBezTo>
                        <a:pt x="467" y="516"/>
                        <a:pt x="456" y="513"/>
                        <a:pt x="456" y="513"/>
                      </a:cubicBezTo>
                      <a:cubicBezTo>
                        <a:pt x="456" y="519"/>
                        <a:pt x="456" y="519"/>
                        <a:pt x="456" y="519"/>
                      </a:cubicBezTo>
                      <a:cubicBezTo>
                        <a:pt x="456" y="519"/>
                        <a:pt x="441" y="518"/>
                        <a:pt x="432" y="517"/>
                      </a:cubicBezTo>
                      <a:cubicBezTo>
                        <a:pt x="423" y="516"/>
                        <a:pt x="415" y="506"/>
                        <a:pt x="415" y="506"/>
                      </a:cubicBezTo>
                      <a:cubicBezTo>
                        <a:pt x="375" y="505"/>
                        <a:pt x="375" y="505"/>
                        <a:pt x="375" y="505"/>
                      </a:cubicBezTo>
                      <a:cubicBezTo>
                        <a:pt x="375" y="505"/>
                        <a:pt x="351" y="483"/>
                        <a:pt x="345" y="505"/>
                      </a:cubicBezTo>
                      <a:cubicBezTo>
                        <a:pt x="343" y="514"/>
                        <a:pt x="355" y="520"/>
                        <a:pt x="362" y="521"/>
                      </a:cubicBezTo>
                      <a:cubicBezTo>
                        <a:pt x="369" y="522"/>
                        <a:pt x="374" y="518"/>
                        <a:pt x="383" y="522"/>
                      </a:cubicBezTo>
                      <a:cubicBezTo>
                        <a:pt x="392" y="526"/>
                        <a:pt x="400" y="540"/>
                        <a:pt x="415" y="540"/>
                      </a:cubicBezTo>
                      <a:cubicBezTo>
                        <a:pt x="430" y="540"/>
                        <a:pt x="441" y="534"/>
                        <a:pt x="441" y="534"/>
                      </a:cubicBezTo>
                      <a:cubicBezTo>
                        <a:pt x="456" y="542"/>
                        <a:pt x="456" y="542"/>
                        <a:pt x="456" y="542"/>
                      </a:cubicBezTo>
                      <a:cubicBezTo>
                        <a:pt x="470" y="533"/>
                        <a:pt x="470" y="533"/>
                        <a:pt x="470" y="533"/>
                      </a:cubicBezTo>
                      <a:cubicBezTo>
                        <a:pt x="467" y="547"/>
                        <a:pt x="467" y="547"/>
                        <a:pt x="467" y="547"/>
                      </a:cubicBezTo>
                      <a:cubicBezTo>
                        <a:pt x="467" y="547"/>
                        <a:pt x="452" y="540"/>
                        <a:pt x="450" y="547"/>
                      </a:cubicBezTo>
                      <a:cubicBezTo>
                        <a:pt x="448" y="554"/>
                        <a:pt x="459" y="561"/>
                        <a:pt x="459" y="561"/>
                      </a:cubicBezTo>
                      <a:cubicBezTo>
                        <a:pt x="459" y="561"/>
                        <a:pt x="432" y="561"/>
                        <a:pt x="433" y="566"/>
                      </a:cubicBezTo>
                      <a:cubicBezTo>
                        <a:pt x="434" y="571"/>
                        <a:pt x="454" y="572"/>
                        <a:pt x="454" y="572"/>
                      </a:cubicBezTo>
                      <a:cubicBezTo>
                        <a:pt x="454" y="572"/>
                        <a:pt x="451" y="581"/>
                        <a:pt x="446" y="583"/>
                      </a:cubicBezTo>
                      <a:cubicBezTo>
                        <a:pt x="441" y="585"/>
                        <a:pt x="425" y="572"/>
                        <a:pt x="421" y="578"/>
                      </a:cubicBezTo>
                      <a:cubicBezTo>
                        <a:pt x="417" y="584"/>
                        <a:pt x="427" y="592"/>
                        <a:pt x="427" y="592"/>
                      </a:cubicBezTo>
                      <a:cubicBezTo>
                        <a:pt x="411" y="591"/>
                        <a:pt x="411" y="591"/>
                        <a:pt x="411" y="591"/>
                      </a:cubicBezTo>
                      <a:cubicBezTo>
                        <a:pt x="416" y="605"/>
                        <a:pt x="416" y="605"/>
                        <a:pt x="416" y="605"/>
                      </a:cubicBezTo>
                      <a:cubicBezTo>
                        <a:pt x="416" y="605"/>
                        <a:pt x="395" y="606"/>
                        <a:pt x="398" y="616"/>
                      </a:cubicBezTo>
                      <a:cubicBezTo>
                        <a:pt x="401" y="626"/>
                        <a:pt x="420" y="628"/>
                        <a:pt x="420" y="628"/>
                      </a:cubicBezTo>
                      <a:cubicBezTo>
                        <a:pt x="420" y="628"/>
                        <a:pt x="422" y="639"/>
                        <a:pt x="415" y="639"/>
                      </a:cubicBezTo>
                      <a:cubicBezTo>
                        <a:pt x="408" y="639"/>
                        <a:pt x="413" y="647"/>
                        <a:pt x="413" y="647"/>
                      </a:cubicBezTo>
                      <a:cubicBezTo>
                        <a:pt x="413" y="647"/>
                        <a:pt x="411" y="649"/>
                        <a:pt x="408" y="639"/>
                      </a:cubicBezTo>
                      <a:cubicBezTo>
                        <a:pt x="405" y="629"/>
                        <a:pt x="394" y="624"/>
                        <a:pt x="394" y="624"/>
                      </a:cubicBezTo>
                      <a:cubicBezTo>
                        <a:pt x="394" y="624"/>
                        <a:pt x="377" y="593"/>
                        <a:pt x="367" y="595"/>
                      </a:cubicBezTo>
                      <a:cubicBezTo>
                        <a:pt x="357" y="597"/>
                        <a:pt x="331" y="609"/>
                        <a:pt x="345" y="617"/>
                      </a:cubicBezTo>
                      <a:cubicBezTo>
                        <a:pt x="359" y="625"/>
                        <a:pt x="381" y="628"/>
                        <a:pt x="381" y="628"/>
                      </a:cubicBezTo>
                      <a:cubicBezTo>
                        <a:pt x="381" y="628"/>
                        <a:pt x="364" y="630"/>
                        <a:pt x="353" y="630"/>
                      </a:cubicBezTo>
                      <a:cubicBezTo>
                        <a:pt x="342" y="630"/>
                        <a:pt x="328" y="625"/>
                        <a:pt x="320" y="630"/>
                      </a:cubicBezTo>
                      <a:cubicBezTo>
                        <a:pt x="312" y="635"/>
                        <a:pt x="289" y="640"/>
                        <a:pt x="296" y="643"/>
                      </a:cubicBezTo>
                      <a:cubicBezTo>
                        <a:pt x="303" y="646"/>
                        <a:pt x="344" y="639"/>
                        <a:pt x="354" y="640"/>
                      </a:cubicBezTo>
                      <a:cubicBezTo>
                        <a:pt x="364" y="641"/>
                        <a:pt x="388" y="643"/>
                        <a:pt x="388" y="643"/>
                      </a:cubicBezTo>
                      <a:cubicBezTo>
                        <a:pt x="388" y="643"/>
                        <a:pt x="368" y="644"/>
                        <a:pt x="362" y="644"/>
                      </a:cubicBezTo>
                      <a:cubicBezTo>
                        <a:pt x="356" y="644"/>
                        <a:pt x="290" y="649"/>
                        <a:pt x="284" y="654"/>
                      </a:cubicBezTo>
                      <a:cubicBezTo>
                        <a:pt x="278" y="659"/>
                        <a:pt x="278" y="663"/>
                        <a:pt x="294" y="662"/>
                      </a:cubicBezTo>
                      <a:cubicBezTo>
                        <a:pt x="310" y="661"/>
                        <a:pt x="348" y="657"/>
                        <a:pt x="348" y="657"/>
                      </a:cubicBezTo>
                      <a:cubicBezTo>
                        <a:pt x="348" y="657"/>
                        <a:pt x="375" y="656"/>
                        <a:pt x="376" y="659"/>
                      </a:cubicBezTo>
                      <a:cubicBezTo>
                        <a:pt x="377" y="662"/>
                        <a:pt x="330" y="664"/>
                        <a:pt x="330" y="664"/>
                      </a:cubicBezTo>
                      <a:cubicBezTo>
                        <a:pt x="330" y="664"/>
                        <a:pt x="275" y="666"/>
                        <a:pt x="276" y="668"/>
                      </a:cubicBezTo>
                      <a:cubicBezTo>
                        <a:pt x="277" y="670"/>
                        <a:pt x="286" y="675"/>
                        <a:pt x="295" y="675"/>
                      </a:cubicBezTo>
                      <a:cubicBezTo>
                        <a:pt x="304" y="675"/>
                        <a:pt x="318" y="682"/>
                        <a:pt x="318" y="682"/>
                      </a:cubicBezTo>
                      <a:cubicBezTo>
                        <a:pt x="318" y="682"/>
                        <a:pt x="294" y="676"/>
                        <a:pt x="289" y="682"/>
                      </a:cubicBezTo>
                      <a:cubicBezTo>
                        <a:pt x="284" y="688"/>
                        <a:pt x="289" y="690"/>
                        <a:pt x="289" y="690"/>
                      </a:cubicBezTo>
                      <a:cubicBezTo>
                        <a:pt x="289" y="690"/>
                        <a:pt x="258" y="699"/>
                        <a:pt x="262" y="705"/>
                      </a:cubicBezTo>
                      <a:cubicBezTo>
                        <a:pt x="287" y="706"/>
                        <a:pt x="287" y="706"/>
                        <a:pt x="287" y="706"/>
                      </a:cubicBezTo>
                      <a:cubicBezTo>
                        <a:pt x="264" y="716"/>
                        <a:pt x="264" y="716"/>
                        <a:pt x="264" y="716"/>
                      </a:cubicBezTo>
                      <a:cubicBezTo>
                        <a:pt x="264" y="716"/>
                        <a:pt x="263" y="729"/>
                        <a:pt x="273" y="727"/>
                      </a:cubicBezTo>
                      <a:cubicBezTo>
                        <a:pt x="283" y="725"/>
                        <a:pt x="306" y="725"/>
                        <a:pt x="306" y="725"/>
                      </a:cubicBezTo>
                      <a:cubicBezTo>
                        <a:pt x="306" y="725"/>
                        <a:pt x="267" y="736"/>
                        <a:pt x="274" y="744"/>
                      </a:cubicBezTo>
                      <a:cubicBezTo>
                        <a:pt x="281" y="752"/>
                        <a:pt x="304" y="740"/>
                        <a:pt x="304" y="740"/>
                      </a:cubicBezTo>
                      <a:cubicBezTo>
                        <a:pt x="304" y="740"/>
                        <a:pt x="287" y="755"/>
                        <a:pt x="285" y="762"/>
                      </a:cubicBezTo>
                      <a:cubicBezTo>
                        <a:pt x="283" y="769"/>
                        <a:pt x="280" y="775"/>
                        <a:pt x="286" y="775"/>
                      </a:cubicBezTo>
                      <a:cubicBezTo>
                        <a:pt x="292" y="775"/>
                        <a:pt x="303" y="767"/>
                        <a:pt x="303" y="767"/>
                      </a:cubicBezTo>
                      <a:cubicBezTo>
                        <a:pt x="303" y="767"/>
                        <a:pt x="298" y="783"/>
                        <a:pt x="291" y="783"/>
                      </a:cubicBezTo>
                      <a:cubicBezTo>
                        <a:pt x="284" y="783"/>
                        <a:pt x="269" y="792"/>
                        <a:pt x="270" y="802"/>
                      </a:cubicBezTo>
                      <a:cubicBezTo>
                        <a:pt x="271" y="812"/>
                        <a:pt x="294" y="793"/>
                        <a:pt x="294" y="793"/>
                      </a:cubicBezTo>
                      <a:cubicBezTo>
                        <a:pt x="294" y="793"/>
                        <a:pt x="309" y="776"/>
                        <a:pt x="313" y="780"/>
                      </a:cubicBezTo>
                      <a:cubicBezTo>
                        <a:pt x="317" y="784"/>
                        <a:pt x="341" y="774"/>
                        <a:pt x="341" y="774"/>
                      </a:cubicBezTo>
                      <a:cubicBezTo>
                        <a:pt x="338" y="784"/>
                        <a:pt x="338" y="784"/>
                        <a:pt x="338" y="784"/>
                      </a:cubicBezTo>
                      <a:cubicBezTo>
                        <a:pt x="352" y="774"/>
                        <a:pt x="352" y="774"/>
                        <a:pt x="352" y="774"/>
                      </a:cubicBezTo>
                      <a:cubicBezTo>
                        <a:pt x="338" y="791"/>
                        <a:pt x="338" y="791"/>
                        <a:pt x="338" y="791"/>
                      </a:cubicBezTo>
                      <a:cubicBezTo>
                        <a:pt x="360" y="794"/>
                        <a:pt x="360" y="794"/>
                        <a:pt x="360" y="794"/>
                      </a:cubicBezTo>
                      <a:cubicBezTo>
                        <a:pt x="360" y="794"/>
                        <a:pt x="330" y="794"/>
                        <a:pt x="328" y="798"/>
                      </a:cubicBezTo>
                      <a:cubicBezTo>
                        <a:pt x="326" y="802"/>
                        <a:pt x="335" y="804"/>
                        <a:pt x="335" y="804"/>
                      </a:cubicBezTo>
                      <a:cubicBezTo>
                        <a:pt x="335" y="804"/>
                        <a:pt x="312" y="809"/>
                        <a:pt x="306" y="810"/>
                      </a:cubicBezTo>
                      <a:cubicBezTo>
                        <a:pt x="300" y="811"/>
                        <a:pt x="307" y="816"/>
                        <a:pt x="307" y="816"/>
                      </a:cubicBezTo>
                      <a:cubicBezTo>
                        <a:pt x="307" y="816"/>
                        <a:pt x="283" y="821"/>
                        <a:pt x="281" y="826"/>
                      </a:cubicBezTo>
                      <a:cubicBezTo>
                        <a:pt x="279" y="831"/>
                        <a:pt x="305" y="829"/>
                        <a:pt x="305" y="829"/>
                      </a:cubicBezTo>
                      <a:cubicBezTo>
                        <a:pt x="305" y="829"/>
                        <a:pt x="284" y="833"/>
                        <a:pt x="284" y="836"/>
                      </a:cubicBezTo>
                      <a:cubicBezTo>
                        <a:pt x="284" y="839"/>
                        <a:pt x="304" y="844"/>
                        <a:pt x="304" y="844"/>
                      </a:cubicBezTo>
                      <a:cubicBezTo>
                        <a:pt x="304" y="844"/>
                        <a:pt x="287" y="844"/>
                        <a:pt x="286" y="851"/>
                      </a:cubicBezTo>
                      <a:cubicBezTo>
                        <a:pt x="285" y="858"/>
                        <a:pt x="310" y="855"/>
                        <a:pt x="310" y="855"/>
                      </a:cubicBezTo>
                      <a:cubicBezTo>
                        <a:pt x="298" y="870"/>
                        <a:pt x="298" y="870"/>
                        <a:pt x="298" y="870"/>
                      </a:cubicBezTo>
                      <a:cubicBezTo>
                        <a:pt x="317" y="867"/>
                        <a:pt x="317" y="867"/>
                        <a:pt x="317" y="867"/>
                      </a:cubicBezTo>
                      <a:cubicBezTo>
                        <a:pt x="317" y="867"/>
                        <a:pt x="295" y="880"/>
                        <a:pt x="298" y="891"/>
                      </a:cubicBezTo>
                      <a:cubicBezTo>
                        <a:pt x="301" y="902"/>
                        <a:pt x="324" y="900"/>
                        <a:pt x="324" y="900"/>
                      </a:cubicBezTo>
                      <a:cubicBezTo>
                        <a:pt x="313" y="915"/>
                        <a:pt x="313" y="915"/>
                        <a:pt x="313" y="915"/>
                      </a:cubicBezTo>
                      <a:cubicBezTo>
                        <a:pt x="334" y="908"/>
                        <a:pt x="334" y="908"/>
                        <a:pt x="334" y="908"/>
                      </a:cubicBezTo>
                      <a:cubicBezTo>
                        <a:pt x="334" y="908"/>
                        <a:pt x="319" y="920"/>
                        <a:pt x="322" y="925"/>
                      </a:cubicBezTo>
                      <a:cubicBezTo>
                        <a:pt x="325" y="930"/>
                        <a:pt x="344" y="931"/>
                        <a:pt x="344" y="931"/>
                      </a:cubicBezTo>
                      <a:cubicBezTo>
                        <a:pt x="344" y="931"/>
                        <a:pt x="334" y="934"/>
                        <a:pt x="337" y="940"/>
                      </a:cubicBezTo>
                      <a:cubicBezTo>
                        <a:pt x="340" y="946"/>
                        <a:pt x="351" y="943"/>
                        <a:pt x="351" y="943"/>
                      </a:cubicBezTo>
                      <a:cubicBezTo>
                        <a:pt x="351" y="943"/>
                        <a:pt x="336" y="955"/>
                        <a:pt x="339" y="959"/>
                      </a:cubicBezTo>
                      <a:cubicBezTo>
                        <a:pt x="342" y="963"/>
                        <a:pt x="358" y="961"/>
                        <a:pt x="358" y="961"/>
                      </a:cubicBezTo>
                      <a:cubicBezTo>
                        <a:pt x="356" y="969"/>
                        <a:pt x="356" y="969"/>
                        <a:pt x="356" y="969"/>
                      </a:cubicBezTo>
                      <a:cubicBezTo>
                        <a:pt x="382" y="963"/>
                        <a:pt x="382" y="963"/>
                        <a:pt x="382" y="963"/>
                      </a:cubicBezTo>
                      <a:cubicBezTo>
                        <a:pt x="382" y="963"/>
                        <a:pt x="390" y="976"/>
                        <a:pt x="398" y="969"/>
                      </a:cubicBezTo>
                      <a:cubicBezTo>
                        <a:pt x="406" y="962"/>
                        <a:pt x="431" y="946"/>
                        <a:pt x="435" y="948"/>
                      </a:cubicBezTo>
                      <a:cubicBezTo>
                        <a:pt x="439" y="950"/>
                        <a:pt x="428" y="958"/>
                        <a:pt x="428" y="958"/>
                      </a:cubicBezTo>
                      <a:cubicBezTo>
                        <a:pt x="443" y="962"/>
                        <a:pt x="443" y="962"/>
                        <a:pt x="443" y="962"/>
                      </a:cubicBezTo>
                      <a:cubicBezTo>
                        <a:pt x="457" y="955"/>
                        <a:pt x="457" y="955"/>
                        <a:pt x="457" y="955"/>
                      </a:cubicBezTo>
                      <a:cubicBezTo>
                        <a:pt x="457" y="955"/>
                        <a:pt x="436" y="968"/>
                        <a:pt x="431" y="973"/>
                      </a:cubicBezTo>
                      <a:cubicBezTo>
                        <a:pt x="426" y="978"/>
                        <a:pt x="422" y="983"/>
                        <a:pt x="430" y="983"/>
                      </a:cubicBezTo>
                      <a:cubicBezTo>
                        <a:pt x="438" y="983"/>
                        <a:pt x="465" y="978"/>
                        <a:pt x="465" y="978"/>
                      </a:cubicBezTo>
                      <a:cubicBezTo>
                        <a:pt x="465" y="978"/>
                        <a:pt x="434" y="994"/>
                        <a:pt x="443" y="1000"/>
                      </a:cubicBezTo>
                      <a:cubicBezTo>
                        <a:pt x="452" y="1006"/>
                        <a:pt x="471" y="1000"/>
                        <a:pt x="471" y="1000"/>
                      </a:cubicBezTo>
                      <a:cubicBezTo>
                        <a:pt x="471" y="1000"/>
                        <a:pt x="481" y="1019"/>
                        <a:pt x="493" y="1012"/>
                      </a:cubicBezTo>
                      <a:cubicBezTo>
                        <a:pt x="505" y="1005"/>
                        <a:pt x="511" y="998"/>
                        <a:pt x="511" y="998"/>
                      </a:cubicBezTo>
                      <a:cubicBezTo>
                        <a:pt x="511" y="998"/>
                        <a:pt x="506" y="995"/>
                        <a:pt x="502" y="989"/>
                      </a:cubicBezTo>
                      <a:cubicBezTo>
                        <a:pt x="498" y="983"/>
                        <a:pt x="515" y="990"/>
                        <a:pt x="520" y="985"/>
                      </a:cubicBezTo>
                      <a:cubicBezTo>
                        <a:pt x="525" y="980"/>
                        <a:pt x="524" y="964"/>
                        <a:pt x="524" y="964"/>
                      </a:cubicBezTo>
                      <a:cubicBezTo>
                        <a:pt x="524" y="964"/>
                        <a:pt x="546" y="974"/>
                        <a:pt x="545" y="964"/>
                      </a:cubicBezTo>
                      <a:cubicBezTo>
                        <a:pt x="544" y="954"/>
                        <a:pt x="540" y="948"/>
                        <a:pt x="540" y="948"/>
                      </a:cubicBezTo>
                      <a:cubicBezTo>
                        <a:pt x="540" y="948"/>
                        <a:pt x="546" y="957"/>
                        <a:pt x="552" y="958"/>
                      </a:cubicBezTo>
                      <a:cubicBezTo>
                        <a:pt x="557" y="958"/>
                        <a:pt x="562" y="949"/>
                        <a:pt x="559" y="944"/>
                      </a:cubicBezTo>
                      <a:cubicBezTo>
                        <a:pt x="553" y="934"/>
                        <a:pt x="547" y="931"/>
                        <a:pt x="547" y="931"/>
                      </a:cubicBezTo>
                      <a:cubicBezTo>
                        <a:pt x="547" y="931"/>
                        <a:pt x="569" y="937"/>
                        <a:pt x="569" y="933"/>
                      </a:cubicBezTo>
                      <a:cubicBezTo>
                        <a:pt x="569" y="929"/>
                        <a:pt x="564" y="923"/>
                        <a:pt x="564" y="923"/>
                      </a:cubicBezTo>
                      <a:cubicBezTo>
                        <a:pt x="582" y="922"/>
                        <a:pt x="582" y="922"/>
                        <a:pt x="582" y="922"/>
                      </a:cubicBezTo>
                      <a:cubicBezTo>
                        <a:pt x="574" y="908"/>
                        <a:pt x="574" y="908"/>
                        <a:pt x="574" y="908"/>
                      </a:cubicBezTo>
                      <a:cubicBezTo>
                        <a:pt x="585" y="903"/>
                        <a:pt x="585" y="903"/>
                        <a:pt x="585" y="903"/>
                      </a:cubicBezTo>
                      <a:cubicBezTo>
                        <a:pt x="585" y="903"/>
                        <a:pt x="572" y="894"/>
                        <a:pt x="569" y="893"/>
                      </a:cubicBezTo>
                      <a:cubicBezTo>
                        <a:pt x="566" y="892"/>
                        <a:pt x="580" y="887"/>
                        <a:pt x="580" y="887"/>
                      </a:cubicBezTo>
                      <a:cubicBezTo>
                        <a:pt x="566" y="873"/>
                        <a:pt x="566" y="873"/>
                        <a:pt x="566" y="873"/>
                      </a:cubicBezTo>
                      <a:cubicBezTo>
                        <a:pt x="566" y="873"/>
                        <a:pt x="580" y="885"/>
                        <a:pt x="584" y="882"/>
                      </a:cubicBezTo>
                      <a:cubicBezTo>
                        <a:pt x="588" y="879"/>
                        <a:pt x="596" y="873"/>
                        <a:pt x="596" y="873"/>
                      </a:cubicBezTo>
                      <a:cubicBezTo>
                        <a:pt x="596" y="873"/>
                        <a:pt x="612" y="875"/>
                        <a:pt x="615" y="872"/>
                      </a:cubicBezTo>
                      <a:cubicBezTo>
                        <a:pt x="618" y="869"/>
                        <a:pt x="611" y="859"/>
                        <a:pt x="611" y="859"/>
                      </a:cubicBezTo>
                      <a:cubicBezTo>
                        <a:pt x="625" y="858"/>
                        <a:pt x="625" y="858"/>
                        <a:pt x="625" y="858"/>
                      </a:cubicBezTo>
                      <a:cubicBezTo>
                        <a:pt x="630" y="841"/>
                        <a:pt x="630" y="841"/>
                        <a:pt x="630" y="841"/>
                      </a:cubicBezTo>
                      <a:cubicBezTo>
                        <a:pt x="630" y="841"/>
                        <a:pt x="650" y="848"/>
                        <a:pt x="656" y="843"/>
                      </a:cubicBezTo>
                      <a:cubicBezTo>
                        <a:pt x="662" y="838"/>
                        <a:pt x="657" y="829"/>
                        <a:pt x="657" y="829"/>
                      </a:cubicBezTo>
                      <a:cubicBezTo>
                        <a:pt x="657" y="829"/>
                        <a:pt x="664" y="839"/>
                        <a:pt x="671" y="839"/>
                      </a:cubicBezTo>
                      <a:cubicBezTo>
                        <a:pt x="675" y="839"/>
                        <a:pt x="678" y="830"/>
                        <a:pt x="680" y="828"/>
                      </a:cubicBezTo>
                      <a:cubicBezTo>
                        <a:pt x="685" y="821"/>
                        <a:pt x="680" y="811"/>
                        <a:pt x="680" y="811"/>
                      </a:cubicBezTo>
                      <a:cubicBezTo>
                        <a:pt x="655" y="807"/>
                        <a:pt x="655" y="807"/>
                        <a:pt x="655" y="807"/>
                      </a:cubicBezTo>
                      <a:cubicBezTo>
                        <a:pt x="673" y="802"/>
                        <a:pt x="673" y="802"/>
                        <a:pt x="673" y="802"/>
                      </a:cubicBezTo>
                      <a:cubicBezTo>
                        <a:pt x="693" y="794"/>
                        <a:pt x="693" y="794"/>
                        <a:pt x="693" y="794"/>
                      </a:cubicBezTo>
                      <a:cubicBezTo>
                        <a:pt x="694" y="780"/>
                        <a:pt x="694" y="780"/>
                        <a:pt x="694" y="780"/>
                      </a:cubicBezTo>
                      <a:cubicBezTo>
                        <a:pt x="681" y="777"/>
                        <a:pt x="681" y="777"/>
                        <a:pt x="681" y="777"/>
                      </a:cubicBezTo>
                      <a:cubicBezTo>
                        <a:pt x="686" y="765"/>
                        <a:pt x="686" y="765"/>
                        <a:pt x="686" y="765"/>
                      </a:cubicBezTo>
                      <a:cubicBezTo>
                        <a:pt x="707" y="765"/>
                        <a:pt x="707" y="765"/>
                        <a:pt x="707" y="765"/>
                      </a:cubicBezTo>
                      <a:cubicBezTo>
                        <a:pt x="707" y="765"/>
                        <a:pt x="721" y="769"/>
                        <a:pt x="728" y="763"/>
                      </a:cubicBezTo>
                      <a:cubicBezTo>
                        <a:pt x="735" y="757"/>
                        <a:pt x="730" y="745"/>
                        <a:pt x="730" y="745"/>
                      </a:cubicBezTo>
                      <a:cubicBezTo>
                        <a:pt x="752" y="741"/>
                        <a:pt x="752" y="741"/>
                        <a:pt x="752" y="741"/>
                      </a:cubicBezTo>
                      <a:cubicBezTo>
                        <a:pt x="752" y="741"/>
                        <a:pt x="783" y="747"/>
                        <a:pt x="791" y="740"/>
                      </a:cubicBezTo>
                      <a:cubicBezTo>
                        <a:pt x="799" y="733"/>
                        <a:pt x="802" y="726"/>
                        <a:pt x="802" y="726"/>
                      </a:cubicBezTo>
                      <a:cubicBezTo>
                        <a:pt x="811" y="721"/>
                        <a:pt x="811" y="721"/>
                        <a:pt x="811" y="721"/>
                      </a:cubicBezTo>
                      <a:cubicBezTo>
                        <a:pt x="811" y="721"/>
                        <a:pt x="813" y="710"/>
                        <a:pt x="824" y="708"/>
                      </a:cubicBezTo>
                      <a:cubicBezTo>
                        <a:pt x="835" y="706"/>
                        <a:pt x="804" y="740"/>
                        <a:pt x="812" y="740"/>
                      </a:cubicBezTo>
                      <a:cubicBezTo>
                        <a:pt x="820" y="740"/>
                        <a:pt x="828" y="738"/>
                        <a:pt x="828" y="738"/>
                      </a:cubicBezTo>
                      <a:cubicBezTo>
                        <a:pt x="832" y="725"/>
                        <a:pt x="832" y="725"/>
                        <a:pt x="832" y="725"/>
                      </a:cubicBezTo>
                      <a:cubicBezTo>
                        <a:pt x="841" y="727"/>
                        <a:pt x="841" y="727"/>
                        <a:pt x="841" y="727"/>
                      </a:cubicBezTo>
                      <a:cubicBezTo>
                        <a:pt x="849" y="718"/>
                        <a:pt x="849" y="718"/>
                        <a:pt x="849" y="718"/>
                      </a:cubicBezTo>
                      <a:cubicBezTo>
                        <a:pt x="849" y="718"/>
                        <a:pt x="866" y="733"/>
                        <a:pt x="878" y="725"/>
                      </a:cubicBezTo>
                      <a:cubicBezTo>
                        <a:pt x="890" y="717"/>
                        <a:pt x="907" y="704"/>
                        <a:pt x="907" y="704"/>
                      </a:cubicBezTo>
                      <a:cubicBezTo>
                        <a:pt x="907" y="704"/>
                        <a:pt x="923" y="709"/>
                        <a:pt x="950" y="698"/>
                      </a:cubicBezTo>
                      <a:cubicBezTo>
                        <a:pt x="977" y="687"/>
                        <a:pt x="974" y="670"/>
                        <a:pt x="992" y="658"/>
                      </a:cubicBezTo>
                      <a:cubicBezTo>
                        <a:pt x="1010" y="646"/>
                        <a:pt x="1052" y="634"/>
                        <a:pt x="1052" y="634"/>
                      </a:cubicBezTo>
                      <a:cubicBezTo>
                        <a:pt x="1052" y="634"/>
                        <a:pt x="1055" y="625"/>
                        <a:pt x="1054" y="619"/>
                      </a:cubicBezTo>
                      <a:cubicBezTo>
                        <a:pt x="1053" y="613"/>
                        <a:pt x="1046" y="601"/>
                        <a:pt x="1053" y="599"/>
                      </a:cubicBezTo>
                      <a:cubicBezTo>
                        <a:pt x="1060" y="597"/>
                        <a:pt x="1071" y="625"/>
                        <a:pt x="1082" y="625"/>
                      </a:cubicBezTo>
                      <a:cubicBezTo>
                        <a:pt x="1082" y="625"/>
                        <a:pt x="1124" y="624"/>
                        <a:pt x="1135" y="622"/>
                      </a:cubicBezTo>
                      <a:cubicBezTo>
                        <a:pt x="1146" y="620"/>
                        <a:pt x="1167" y="609"/>
                        <a:pt x="1190" y="606"/>
                      </a:cubicBezTo>
                      <a:cubicBezTo>
                        <a:pt x="1213" y="603"/>
                        <a:pt x="1253" y="600"/>
                        <a:pt x="1260" y="598"/>
                      </a:cubicBezTo>
                      <a:cubicBezTo>
                        <a:pt x="1267" y="596"/>
                        <a:pt x="1273" y="589"/>
                        <a:pt x="1273" y="589"/>
                      </a:cubicBezTo>
                      <a:cubicBezTo>
                        <a:pt x="1291" y="589"/>
                        <a:pt x="1291" y="589"/>
                        <a:pt x="1291" y="589"/>
                      </a:cubicBezTo>
                      <a:cubicBezTo>
                        <a:pt x="1300" y="578"/>
                        <a:pt x="1300" y="578"/>
                        <a:pt x="1300" y="578"/>
                      </a:cubicBezTo>
                      <a:cubicBezTo>
                        <a:pt x="1317" y="578"/>
                        <a:pt x="1317" y="578"/>
                        <a:pt x="1317" y="578"/>
                      </a:cubicBezTo>
                      <a:cubicBezTo>
                        <a:pt x="1317" y="578"/>
                        <a:pt x="1335" y="561"/>
                        <a:pt x="1339" y="558"/>
                      </a:cubicBezTo>
                      <a:cubicBezTo>
                        <a:pt x="1343" y="555"/>
                        <a:pt x="1369" y="553"/>
                        <a:pt x="1369" y="553"/>
                      </a:cubicBezTo>
                      <a:cubicBezTo>
                        <a:pt x="1401" y="542"/>
                        <a:pt x="1401" y="542"/>
                        <a:pt x="1401" y="542"/>
                      </a:cubicBezTo>
                      <a:cubicBezTo>
                        <a:pt x="1422" y="537"/>
                        <a:pt x="1422" y="537"/>
                        <a:pt x="1422" y="537"/>
                      </a:cubicBezTo>
                      <a:cubicBezTo>
                        <a:pt x="1427" y="529"/>
                        <a:pt x="1427" y="529"/>
                        <a:pt x="1427" y="529"/>
                      </a:cubicBezTo>
                      <a:cubicBezTo>
                        <a:pt x="1427" y="529"/>
                        <a:pt x="1407" y="531"/>
                        <a:pt x="1395" y="531"/>
                      </a:cubicBezTo>
                      <a:cubicBezTo>
                        <a:pt x="1383" y="531"/>
                        <a:pt x="1375" y="524"/>
                        <a:pt x="1360" y="522"/>
                      </a:cubicBezTo>
                      <a:cubicBezTo>
                        <a:pt x="1345" y="520"/>
                        <a:pt x="1317" y="520"/>
                        <a:pt x="1303" y="524"/>
                      </a:cubicBezTo>
                      <a:cubicBezTo>
                        <a:pt x="1289" y="528"/>
                        <a:pt x="1269" y="528"/>
                        <a:pt x="1269" y="528"/>
                      </a:cubicBezTo>
                      <a:cubicBezTo>
                        <a:pt x="1259" y="537"/>
                        <a:pt x="1259" y="537"/>
                        <a:pt x="1259" y="537"/>
                      </a:cubicBezTo>
                      <a:cubicBezTo>
                        <a:pt x="1259" y="537"/>
                        <a:pt x="1214" y="541"/>
                        <a:pt x="1221" y="535"/>
                      </a:cubicBezTo>
                      <a:cubicBezTo>
                        <a:pt x="1228" y="529"/>
                        <a:pt x="1288" y="520"/>
                        <a:pt x="1288" y="520"/>
                      </a:cubicBezTo>
                      <a:cubicBezTo>
                        <a:pt x="1288" y="520"/>
                        <a:pt x="1348" y="508"/>
                        <a:pt x="1333" y="499"/>
                      </a:cubicBezTo>
                      <a:cubicBezTo>
                        <a:pt x="1318" y="490"/>
                        <a:pt x="1310" y="490"/>
                        <a:pt x="1310" y="490"/>
                      </a:cubicBezTo>
                      <a:cubicBezTo>
                        <a:pt x="1310" y="490"/>
                        <a:pt x="1255" y="508"/>
                        <a:pt x="1249" y="511"/>
                      </a:cubicBezTo>
                      <a:cubicBezTo>
                        <a:pt x="1243" y="514"/>
                        <a:pt x="1217" y="512"/>
                        <a:pt x="1217" y="512"/>
                      </a:cubicBezTo>
                      <a:cubicBezTo>
                        <a:pt x="1241" y="500"/>
                        <a:pt x="1241" y="500"/>
                        <a:pt x="1241" y="500"/>
                      </a:cubicBezTo>
                      <a:cubicBezTo>
                        <a:pt x="1255" y="489"/>
                        <a:pt x="1255" y="489"/>
                        <a:pt x="1255" y="489"/>
                      </a:cubicBezTo>
                      <a:cubicBezTo>
                        <a:pt x="1255" y="489"/>
                        <a:pt x="1279" y="493"/>
                        <a:pt x="1286" y="491"/>
                      </a:cubicBezTo>
                      <a:cubicBezTo>
                        <a:pt x="1293" y="489"/>
                        <a:pt x="1311" y="485"/>
                        <a:pt x="1319" y="485"/>
                      </a:cubicBezTo>
                      <a:cubicBezTo>
                        <a:pt x="1327" y="485"/>
                        <a:pt x="1349" y="483"/>
                        <a:pt x="1337" y="477"/>
                      </a:cubicBezTo>
                      <a:cubicBezTo>
                        <a:pt x="1325" y="471"/>
                        <a:pt x="1287" y="470"/>
                        <a:pt x="1287" y="470"/>
                      </a:cubicBezTo>
                      <a:cubicBezTo>
                        <a:pt x="1255" y="472"/>
                        <a:pt x="1255" y="472"/>
                        <a:pt x="1255" y="472"/>
                      </a:cubicBezTo>
                      <a:cubicBezTo>
                        <a:pt x="1271" y="465"/>
                        <a:pt x="1271" y="465"/>
                        <a:pt x="1271" y="465"/>
                      </a:cubicBezTo>
                      <a:cubicBezTo>
                        <a:pt x="1255" y="455"/>
                        <a:pt x="1255" y="455"/>
                        <a:pt x="1255" y="455"/>
                      </a:cubicBezTo>
                      <a:cubicBezTo>
                        <a:pt x="1255" y="455"/>
                        <a:pt x="1253" y="446"/>
                        <a:pt x="1257" y="446"/>
                      </a:cubicBezTo>
                      <a:cubicBezTo>
                        <a:pt x="1261" y="446"/>
                        <a:pt x="1281" y="463"/>
                        <a:pt x="1294" y="464"/>
                      </a:cubicBezTo>
                      <a:cubicBezTo>
                        <a:pt x="1307" y="465"/>
                        <a:pt x="1348" y="477"/>
                        <a:pt x="1348" y="477"/>
                      </a:cubicBezTo>
                      <a:cubicBezTo>
                        <a:pt x="1348" y="477"/>
                        <a:pt x="1366" y="469"/>
                        <a:pt x="1367" y="478"/>
                      </a:cubicBezTo>
                      <a:cubicBezTo>
                        <a:pt x="1368" y="487"/>
                        <a:pt x="1356" y="501"/>
                        <a:pt x="1377" y="507"/>
                      </a:cubicBezTo>
                      <a:cubicBezTo>
                        <a:pt x="1398" y="513"/>
                        <a:pt x="1421" y="514"/>
                        <a:pt x="1421" y="514"/>
                      </a:cubicBezTo>
                      <a:cubicBezTo>
                        <a:pt x="1421" y="514"/>
                        <a:pt x="1423" y="499"/>
                        <a:pt x="1427" y="502"/>
                      </a:cubicBezTo>
                      <a:cubicBezTo>
                        <a:pt x="1431" y="505"/>
                        <a:pt x="1427" y="520"/>
                        <a:pt x="1436" y="520"/>
                      </a:cubicBezTo>
                      <a:cubicBezTo>
                        <a:pt x="1445" y="520"/>
                        <a:pt x="1457" y="510"/>
                        <a:pt x="1457" y="510"/>
                      </a:cubicBezTo>
                      <a:cubicBezTo>
                        <a:pt x="1457" y="494"/>
                        <a:pt x="1457" y="494"/>
                        <a:pt x="1457" y="494"/>
                      </a:cubicBezTo>
                      <a:cubicBezTo>
                        <a:pt x="1451" y="492"/>
                        <a:pt x="1451" y="492"/>
                        <a:pt x="1451" y="492"/>
                      </a:cubicBezTo>
                      <a:cubicBezTo>
                        <a:pt x="1451" y="492"/>
                        <a:pt x="1465" y="481"/>
                        <a:pt x="1459" y="476"/>
                      </a:cubicBezTo>
                      <a:cubicBezTo>
                        <a:pt x="1453" y="471"/>
                        <a:pt x="1442" y="477"/>
                        <a:pt x="1442" y="477"/>
                      </a:cubicBezTo>
                      <a:cubicBezTo>
                        <a:pt x="1436" y="462"/>
                        <a:pt x="1436" y="462"/>
                        <a:pt x="1436" y="462"/>
                      </a:cubicBezTo>
                      <a:cubicBezTo>
                        <a:pt x="1425" y="459"/>
                        <a:pt x="1425" y="459"/>
                        <a:pt x="1425" y="459"/>
                      </a:cubicBezTo>
                      <a:cubicBezTo>
                        <a:pt x="1428" y="449"/>
                        <a:pt x="1428" y="449"/>
                        <a:pt x="1428" y="449"/>
                      </a:cubicBezTo>
                      <a:cubicBezTo>
                        <a:pt x="1380" y="430"/>
                        <a:pt x="1380" y="430"/>
                        <a:pt x="1380" y="430"/>
                      </a:cubicBezTo>
                      <a:cubicBezTo>
                        <a:pt x="1353" y="437"/>
                        <a:pt x="1353" y="437"/>
                        <a:pt x="1353" y="437"/>
                      </a:cubicBezTo>
                      <a:cubicBezTo>
                        <a:pt x="1347" y="434"/>
                        <a:pt x="1347" y="434"/>
                        <a:pt x="1347" y="434"/>
                      </a:cubicBezTo>
                      <a:cubicBezTo>
                        <a:pt x="1369" y="427"/>
                        <a:pt x="1369" y="427"/>
                        <a:pt x="1369" y="427"/>
                      </a:cubicBezTo>
                      <a:cubicBezTo>
                        <a:pt x="1371" y="424"/>
                        <a:pt x="1371" y="424"/>
                        <a:pt x="1371" y="424"/>
                      </a:cubicBezTo>
                      <a:cubicBezTo>
                        <a:pt x="1371" y="424"/>
                        <a:pt x="1370" y="415"/>
                        <a:pt x="1353" y="415"/>
                      </a:cubicBezTo>
                      <a:cubicBezTo>
                        <a:pt x="1336" y="415"/>
                        <a:pt x="1303" y="412"/>
                        <a:pt x="1303" y="412"/>
                      </a:cubicBezTo>
                      <a:cubicBezTo>
                        <a:pt x="1314" y="398"/>
                        <a:pt x="1314" y="398"/>
                        <a:pt x="1314" y="398"/>
                      </a:cubicBezTo>
                      <a:cubicBezTo>
                        <a:pt x="1314" y="398"/>
                        <a:pt x="1327" y="396"/>
                        <a:pt x="1337" y="400"/>
                      </a:cubicBezTo>
                      <a:cubicBezTo>
                        <a:pt x="1347" y="404"/>
                        <a:pt x="1363" y="393"/>
                        <a:pt x="1363" y="393"/>
                      </a:cubicBezTo>
                      <a:cubicBezTo>
                        <a:pt x="1381" y="390"/>
                        <a:pt x="1381" y="390"/>
                        <a:pt x="1381" y="390"/>
                      </a:cubicBezTo>
                      <a:cubicBezTo>
                        <a:pt x="1413" y="400"/>
                        <a:pt x="1413" y="400"/>
                        <a:pt x="1413" y="400"/>
                      </a:cubicBezTo>
                      <a:cubicBezTo>
                        <a:pt x="1427" y="397"/>
                        <a:pt x="1427" y="397"/>
                        <a:pt x="1427" y="397"/>
                      </a:cubicBezTo>
                      <a:cubicBezTo>
                        <a:pt x="1427" y="397"/>
                        <a:pt x="1453" y="418"/>
                        <a:pt x="1464" y="418"/>
                      </a:cubicBezTo>
                      <a:cubicBezTo>
                        <a:pt x="1475" y="418"/>
                        <a:pt x="1471" y="404"/>
                        <a:pt x="1471" y="404"/>
                      </a:cubicBezTo>
                      <a:cubicBezTo>
                        <a:pt x="1445" y="400"/>
                        <a:pt x="1445" y="400"/>
                        <a:pt x="1445" y="400"/>
                      </a:cubicBezTo>
                      <a:cubicBezTo>
                        <a:pt x="1425" y="390"/>
                        <a:pt x="1425" y="390"/>
                        <a:pt x="1425" y="390"/>
                      </a:cubicBezTo>
                      <a:cubicBezTo>
                        <a:pt x="1394" y="387"/>
                        <a:pt x="1394" y="387"/>
                        <a:pt x="1394" y="387"/>
                      </a:cubicBezTo>
                      <a:cubicBezTo>
                        <a:pt x="1394" y="387"/>
                        <a:pt x="1401" y="378"/>
                        <a:pt x="1408" y="375"/>
                      </a:cubicBezTo>
                      <a:cubicBezTo>
                        <a:pt x="1415" y="372"/>
                        <a:pt x="1432" y="390"/>
                        <a:pt x="1448" y="390"/>
                      </a:cubicBezTo>
                      <a:cubicBezTo>
                        <a:pt x="1464" y="390"/>
                        <a:pt x="1492" y="391"/>
                        <a:pt x="1492" y="391"/>
                      </a:cubicBezTo>
                      <a:cubicBezTo>
                        <a:pt x="1534" y="386"/>
                        <a:pt x="1534" y="386"/>
                        <a:pt x="1534" y="386"/>
                      </a:cubicBezTo>
                      <a:cubicBezTo>
                        <a:pt x="1535" y="368"/>
                        <a:pt x="1535" y="368"/>
                        <a:pt x="1535" y="368"/>
                      </a:cubicBezTo>
                      <a:cubicBezTo>
                        <a:pt x="1506" y="361"/>
                        <a:pt x="1506" y="361"/>
                        <a:pt x="1506" y="361"/>
                      </a:cubicBezTo>
                      <a:cubicBezTo>
                        <a:pt x="1491" y="371"/>
                        <a:pt x="1491" y="371"/>
                        <a:pt x="1491" y="371"/>
                      </a:cubicBezTo>
                      <a:cubicBezTo>
                        <a:pt x="1491" y="371"/>
                        <a:pt x="1477" y="359"/>
                        <a:pt x="1481" y="355"/>
                      </a:cubicBezTo>
                      <a:cubicBezTo>
                        <a:pt x="1485" y="351"/>
                        <a:pt x="1517" y="354"/>
                        <a:pt x="1517" y="354"/>
                      </a:cubicBezTo>
                      <a:cubicBezTo>
                        <a:pt x="1546" y="346"/>
                        <a:pt x="1546" y="346"/>
                        <a:pt x="1546" y="346"/>
                      </a:cubicBezTo>
                      <a:cubicBezTo>
                        <a:pt x="1546" y="346"/>
                        <a:pt x="1563" y="356"/>
                        <a:pt x="1576" y="352"/>
                      </a:cubicBezTo>
                      <a:cubicBezTo>
                        <a:pt x="1589" y="348"/>
                        <a:pt x="1602" y="339"/>
                        <a:pt x="1597" y="337"/>
                      </a:cubicBezTo>
                      <a:cubicBezTo>
                        <a:pt x="1592" y="335"/>
                        <a:pt x="1550" y="334"/>
                        <a:pt x="1546" y="334"/>
                      </a:cubicBezTo>
                      <a:cubicBezTo>
                        <a:pt x="1542" y="334"/>
                        <a:pt x="1550" y="326"/>
                        <a:pt x="1538" y="323"/>
                      </a:cubicBezTo>
                      <a:cubicBezTo>
                        <a:pt x="1526" y="320"/>
                        <a:pt x="1498" y="321"/>
                        <a:pt x="1498" y="321"/>
                      </a:cubicBezTo>
                      <a:cubicBezTo>
                        <a:pt x="1498" y="321"/>
                        <a:pt x="1532" y="320"/>
                        <a:pt x="1535" y="314"/>
                      </a:cubicBezTo>
                      <a:cubicBezTo>
                        <a:pt x="1538" y="308"/>
                        <a:pt x="1499" y="301"/>
                        <a:pt x="1499" y="301"/>
                      </a:cubicBezTo>
                      <a:cubicBezTo>
                        <a:pt x="1499" y="301"/>
                        <a:pt x="1521" y="296"/>
                        <a:pt x="1528" y="299"/>
                      </a:cubicBezTo>
                      <a:cubicBezTo>
                        <a:pt x="1535" y="302"/>
                        <a:pt x="1559" y="310"/>
                        <a:pt x="1565" y="308"/>
                      </a:cubicBezTo>
                      <a:cubicBezTo>
                        <a:pt x="1571" y="306"/>
                        <a:pt x="1573" y="320"/>
                        <a:pt x="1583" y="316"/>
                      </a:cubicBezTo>
                      <a:cubicBezTo>
                        <a:pt x="1593" y="312"/>
                        <a:pt x="1601" y="294"/>
                        <a:pt x="1594" y="289"/>
                      </a:cubicBezTo>
                      <a:cubicBezTo>
                        <a:pt x="1587" y="284"/>
                        <a:pt x="1570" y="272"/>
                        <a:pt x="1570" y="272"/>
                      </a:cubicBezTo>
                      <a:cubicBezTo>
                        <a:pt x="1531" y="264"/>
                        <a:pt x="1531" y="264"/>
                        <a:pt x="1531" y="264"/>
                      </a:cubicBezTo>
                      <a:cubicBezTo>
                        <a:pt x="1531" y="264"/>
                        <a:pt x="1513" y="256"/>
                        <a:pt x="1520" y="250"/>
                      </a:cubicBezTo>
                      <a:cubicBezTo>
                        <a:pt x="1527" y="244"/>
                        <a:pt x="1549" y="249"/>
                        <a:pt x="1549" y="249"/>
                      </a:cubicBezTo>
                      <a:cubicBezTo>
                        <a:pt x="1580" y="242"/>
                        <a:pt x="1580" y="242"/>
                        <a:pt x="1580" y="242"/>
                      </a:cubicBezTo>
                      <a:cubicBezTo>
                        <a:pt x="1580" y="242"/>
                        <a:pt x="1591" y="244"/>
                        <a:pt x="1623" y="246"/>
                      </a:cubicBezTo>
                      <a:cubicBezTo>
                        <a:pt x="1655" y="248"/>
                        <a:pt x="1670" y="225"/>
                        <a:pt x="1647" y="223"/>
                      </a:cubicBezTo>
                      <a:cubicBezTo>
                        <a:pt x="1624" y="221"/>
                        <a:pt x="1590" y="221"/>
                        <a:pt x="1590" y="221"/>
                      </a:cubicBezTo>
                      <a:cubicBezTo>
                        <a:pt x="1589" y="211"/>
                        <a:pt x="1589" y="211"/>
                        <a:pt x="1589" y="211"/>
                      </a:cubicBezTo>
                      <a:cubicBezTo>
                        <a:pt x="1609" y="210"/>
                        <a:pt x="1609" y="210"/>
                        <a:pt x="1609" y="210"/>
                      </a:cubicBezTo>
                      <a:cubicBezTo>
                        <a:pt x="1609" y="210"/>
                        <a:pt x="1603" y="195"/>
                        <a:pt x="1587" y="197"/>
                      </a:cubicBezTo>
                      <a:cubicBezTo>
                        <a:pt x="1571" y="199"/>
                        <a:pt x="1583" y="215"/>
                        <a:pt x="1574" y="216"/>
                      </a:cubicBezTo>
                      <a:cubicBezTo>
                        <a:pt x="1565" y="217"/>
                        <a:pt x="1540" y="204"/>
                        <a:pt x="1549" y="201"/>
                      </a:cubicBezTo>
                      <a:cubicBezTo>
                        <a:pt x="1558" y="198"/>
                        <a:pt x="1582" y="193"/>
                        <a:pt x="1585" y="185"/>
                      </a:cubicBezTo>
                      <a:cubicBezTo>
                        <a:pt x="1588" y="177"/>
                        <a:pt x="1598" y="165"/>
                        <a:pt x="1601" y="164"/>
                      </a:cubicBezTo>
                      <a:cubicBezTo>
                        <a:pt x="1604" y="163"/>
                        <a:pt x="1618" y="170"/>
                        <a:pt x="1627" y="165"/>
                      </a:cubicBezTo>
                      <a:cubicBezTo>
                        <a:pt x="1636" y="160"/>
                        <a:pt x="1649" y="151"/>
                        <a:pt x="1649" y="151"/>
                      </a:cubicBezTo>
                      <a:cubicBezTo>
                        <a:pt x="1639" y="141"/>
                        <a:pt x="1639" y="141"/>
                        <a:pt x="1639" y="141"/>
                      </a:cubicBezTo>
                      <a:cubicBezTo>
                        <a:pt x="1639" y="141"/>
                        <a:pt x="1665" y="128"/>
                        <a:pt x="1671" y="128"/>
                      </a:cubicBezTo>
                      <a:cubicBezTo>
                        <a:pt x="1677" y="128"/>
                        <a:pt x="1687" y="138"/>
                        <a:pt x="1695" y="132"/>
                      </a:cubicBezTo>
                      <a:cubicBezTo>
                        <a:pt x="1703" y="126"/>
                        <a:pt x="1723" y="122"/>
                        <a:pt x="1711" y="119"/>
                      </a:cubicBezTo>
                      <a:cubicBezTo>
                        <a:pt x="1699" y="116"/>
                        <a:pt x="1670" y="119"/>
                        <a:pt x="1670" y="119"/>
                      </a:cubicBezTo>
                      <a:cubicBezTo>
                        <a:pt x="1670" y="119"/>
                        <a:pt x="1615" y="134"/>
                        <a:pt x="1626" y="123"/>
                      </a:cubicBezTo>
                      <a:cubicBezTo>
                        <a:pt x="1637" y="112"/>
                        <a:pt x="1659" y="111"/>
                        <a:pt x="1659" y="111"/>
                      </a:cubicBezTo>
                      <a:cubicBezTo>
                        <a:pt x="1659" y="111"/>
                        <a:pt x="1700" y="113"/>
                        <a:pt x="1721" y="112"/>
                      </a:cubicBezTo>
                      <a:cubicBezTo>
                        <a:pt x="1742" y="111"/>
                        <a:pt x="1758" y="104"/>
                        <a:pt x="1758" y="104"/>
                      </a:cubicBezTo>
                      <a:cubicBezTo>
                        <a:pt x="1758" y="104"/>
                        <a:pt x="1723" y="95"/>
                        <a:pt x="1717" y="98"/>
                      </a:cubicBezTo>
                      <a:cubicBezTo>
                        <a:pt x="1711" y="101"/>
                        <a:pt x="1672" y="102"/>
                        <a:pt x="1672" y="102"/>
                      </a:cubicBezTo>
                      <a:cubicBezTo>
                        <a:pt x="1672" y="102"/>
                        <a:pt x="1625" y="105"/>
                        <a:pt x="1642" y="100"/>
                      </a:cubicBezTo>
                      <a:cubicBezTo>
                        <a:pt x="1659" y="95"/>
                        <a:pt x="1710" y="94"/>
                        <a:pt x="1710" y="94"/>
                      </a:cubicBezTo>
                      <a:cubicBezTo>
                        <a:pt x="1710" y="94"/>
                        <a:pt x="1776" y="95"/>
                        <a:pt x="1787" y="92"/>
                      </a:cubicBezTo>
                      <a:cubicBezTo>
                        <a:pt x="1798" y="89"/>
                        <a:pt x="1807" y="79"/>
                        <a:pt x="1807" y="79"/>
                      </a:cubicBezTo>
                      <a:cubicBezTo>
                        <a:pt x="1807" y="79"/>
                        <a:pt x="1834" y="80"/>
                        <a:pt x="1851" y="78"/>
                      </a:cubicBezTo>
                      <a:cubicBezTo>
                        <a:pt x="1868" y="76"/>
                        <a:pt x="1891" y="67"/>
                        <a:pt x="1891" y="67"/>
                      </a:cubicBezTo>
                      <a:cubicBezTo>
                        <a:pt x="1891" y="67"/>
                        <a:pt x="1865" y="57"/>
                        <a:pt x="1845" y="57"/>
                      </a:cubicBezTo>
                      <a:close/>
                      <a:moveTo>
                        <a:pt x="345" y="566"/>
                      </a:moveTo>
                      <a:cubicBezTo>
                        <a:pt x="353" y="568"/>
                        <a:pt x="353" y="568"/>
                        <a:pt x="353" y="568"/>
                      </a:cubicBezTo>
                      <a:cubicBezTo>
                        <a:pt x="353" y="568"/>
                        <a:pt x="371" y="564"/>
                        <a:pt x="377" y="564"/>
                      </a:cubicBezTo>
                      <a:cubicBezTo>
                        <a:pt x="383" y="564"/>
                        <a:pt x="397" y="554"/>
                        <a:pt x="395" y="546"/>
                      </a:cubicBezTo>
                      <a:cubicBezTo>
                        <a:pt x="393" y="538"/>
                        <a:pt x="371" y="534"/>
                        <a:pt x="371" y="534"/>
                      </a:cubicBezTo>
                      <a:cubicBezTo>
                        <a:pt x="371" y="534"/>
                        <a:pt x="361" y="526"/>
                        <a:pt x="351" y="526"/>
                      </a:cubicBezTo>
                      <a:cubicBezTo>
                        <a:pt x="341" y="526"/>
                        <a:pt x="337" y="532"/>
                        <a:pt x="321" y="526"/>
                      </a:cubicBezTo>
                      <a:cubicBezTo>
                        <a:pt x="317" y="542"/>
                        <a:pt x="317" y="542"/>
                        <a:pt x="317" y="542"/>
                      </a:cubicBezTo>
                      <a:cubicBezTo>
                        <a:pt x="317" y="542"/>
                        <a:pt x="309" y="546"/>
                        <a:pt x="309" y="552"/>
                      </a:cubicBezTo>
                      <a:cubicBezTo>
                        <a:pt x="309" y="558"/>
                        <a:pt x="321" y="564"/>
                        <a:pt x="321" y="564"/>
                      </a:cubicBezTo>
                      <a:cubicBezTo>
                        <a:pt x="317" y="572"/>
                        <a:pt x="317" y="572"/>
                        <a:pt x="317" y="572"/>
                      </a:cubicBezTo>
                      <a:lnTo>
                        <a:pt x="345" y="566"/>
                      </a:lnTo>
                      <a:close/>
                      <a:moveTo>
                        <a:pt x="2531" y="1160"/>
                      </a:moveTo>
                      <a:cubicBezTo>
                        <a:pt x="2535" y="1157"/>
                        <a:pt x="2548" y="1143"/>
                        <a:pt x="2545" y="1138"/>
                      </a:cubicBezTo>
                      <a:cubicBezTo>
                        <a:pt x="2542" y="1133"/>
                        <a:pt x="2538" y="1126"/>
                        <a:pt x="2538" y="1126"/>
                      </a:cubicBezTo>
                      <a:cubicBezTo>
                        <a:pt x="2538" y="1126"/>
                        <a:pt x="2520" y="1124"/>
                        <a:pt x="2519" y="1127"/>
                      </a:cubicBezTo>
                      <a:cubicBezTo>
                        <a:pt x="2518" y="1130"/>
                        <a:pt x="2498" y="1155"/>
                        <a:pt x="2498" y="1160"/>
                      </a:cubicBezTo>
                      <a:cubicBezTo>
                        <a:pt x="2498" y="1165"/>
                        <a:pt x="2501" y="1177"/>
                        <a:pt x="2501" y="1177"/>
                      </a:cubicBezTo>
                      <a:cubicBezTo>
                        <a:pt x="2488" y="1166"/>
                        <a:pt x="2488" y="1166"/>
                        <a:pt x="2488" y="1166"/>
                      </a:cubicBezTo>
                      <a:cubicBezTo>
                        <a:pt x="2482" y="1145"/>
                        <a:pt x="2482" y="1145"/>
                        <a:pt x="2482" y="1145"/>
                      </a:cubicBezTo>
                      <a:cubicBezTo>
                        <a:pt x="2482" y="1145"/>
                        <a:pt x="2457" y="1161"/>
                        <a:pt x="2458" y="1164"/>
                      </a:cubicBezTo>
                      <a:cubicBezTo>
                        <a:pt x="2459" y="1167"/>
                        <a:pt x="2472" y="1165"/>
                        <a:pt x="2473" y="1168"/>
                      </a:cubicBezTo>
                      <a:cubicBezTo>
                        <a:pt x="2474" y="1171"/>
                        <a:pt x="2483" y="1185"/>
                        <a:pt x="2483" y="1185"/>
                      </a:cubicBezTo>
                      <a:cubicBezTo>
                        <a:pt x="2460" y="1181"/>
                        <a:pt x="2460" y="1181"/>
                        <a:pt x="2460" y="1181"/>
                      </a:cubicBezTo>
                      <a:cubicBezTo>
                        <a:pt x="2460" y="1181"/>
                        <a:pt x="2448" y="1196"/>
                        <a:pt x="2449" y="1204"/>
                      </a:cubicBezTo>
                      <a:cubicBezTo>
                        <a:pt x="2450" y="1212"/>
                        <a:pt x="2466" y="1214"/>
                        <a:pt x="2466" y="1214"/>
                      </a:cubicBezTo>
                      <a:cubicBezTo>
                        <a:pt x="2466" y="1214"/>
                        <a:pt x="2452" y="1230"/>
                        <a:pt x="2455" y="1232"/>
                      </a:cubicBezTo>
                      <a:cubicBezTo>
                        <a:pt x="2458" y="1234"/>
                        <a:pt x="2472" y="1234"/>
                        <a:pt x="2472" y="1234"/>
                      </a:cubicBezTo>
                      <a:cubicBezTo>
                        <a:pt x="2471" y="1249"/>
                        <a:pt x="2471" y="1249"/>
                        <a:pt x="2471" y="1249"/>
                      </a:cubicBezTo>
                      <a:cubicBezTo>
                        <a:pt x="2463" y="1259"/>
                        <a:pt x="2463" y="1259"/>
                        <a:pt x="2463" y="1259"/>
                      </a:cubicBezTo>
                      <a:cubicBezTo>
                        <a:pt x="2473" y="1264"/>
                        <a:pt x="2473" y="1264"/>
                        <a:pt x="2473" y="1264"/>
                      </a:cubicBezTo>
                      <a:cubicBezTo>
                        <a:pt x="2473" y="1264"/>
                        <a:pt x="2480" y="1264"/>
                        <a:pt x="2484" y="1264"/>
                      </a:cubicBezTo>
                      <a:cubicBezTo>
                        <a:pt x="2488" y="1264"/>
                        <a:pt x="2496" y="1269"/>
                        <a:pt x="2496" y="1269"/>
                      </a:cubicBezTo>
                      <a:cubicBezTo>
                        <a:pt x="2496" y="1269"/>
                        <a:pt x="2498" y="1267"/>
                        <a:pt x="2506" y="1267"/>
                      </a:cubicBezTo>
                      <a:cubicBezTo>
                        <a:pt x="2513" y="1266"/>
                        <a:pt x="2514" y="1270"/>
                        <a:pt x="2514" y="1270"/>
                      </a:cubicBezTo>
                      <a:cubicBezTo>
                        <a:pt x="2514" y="1270"/>
                        <a:pt x="2515" y="1269"/>
                        <a:pt x="2517" y="1268"/>
                      </a:cubicBezTo>
                      <a:cubicBezTo>
                        <a:pt x="2517" y="1268"/>
                        <a:pt x="2517" y="1268"/>
                        <a:pt x="2517" y="1268"/>
                      </a:cubicBezTo>
                      <a:cubicBezTo>
                        <a:pt x="2513" y="1258"/>
                        <a:pt x="2510" y="1252"/>
                        <a:pt x="2510" y="1252"/>
                      </a:cubicBezTo>
                      <a:cubicBezTo>
                        <a:pt x="2521" y="1239"/>
                        <a:pt x="2521" y="1239"/>
                        <a:pt x="2521" y="1239"/>
                      </a:cubicBezTo>
                      <a:cubicBezTo>
                        <a:pt x="2521" y="1239"/>
                        <a:pt x="2503" y="1224"/>
                        <a:pt x="2513" y="1222"/>
                      </a:cubicBezTo>
                      <a:cubicBezTo>
                        <a:pt x="2523" y="1220"/>
                        <a:pt x="2531" y="1213"/>
                        <a:pt x="2531" y="1213"/>
                      </a:cubicBezTo>
                      <a:cubicBezTo>
                        <a:pt x="2535" y="1194"/>
                        <a:pt x="2535" y="1194"/>
                        <a:pt x="2535" y="1194"/>
                      </a:cubicBezTo>
                      <a:cubicBezTo>
                        <a:pt x="2549" y="1194"/>
                        <a:pt x="2549" y="1194"/>
                        <a:pt x="2549" y="1194"/>
                      </a:cubicBezTo>
                      <a:cubicBezTo>
                        <a:pt x="2554" y="1179"/>
                        <a:pt x="2554" y="1179"/>
                        <a:pt x="2554" y="1179"/>
                      </a:cubicBezTo>
                      <a:cubicBezTo>
                        <a:pt x="2531" y="1179"/>
                        <a:pt x="2531" y="1179"/>
                        <a:pt x="2531" y="1179"/>
                      </a:cubicBezTo>
                      <a:cubicBezTo>
                        <a:pt x="2531" y="1179"/>
                        <a:pt x="2527" y="1163"/>
                        <a:pt x="2531" y="1160"/>
                      </a:cubicBezTo>
                      <a:close/>
                      <a:moveTo>
                        <a:pt x="2525" y="1228"/>
                      </a:moveTo>
                      <a:cubicBezTo>
                        <a:pt x="2527" y="1252"/>
                        <a:pt x="2527" y="1252"/>
                        <a:pt x="2527" y="1252"/>
                      </a:cubicBezTo>
                      <a:cubicBezTo>
                        <a:pt x="2533" y="1252"/>
                        <a:pt x="2543" y="1262"/>
                        <a:pt x="2543" y="1262"/>
                      </a:cubicBezTo>
                      <a:cubicBezTo>
                        <a:pt x="2549" y="1244"/>
                        <a:pt x="2549" y="1244"/>
                        <a:pt x="2549" y="1244"/>
                      </a:cubicBezTo>
                      <a:cubicBezTo>
                        <a:pt x="2537" y="1230"/>
                        <a:pt x="2537" y="1230"/>
                        <a:pt x="2537" y="1230"/>
                      </a:cubicBezTo>
                      <a:lnTo>
                        <a:pt x="2525" y="1228"/>
                      </a:lnTo>
                      <a:close/>
                      <a:moveTo>
                        <a:pt x="2577" y="1240"/>
                      </a:moveTo>
                      <a:cubicBezTo>
                        <a:pt x="2576" y="1251"/>
                        <a:pt x="2567" y="1253"/>
                        <a:pt x="2579" y="1254"/>
                      </a:cubicBezTo>
                      <a:cubicBezTo>
                        <a:pt x="2591" y="1255"/>
                        <a:pt x="2596" y="1253"/>
                        <a:pt x="2596" y="1253"/>
                      </a:cubicBezTo>
                      <a:cubicBezTo>
                        <a:pt x="2596" y="1253"/>
                        <a:pt x="2604" y="1272"/>
                        <a:pt x="2605" y="1265"/>
                      </a:cubicBezTo>
                      <a:cubicBezTo>
                        <a:pt x="2607" y="1259"/>
                        <a:pt x="2617" y="1245"/>
                        <a:pt x="2619" y="1244"/>
                      </a:cubicBezTo>
                      <a:cubicBezTo>
                        <a:pt x="2621" y="1244"/>
                        <a:pt x="2630" y="1244"/>
                        <a:pt x="2622" y="1239"/>
                      </a:cubicBezTo>
                      <a:cubicBezTo>
                        <a:pt x="2614" y="1234"/>
                        <a:pt x="2607" y="1227"/>
                        <a:pt x="2610" y="1227"/>
                      </a:cubicBezTo>
                      <a:cubicBezTo>
                        <a:pt x="2613" y="1226"/>
                        <a:pt x="2620" y="1227"/>
                        <a:pt x="2615" y="1224"/>
                      </a:cubicBezTo>
                      <a:cubicBezTo>
                        <a:pt x="2610" y="1220"/>
                        <a:pt x="2624" y="1211"/>
                        <a:pt x="2624" y="1211"/>
                      </a:cubicBezTo>
                      <a:cubicBezTo>
                        <a:pt x="2624" y="1211"/>
                        <a:pt x="2616" y="1199"/>
                        <a:pt x="2615" y="1200"/>
                      </a:cubicBezTo>
                      <a:cubicBezTo>
                        <a:pt x="2614" y="1200"/>
                        <a:pt x="2601" y="1205"/>
                        <a:pt x="2601" y="1210"/>
                      </a:cubicBezTo>
                      <a:cubicBezTo>
                        <a:pt x="2601" y="1215"/>
                        <a:pt x="2601" y="1219"/>
                        <a:pt x="2601" y="1219"/>
                      </a:cubicBezTo>
                      <a:cubicBezTo>
                        <a:pt x="2601" y="1219"/>
                        <a:pt x="2592" y="1207"/>
                        <a:pt x="2590" y="1208"/>
                      </a:cubicBezTo>
                      <a:cubicBezTo>
                        <a:pt x="2588" y="1209"/>
                        <a:pt x="2585" y="1213"/>
                        <a:pt x="2585" y="1213"/>
                      </a:cubicBezTo>
                      <a:cubicBezTo>
                        <a:pt x="2569" y="1224"/>
                        <a:pt x="2569" y="1224"/>
                        <a:pt x="2569" y="1224"/>
                      </a:cubicBezTo>
                      <a:cubicBezTo>
                        <a:pt x="2569" y="1224"/>
                        <a:pt x="2578" y="1229"/>
                        <a:pt x="2577" y="1240"/>
                      </a:cubicBezTo>
                      <a:close/>
                      <a:moveTo>
                        <a:pt x="2629" y="1260"/>
                      </a:moveTo>
                      <a:cubicBezTo>
                        <a:pt x="2612" y="1266"/>
                        <a:pt x="2612" y="1266"/>
                        <a:pt x="2612" y="1266"/>
                      </a:cubicBezTo>
                      <a:cubicBezTo>
                        <a:pt x="2612" y="1266"/>
                        <a:pt x="2602" y="1270"/>
                        <a:pt x="2598" y="1269"/>
                      </a:cubicBezTo>
                      <a:cubicBezTo>
                        <a:pt x="2594" y="1269"/>
                        <a:pt x="2578" y="1262"/>
                        <a:pt x="2573" y="1262"/>
                      </a:cubicBezTo>
                      <a:cubicBezTo>
                        <a:pt x="2563" y="1262"/>
                        <a:pt x="2565" y="1273"/>
                        <a:pt x="2573" y="1272"/>
                      </a:cubicBezTo>
                      <a:cubicBezTo>
                        <a:pt x="2581" y="1270"/>
                        <a:pt x="2592" y="1282"/>
                        <a:pt x="2592" y="1282"/>
                      </a:cubicBezTo>
                      <a:cubicBezTo>
                        <a:pt x="2592" y="1282"/>
                        <a:pt x="2609" y="1279"/>
                        <a:pt x="2626" y="1275"/>
                      </a:cubicBezTo>
                      <a:cubicBezTo>
                        <a:pt x="2644" y="1272"/>
                        <a:pt x="2629" y="1260"/>
                        <a:pt x="2629" y="1260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6" name="Greece">
                  <a:extLst>
                    <a:ext uri="{FF2B5EF4-FFF2-40B4-BE49-F238E27FC236}">
                      <a16:creationId xmlns:a16="http://schemas.microsoft.com/office/drawing/2014/main" id="{D5A72990-960C-DEC1-38C7-455DEF834D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130637" y="2828424"/>
                  <a:ext cx="203235" cy="204694"/>
                </a:xfrm>
                <a:custGeom>
                  <a:avLst/>
                  <a:gdLst>
                    <a:gd name="T0" fmla="*/ 190 w 365"/>
                    <a:gd name="T1" fmla="*/ 78 h 367"/>
                    <a:gd name="T2" fmla="*/ 5 w 365"/>
                    <a:gd name="T3" fmla="*/ 188 h 367"/>
                    <a:gd name="T4" fmla="*/ 212 w 365"/>
                    <a:gd name="T5" fmla="*/ 277 h 367"/>
                    <a:gd name="T6" fmla="*/ 210 w 365"/>
                    <a:gd name="T7" fmla="*/ 258 h 367"/>
                    <a:gd name="T8" fmla="*/ 210 w 365"/>
                    <a:gd name="T9" fmla="*/ 258 h 367"/>
                    <a:gd name="T10" fmla="*/ 223 w 365"/>
                    <a:gd name="T11" fmla="*/ 213 h 367"/>
                    <a:gd name="T12" fmla="*/ 97 w 365"/>
                    <a:gd name="T13" fmla="*/ 176 h 367"/>
                    <a:gd name="T14" fmla="*/ 166 w 365"/>
                    <a:gd name="T15" fmla="*/ 188 h 367"/>
                    <a:gd name="T16" fmla="*/ 128 w 365"/>
                    <a:gd name="T17" fmla="*/ 152 h 367"/>
                    <a:gd name="T18" fmla="*/ 153 w 365"/>
                    <a:gd name="T19" fmla="*/ 156 h 367"/>
                    <a:gd name="T20" fmla="*/ 107 w 365"/>
                    <a:gd name="T21" fmla="*/ 94 h 367"/>
                    <a:gd name="T22" fmla="*/ 129 w 365"/>
                    <a:gd name="T23" fmla="*/ 78 h 367"/>
                    <a:gd name="T24" fmla="*/ 140 w 365"/>
                    <a:gd name="T25" fmla="*/ 79 h 367"/>
                    <a:gd name="T26" fmla="*/ 152 w 365"/>
                    <a:gd name="T27" fmla="*/ 77 h 367"/>
                    <a:gd name="T28" fmla="*/ 182 w 365"/>
                    <a:gd name="T29" fmla="*/ 49 h 367"/>
                    <a:gd name="T30" fmla="*/ 258 w 365"/>
                    <a:gd name="T31" fmla="*/ 52 h 367"/>
                    <a:gd name="T32" fmla="*/ 275 w 365"/>
                    <a:gd name="T33" fmla="*/ 22 h 367"/>
                    <a:gd name="T34" fmla="*/ 261 w 365"/>
                    <a:gd name="T35" fmla="*/ 0 h 367"/>
                    <a:gd name="T36" fmla="*/ 237 w 365"/>
                    <a:gd name="T37" fmla="*/ 25 h 367"/>
                    <a:gd name="T38" fmla="*/ 205 w 365"/>
                    <a:gd name="T39" fmla="*/ 17 h 367"/>
                    <a:gd name="T40" fmla="*/ 161 w 365"/>
                    <a:gd name="T41" fmla="*/ 9 h 367"/>
                    <a:gd name="T42" fmla="*/ 123 w 365"/>
                    <a:gd name="T43" fmla="*/ 25 h 367"/>
                    <a:gd name="T44" fmla="*/ 70 w 365"/>
                    <a:gd name="T45" fmla="*/ 36 h 367"/>
                    <a:gd name="T46" fmla="*/ 38 w 365"/>
                    <a:gd name="T47" fmla="*/ 50 h 367"/>
                    <a:gd name="T48" fmla="*/ 21 w 365"/>
                    <a:gd name="T49" fmla="*/ 84 h 367"/>
                    <a:gd name="T50" fmla="*/ 3 w 365"/>
                    <a:gd name="T51" fmla="*/ 109 h 367"/>
                    <a:gd name="T52" fmla="*/ 29 w 365"/>
                    <a:gd name="T53" fmla="*/ 156 h 367"/>
                    <a:gd name="T54" fmla="*/ 266 w 365"/>
                    <a:gd name="T55" fmla="*/ 168 h 367"/>
                    <a:gd name="T56" fmla="*/ 261 w 365"/>
                    <a:gd name="T57" fmla="*/ 196 h 367"/>
                    <a:gd name="T58" fmla="*/ 30 w 365"/>
                    <a:gd name="T59" fmla="*/ 220 h 367"/>
                    <a:gd name="T60" fmla="*/ 255 w 365"/>
                    <a:gd name="T61" fmla="*/ 270 h 367"/>
                    <a:gd name="T62" fmla="*/ 275 w 365"/>
                    <a:gd name="T63" fmla="*/ 220 h 367"/>
                    <a:gd name="T64" fmla="*/ 269 w 365"/>
                    <a:gd name="T65" fmla="*/ 127 h 367"/>
                    <a:gd name="T66" fmla="*/ 278 w 365"/>
                    <a:gd name="T67" fmla="*/ 148 h 367"/>
                    <a:gd name="T68" fmla="*/ 247 w 365"/>
                    <a:gd name="T69" fmla="*/ 254 h 367"/>
                    <a:gd name="T70" fmla="*/ 291 w 365"/>
                    <a:gd name="T71" fmla="*/ 220 h 367"/>
                    <a:gd name="T72" fmla="*/ 307 w 365"/>
                    <a:gd name="T73" fmla="*/ 236 h 367"/>
                    <a:gd name="T74" fmla="*/ 186 w 365"/>
                    <a:gd name="T75" fmla="*/ 146 h 367"/>
                    <a:gd name="T76" fmla="*/ 361 w 365"/>
                    <a:gd name="T77" fmla="*/ 281 h 367"/>
                    <a:gd name="T78" fmla="*/ 310 w 365"/>
                    <a:gd name="T79" fmla="*/ 258 h 367"/>
                    <a:gd name="T80" fmla="*/ 326 w 365"/>
                    <a:gd name="T81" fmla="*/ 249 h 367"/>
                    <a:gd name="T82" fmla="*/ 324 w 365"/>
                    <a:gd name="T83" fmla="*/ 339 h 367"/>
                    <a:gd name="T84" fmla="*/ 186 w 365"/>
                    <a:gd name="T85" fmla="*/ 221 h 367"/>
                    <a:gd name="T86" fmla="*/ 127 w 365"/>
                    <a:gd name="T87" fmla="*/ 288 h 367"/>
                    <a:gd name="T88" fmla="*/ 259 w 365"/>
                    <a:gd name="T89" fmla="*/ 352 h 367"/>
                    <a:gd name="T90" fmla="*/ 209 w 365"/>
                    <a:gd name="T91" fmla="*/ 336 h 367"/>
                    <a:gd name="T92" fmla="*/ 161 w 365"/>
                    <a:gd name="T93" fmla="*/ 342 h 367"/>
                    <a:gd name="T94" fmla="*/ 205 w 365"/>
                    <a:gd name="T95" fmla="*/ 352 h 367"/>
                    <a:gd name="T96" fmla="*/ 241 w 365"/>
                    <a:gd name="T97" fmla="*/ 362 h 367"/>
                    <a:gd name="T98" fmla="*/ 285 w 365"/>
                    <a:gd name="T99" fmla="*/ 272 h 367"/>
                    <a:gd name="T100" fmla="*/ 79 w 365"/>
                    <a:gd name="T101" fmla="*/ 186 h 367"/>
                    <a:gd name="T102" fmla="*/ 47 w 365"/>
                    <a:gd name="T103" fmla="*/ 207 h 367"/>
                    <a:gd name="T104" fmla="*/ 81 w 365"/>
                    <a:gd name="T105" fmla="*/ 260 h 367"/>
                    <a:gd name="T106" fmla="*/ 113 w 365"/>
                    <a:gd name="T107" fmla="*/ 262 h 367"/>
                    <a:gd name="T108" fmla="*/ 129 w 365"/>
                    <a:gd name="T109" fmla="*/ 270 h 367"/>
                    <a:gd name="T110" fmla="*/ 117 w 365"/>
                    <a:gd name="T111" fmla="*/ 221 h 367"/>
                    <a:gd name="T112" fmla="*/ 132 w 365"/>
                    <a:gd name="T113" fmla="*/ 212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65" h="367">
                      <a:moveTo>
                        <a:pt x="165" y="73"/>
                      </a:moveTo>
                      <a:cubicBezTo>
                        <a:pt x="183" y="85"/>
                        <a:pt x="183" y="85"/>
                        <a:pt x="183" y="85"/>
                      </a:cubicBezTo>
                      <a:cubicBezTo>
                        <a:pt x="190" y="78"/>
                        <a:pt x="190" y="78"/>
                        <a:pt x="190" y="78"/>
                      </a:cubicBezTo>
                      <a:lnTo>
                        <a:pt x="165" y="73"/>
                      </a:lnTo>
                      <a:close/>
                      <a:moveTo>
                        <a:pt x="19" y="173"/>
                      </a:moveTo>
                      <a:cubicBezTo>
                        <a:pt x="5" y="188"/>
                        <a:pt x="5" y="188"/>
                        <a:pt x="5" y="188"/>
                      </a:cubicBezTo>
                      <a:cubicBezTo>
                        <a:pt x="30" y="195"/>
                        <a:pt x="30" y="195"/>
                        <a:pt x="30" y="195"/>
                      </a:cubicBezTo>
                      <a:lnTo>
                        <a:pt x="19" y="173"/>
                      </a:lnTo>
                      <a:close/>
                      <a:moveTo>
                        <a:pt x="212" y="277"/>
                      </a:moveTo>
                      <a:cubicBezTo>
                        <a:pt x="211" y="280"/>
                        <a:pt x="220" y="282"/>
                        <a:pt x="219" y="275"/>
                      </a:cubicBezTo>
                      <a:cubicBezTo>
                        <a:pt x="218" y="268"/>
                        <a:pt x="213" y="271"/>
                        <a:pt x="212" y="277"/>
                      </a:cubicBezTo>
                      <a:close/>
                      <a:moveTo>
                        <a:pt x="210" y="258"/>
                      </a:moveTo>
                      <a:cubicBezTo>
                        <a:pt x="204" y="253"/>
                        <a:pt x="204" y="253"/>
                        <a:pt x="204" y="253"/>
                      </a:cubicBezTo>
                      <a:cubicBezTo>
                        <a:pt x="198" y="259"/>
                        <a:pt x="198" y="259"/>
                        <a:pt x="198" y="259"/>
                      </a:cubicBezTo>
                      <a:lnTo>
                        <a:pt x="210" y="258"/>
                      </a:lnTo>
                      <a:close/>
                      <a:moveTo>
                        <a:pt x="201" y="196"/>
                      </a:moveTo>
                      <a:cubicBezTo>
                        <a:pt x="217" y="224"/>
                        <a:pt x="217" y="224"/>
                        <a:pt x="217" y="224"/>
                      </a:cubicBezTo>
                      <a:cubicBezTo>
                        <a:pt x="223" y="213"/>
                        <a:pt x="223" y="213"/>
                        <a:pt x="223" y="213"/>
                      </a:cubicBezTo>
                      <a:lnTo>
                        <a:pt x="201" y="196"/>
                      </a:lnTo>
                      <a:close/>
                      <a:moveTo>
                        <a:pt x="76" y="178"/>
                      </a:moveTo>
                      <a:cubicBezTo>
                        <a:pt x="76" y="178"/>
                        <a:pt x="90" y="173"/>
                        <a:pt x="97" y="176"/>
                      </a:cubicBezTo>
                      <a:cubicBezTo>
                        <a:pt x="104" y="179"/>
                        <a:pt x="141" y="193"/>
                        <a:pt x="141" y="193"/>
                      </a:cubicBezTo>
                      <a:cubicBezTo>
                        <a:pt x="141" y="193"/>
                        <a:pt x="163" y="216"/>
                        <a:pt x="168" y="210"/>
                      </a:cubicBezTo>
                      <a:cubicBezTo>
                        <a:pt x="173" y="204"/>
                        <a:pt x="174" y="195"/>
                        <a:pt x="166" y="188"/>
                      </a:cubicBezTo>
                      <a:cubicBezTo>
                        <a:pt x="158" y="181"/>
                        <a:pt x="142" y="168"/>
                        <a:pt x="139" y="167"/>
                      </a:cubicBezTo>
                      <a:cubicBezTo>
                        <a:pt x="136" y="166"/>
                        <a:pt x="117" y="157"/>
                        <a:pt x="117" y="157"/>
                      </a:cubicBezTo>
                      <a:cubicBezTo>
                        <a:pt x="117" y="157"/>
                        <a:pt x="124" y="151"/>
                        <a:pt x="128" y="152"/>
                      </a:cubicBezTo>
                      <a:cubicBezTo>
                        <a:pt x="132" y="153"/>
                        <a:pt x="155" y="176"/>
                        <a:pt x="169" y="178"/>
                      </a:cubicBezTo>
                      <a:cubicBezTo>
                        <a:pt x="183" y="180"/>
                        <a:pt x="189" y="164"/>
                        <a:pt x="176" y="162"/>
                      </a:cubicBezTo>
                      <a:cubicBezTo>
                        <a:pt x="163" y="160"/>
                        <a:pt x="153" y="156"/>
                        <a:pt x="153" y="156"/>
                      </a:cubicBezTo>
                      <a:cubicBezTo>
                        <a:pt x="153" y="156"/>
                        <a:pt x="139" y="148"/>
                        <a:pt x="137" y="141"/>
                      </a:cubicBezTo>
                      <a:cubicBezTo>
                        <a:pt x="135" y="134"/>
                        <a:pt x="123" y="117"/>
                        <a:pt x="123" y="117"/>
                      </a:cubicBezTo>
                      <a:cubicBezTo>
                        <a:pt x="123" y="117"/>
                        <a:pt x="112" y="100"/>
                        <a:pt x="107" y="94"/>
                      </a:cubicBezTo>
                      <a:cubicBezTo>
                        <a:pt x="102" y="88"/>
                        <a:pt x="97" y="67"/>
                        <a:pt x="104" y="64"/>
                      </a:cubicBezTo>
                      <a:cubicBezTo>
                        <a:pt x="111" y="61"/>
                        <a:pt x="113" y="78"/>
                        <a:pt x="121" y="78"/>
                      </a:cubicBezTo>
                      <a:cubicBezTo>
                        <a:pt x="123" y="78"/>
                        <a:pt x="126" y="78"/>
                        <a:pt x="129" y="78"/>
                      </a:cubicBezTo>
                      <a:cubicBezTo>
                        <a:pt x="133" y="86"/>
                        <a:pt x="137" y="95"/>
                        <a:pt x="139" y="96"/>
                      </a:cubicBezTo>
                      <a:cubicBezTo>
                        <a:pt x="142" y="98"/>
                        <a:pt x="148" y="94"/>
                        <a:pt x="148" y="94"/>
                      </a:cubicBezTo>
                      <a:cubicBezTo>
                        <a:pt x="140" y="79"/>
                        <a:pt x="140" y="79"/>
                        <a:pt x="140" y="79"/>
                      </a:cubicBezTo>
                      <a:cubicBezTo>
                        <a:pt x="141" y="79"/>
                        <a:pt x="142" y="79"/>
                        <a:pt x="143" y="79"/>
                      </a:cubicBezTo>
                      <a:cubicBezTo>
                        <a:pt x="161" y="90"/>
                        <a:pt x="161" y="90"/>
                        <a:pt x="161" y="90"/>
                      </a:cubicBezTo>
                      <a:cubicBezTo>
                        <a:pt x="152" y="77"/>
                        <a:pt x="152" y="77"/>
                        <a:pt x="152" y="77"/>
                      </a:cubicBezTo>
                      <a:cubicBezTo>
                        <a:pt x="152" y="77"/>
                        <a:pt x="153" y="77"/>
                        <a:pt x="153" y="77"/>
                      </a:cubicBezTo>
                      <a:cubicBezTo>
                        <a:pt x="156" y="74"/>
                        <a:pt x="157" y="66"/>
                        <a:pt x="156" y="58"/>
                      </a:cubicBezTo>
                      <a:cubicBezTo>
                        <a:pt x="155" y="50"/>
                        <a:pt x="173" y="46"/>
                        <a:pt x="182" y="49"/>
                      </a:cubicBezTo>
                      <a:cubicBezTo>
                        <a:pt x="191" y="52"/>
                        <a:pt x="184" y="65"/>
                        <a:pt x="193" y="62"/>
                      </a:cubicBezTo>
                      <a:cubicBezTo>
                        <a:pt x="202" y="59"/>
                        <a:pt x="205" y="44"/>
                        <a:pt x="210" y="43"/>
                      </a:cubicBezTo>
                      <a:cubicBezTo>
                        <a:pt x="215" y="42"/>
                        <a:pt x="258" y="52"/>
                        <a:pt x="258" y="52"/>
                      </a:cubicBezTo>
                      <a:cubicBezTo>
                        <a:pt x="258" y="52"/>
                        <a:pt x="261" y="47"/>
                        <a:pt x="263" y="40"/>
                      </a:cubicBezTo>
                      <a:cubicBezTo>
                        <a:pt x="265" y="33"/>
                        <a:pt x="260" y="30"/>
                        <a:pt x="261" y="24"/>
                      </a:cubicBezTo>
                      <a:cubicBezTo>
                        <a:pt x="262" y="18"/>
                        <a:pt x="275" y="22"/>
                        <a:pt x="275" y="22"/>
                      </a:cubicBezTo>
                      <a:cubicBezTo>
                        <a:pt x="275" y="22"/>
                        <a:pt x="276" y="14"/>
                        <a:pt x="273" y="9"/>
                      </a:cubicBezTo>
                      <a:cubicBezTo>
                        <a:pt x="270" y="4"/>
                        <a:pt x="263" y="5"/>
                        <a:pt x="263" y="5"/>
                      </a:cubicBezTo>
                      <a:cubicBezTo>
                        <a:pt x="261" y="0"/>
                        <a:pt x="261" y="0"/>
                        <a:pt x="261" y="0"/>
                      </a:cubicBezTo>
                      <a:cubicBezTo>
                        <a:pt x="249" y="6"/>
                        <a:pt x="249" y="6"/>
                        <a:pt x="249" y="6"/>
                      </a:cubicBezTo>
                      <a:cubicBezTo>
                        <a:pt x="249" y="6"/>
                        <a:pt x="255" y="14"/>
                        <a:pt x="253" y="19"/>
                      </a:cubicBezTo>
                      <a:cubicBezTo>
                        <a:pt x="251" y="24"/>
                        <a:pt x="237" y="25"/>
                        <a:pt x="237" y="25"/>
                      </a:cubicBezTo>
                      <a:cubicBezTo>
                        <a:pt x="227" y="17"/>
                        <a:pt x="227" y="17"/>
                        <a:pt x="227" y="17"/>
                      </a:cubicBezTo>
                      <a:cubicBezTo>
                        <a:pt x="227" y="17"/>
                        <a:pt x="222" y="24"/>
                        <a:pt x="214" y="25"/>
                      </a:cubicBezTo>
                      <a:cubicBezTo>
                        <a:pt x="206" y="26"/>
                        <a:pt x="205" y="17"/>
                        <a:pt x="205" y="17"/>
                      </a:cubicBezTo>
                      <a:cubicBezTo>
                        <a:pt x="205" y="17"/>
                        <a:pt x="199" y="20"/>
                        <a:pt x="191" y="20"/>
                      </a:cubicBezTo>
                      <a:cubicBezTo>
                        <a:pt x="183" y="20"/>
                        <a:pt x="179" y="6"/>
                        <a:pt x="179" y="6"/>
                      </a:cubicBezTo>
                      <a:cubicBezTo>
                        <a:pt x="161" y="9"/>
                        <a:pt x="161" y="9"/>
                        <a:pt x="161" y="9"/>
                      </a:cubicBezTo>
                      <a:cubicBezTo>
                        <a:pt x="155" y="21"/>
                        <a:pt x="155" y="21"/>
                        <a:pt x="155" y="21"/>
                      </a:cubicBezTo>
                      <a:cubicBezTo>
                        <a:pt x="141" y="15"/>
                        <a:pt x="141" y="15"/>
                        <a:pt x="141" y="15"/>
                      </a:cubicBezTo>
                      <a:cubicBezTo>
                        <a:pt x="141" y="15"/>
                        <a:pt x="131" y="25"/>
                        <a:pt x="123" y="25"/>
                      </a:cubicBezTo>
                      <a:cubicBezTo>
                        <a:pt x="118" y="25"/>
                        <a:pt x="114" y="21"/>
                        <a:pt x="111" y="18"/>
                      </a:cubicBezTo>
                      <a:cubicBezTo>
                        <a:pt x="107" y="23"/>
                        <a:pt x="102" y="26"/>
                        <a:pt x="97" y="32"/>
                      </a:cubicBezTo>
                      <a:cubicBezTo>
                        <a:pt x="89" y="40"/>
                        <a:pt x="70" y="36"/>
                        <a:pt x="70" y="36"/>
                      </a:cubicBezTo>
                      <a:cubicBezTo>
                        <a:pt x="70" y="36"/>
                        <a:pt x="71" y="41"/>
                        <a:pt x="67" y="47"/>
                      </a:cubicBezTo>
                      <a:cubicBezTo>
                        <a:pt x="63" y="53"/>
                        <a:pt x="43" y="45"/>
                        <a:pt x="43" y="45"/>
                      </a:cubicBezTo>
                      <a:cubicBezTo>
                        <a:pt x="38" y="50"/>
                        <a:pt x="38" y="50"/>
                        <a:pt x="38" y="50"/>
                      </a:cubicBezTo>
                      <a:cubicBezTo>
                        <a:pt x="38" y="55"/>
                        <a:pt x="39" y="62"/>
                        <a:pt x="36" y="64"/>
                      </a:cubicBezTo>
                      <a:cubicBezTo>
                        <a:pt x="31" y="68"/>
                        <a:pt x="21" y="70"/>
                        <a:pt x="21" y="70"/>
                      </a:cubicBezTo>
                      <a:cubicBezTo>
                        <a:pt x="21" y="84"/>
                        <a:pt x="21" y="84"/>
                        <a:pt x="21" y="84"/>
                      </a:cubicBezTo>
                      <a:cubicBezTo>
                        <a:pt x="13" y="89"/>
                        <a:pt x="13" y="89"/>
                        <a:pt x="13" y="89"/>
                      </a:cubicBezTo>
                      <a:cubicBezTo>
                        <a:pt x="13" y="89"/>
                        <a:pt x="4" y="86"/>
                        <a:pt x="3" y="93"/>
                      </a:cubicBezTo>
                      <a:cubicBezTo>
                        <a:pt x="2" y="100"/>
                        <a:pt x="3" y="109"/>
                        <a:pt x="3" y="109"/>
                      </a:cubicBezTo>
                      <a:cubicBezTo>
                        <a:pt x="5" y="116"/>
                        <a:pt x="5" y="116"/>
                        <a:pt x="5" y="116"/>
                      </a:cubicBezTo>
                      <a:cubicBezTo>
                        <a:pt x="5" y="116"/>
                        <a:pt x="0" y="133"/>
                        <a:pt x="9" y="136"/>
                      </a:cubicBezTo>
                      <a:cubicBezTo>
                        <a:pt x="18" y="139"/>
                        <a:pt x="29" y="156"/>
                        <a:pt x="29" y="156"/>
                      </a:cubicBezTo>
                      <a:cubicBezTo>
                        <a:pt x="29" y="156"/>
                        <a:pt x="39" y="179"/>
                        <a:pt x="47" y="179"/>
                      </a:cubicBezTo>
                      <a:cubicBezTo>
                        <a:pt x="55" y="179"/>
                        <a:pt x="76" y="178"/>
                        <a:pt x="76" y="178"/>
                      </a:cubicBezTo>
                      <a:close/>
                      <a:moveTo>
                        <a:pt x="266" y="168"/>
                      </a:moveTo>
                      <a:cubicBezTo>
                        <a:pt x="253" y="168"/>
                        <a:pt x="253" y="168"/>
                        <a:pt x="253" y="168"/>
                      </a:cubicBezTo>
                      <a:cubicBezTo>
                        <a:pt x="252" y="180"/>
                        <a:pt x="252" y="180"/>
                        <a:pt x="252" y="180"/>
                      </a:cubicBezTo>
                      <a:cubicBezTo>
                        <a:pt x="261" y="196"/>
                        <a:pt x="261" y="196"/>
                        <a:pt x="261" y="196"/>
                      </a:cubicBezTo>
                      <a:lnTo>
                        <a:pt x="266" y="168"/>
                      </a:lnTo>
                      <a:close/>
                      <a:moveTo>
                        <a:pt x="19" y="207"/>
                      </a:moveTo>
                      <a:cubicBezTo>
                        <a:pt x="10" y="214"/>
                        <a:pt x="30" y="220"/>
                        <a:pt x="30" y="220"/>
                      </a:cubicBezTo>
                      <a:cubicBezTo>
                        <a:pt x="36" y="216"/>
                        <a:pt x="28" y="200"/>
                        <a:pt x="19" y="207"/>
                      </a:cubicBezTo>
                      <a:close/>
                      <a:moveTo>
                        <a:pt x="255" y="261"/>
                      </a:moveTo>
                      <a:cubicBezTo>
                        <a:pt x="255" y="270"/>
                        <a:pt x="255" y="270"/>
                        <a:pt x="255" y="270"/>
                      </a:cubicBezTo>
                      <a:cubicBezTo>
                        <a:pt x="264" y="260"/>
                        <a:pt x="264" y="260"/>
                        <a:pt x="264" y="260"/>
                      </a:cubicBezTo>
                      <a:lnTo>
                        <a:pt x="255" y="261"/>
                      </a:lnTo>
                      <a:close/>
                      <a:moveTo>
                        <a:pt x="275" y="220"/>
                      </a:moveTo>
                      <a:cubicBezTo>
                        <a:pt x="271" y="216"/>
                        <a:pt x="259" y="219"/>
                        <a:pt x="259" y="227"/>
                      </a:cubicBezTo>
                      <a:cubicBezTo>
                        <a:pt x="259" y="232"/>
                        <a:pt x="279" y="224"/>
                        <a:pt x="275" y="220"/>
                      </a:cubicBezTo>
                      <a:close/>
                      <a:moveTo>
                        <a:pt x="269" y="127"/>
                      </a:moveTo>
                      <a:cubicBezTo>
                        <a:pt x="250" y="132"/>
                        <a:pt x="250" y="132"/>
                        <a:pt x="250" y="132"/>
                      </a:cubicBezTo>
                      <a:cubicBezTo>
                        <a:pt x="251" y="148"/>
                        <a:pt x="264" y="141"/>
                        <a:pt x="264" y="141"/>
                      </a:cubicBezTo>
                      <a:cubicBezTo>
                        <a:pt x="264" y="141"/>
                        <a:pt x="269" y="152"/>
                        <a:pt x="278" y="148"/>
                      </a:cubicBezTo>
                      <a:cubicBezTo>
                        <a:pt x="287" y="144"/>
                        <a:pt x="269" y="127"/>
                        <a:pt x="269" y="127"/>
                      </a:cubicBezTo>
                      <a:close/>
                      <a:moveTo>
                        <a:pt x="230" y="247"/>
                      </a:moveTo>
                      <a:cubicBezTo>
                        <a:pt x="232" y="259"/>
                        <a:pt x="242" y="262"/>
                        <a:pt x="247" y="254"/>
                      </a:cubicBezTo>
                      <a:cubicBezTo>
                        <a:pt x="253" y="244"/>
                        <a:pt x="228" y="235"/>
                        <a:pt x="230" y="247"/>
                      </a:cubicBezTo>
                      <a:close/>
                      <a:moveTo>
                        <a:pt x="299" y="210"/>
                      </a:moveTo>
                      <a:cubicBezTo>
                        <a:pt x="289" y="202"/>
                        <a:pt x="291" y="220"/>
                        <a:pt x="291" y="220"/>
                      </a:cubicBezTo>
                      <a:cubicBezTo>
                        <a:pt x="305" y="227"/>
                        <a:pt x="309" y="218"/>
                        <a:pt x="299" y="210"/>
                      </a:cubicBezTo>
                      <a:close/>
                      <a:moveTo>
                        <a:pt x="298" y="249"/>
                      </a:moveTo>
                      <a:cubicBezTo>
                        <a:pt x="307" y="236"/>
                        <a:pt x="307" y="236"/>
                        <a:pt x="307" y="236"/>
                      </a:cubicBezTo>
                      <a:cubicBezTo>
                        <a:pt x="295" y="236"/>
                        <a:pt x="295" y="236"/>
                        <a:pt x="295" y="236"/>
                      </a:cubicBezTo>
                      <a:lnTo>
                        <a:pt x="298" y="249"/>
                      </a:lnTo>
                      <a:close/>
                      <a:moveTo>
                        <a:pt x="186" y="146"/>
                      </a:moveTo>
                      <a:cubicBezTo>
                        <a:pt x="186" y="146"/>
                        <a:pt x="180" y="158"/>
                        <a:pt x="196" y="158"/>
                      </a:cubicBezTo>
                      <a:lnTo>
                        <a:pt x="186" y="146"/>
                      </a:lnTo>
                      <a:close/>
                      <a:moveTo>
                        <a:pt x="361" y="281"/>
                      </a:moveTo>
                      <a:cubicBezTo>
                        <a:pt x="357" y="274"/>
                        <a:pt x="336" y="302"/>
                        <a:pt x="342" y="312"/>
                      </a:cubicBezTo>
                      <a:cubicBezTo>
                        <a:pt x="347" y="321"/>
                        <a:pt x="365" y="288"/>
                        <a:pt x="361" y="281"/>
                      </a:cubicBezTo>
                      <a:close/>
                      <a:moveTo>
                        <a:pt x="310" y="258"/>
                      </a:moveTo>
                      <a:cubicBezTo>
                        <a:pt x="309" y="273"/>
                        <a:pt x="309" y="273"/>
                        <a:pt x="309" y="273"/>
                      </a:cubicBezTo>
                      <a:cubicBezTo>
                        <a:pt x="334" y="254"/>
                        <a:pt x="334" y="254"/>
                        <a:pt x="334" y="254"/>
                      </a:cubicBezTo>
                      <a:cubicBezTo>
                        <a:pt x="326" y="249"/>
                        <a:pt x="326" y="249"/>
                        <a:pt x="326" y="249"/>
                      </a:cubicBezTo>
                      <a:lnTo>
                        <a:pt x="310" y="258"/>
                      </a:lnTo>
                      <a:close/>
                      <a:moveTo>
                        <a:pt x="311" y="342"/>
                      </a:moveTo>
                      <a:cubicBezTo>
                        <a:pt x="324" y="339"/>
                        <a:pt x="324" y="339"/>
                        <a:pt x="324" y="339"/>
                      </a:cubicBezTo>
                      <a:cubicBezTo>
                        <a:pt x="317" y="312"/>
                        <a:pt x="317" y="312"/>
                        <a:pt x="317" y="312"/>
                      </a:cubicBezTo>
                      <a:lnTo>
                        <a:pt x="311" y="342"/>
                      </a:lnTo>
                      <a:close/>
                      <a:moveTo>
                        <a:pt x="186" y="221"/>
                      </a:moveTo>
                      <a:cubicBezTo>
                        <a:pt x="181" y="226"/>
                        <a:pt x="184" y="232"/>
                        <a:pt x="189" y="231"/>
                      </a:cubicBezTo>
                      <a:cubicBezTo>
                        <a:pt x="198" y="229"/>
                        <a:pt x="191" y="216"/>
                        <a:pt x="186" y="221"/>
                      </a:cubicBezTo>
                      <a:close/>
                      <a:moveTo>
                        <a:pt x="127" y="288"/>
                      </a:moveTo>
                      <a:cubicBezTo>
                        <a:pt x="121" y="290"/>
                        <a:pt x="126" y="307"/>
                        <a:pt x="133" y="301"/>
                      </a:cubicBezTo>
                      <a:cubicBezTo>
                        <a:pt x="140" y="295"/>
                        <a:pt x="134" y="286"/>
                        <a:pt x="127" y="288"/>
                      </a:cubicBezTo>
                      <a:close/>
                      <a:moveTo>
                        <a:pt x="259" y="352"/>
                      </a:moveTo>
                      <a:cubicBezTo>
                        <a:pt x="255" y="354"/>
                        <a:pt x="252" y="342"/>
                        <a:pt x="252" y="342"/>
                      </a:cubicBezTo>
                      <a:cubicBezTo>
                        <a:pt x="230" y="341"/>
                        <a:pt x="230" y="341"/>
                        <a:pt x="230" y="341"/>
                      </a:cubicBezTo>
                      <a:cubicBezTo>
                        <a:pt x="209" y="336"/>
                        <a:pt x="209" y="336"/>
                        <a:pt x="209" y="336"/>
                      </a:cubicBezTo>
                      <a:cubicBezTo>
                        <a:pt x="188" y="336"/>
                        <a:pt x="188" y="336"/>
                        <a:pt x="188" y="336"/>
                      </a:cubicBezTo>
                      <a:cubicBezTo>
                        <a:pt x="168" y="325"/>
                        <a:pt x="168" y="325"/>
                        <a:pt x="168" y="325"/>
                      </a:cubicBezTo>
                      <a:cubicBezTo>
                        <a:pt x="168" y="325"/>
                        <a:pt x="152" y="332"/>
                        <a:pt x="161" y="342"/>
                      </a:cubicBezTo>
                      <a:cubicBezTo>
                        <a:pt x="170" y="352"/>
                        <a:pt x="175" y="345"/>
                        <a:pt x="175" y="345"/>
                      </a:cubicBezTo>
                      <a:cubicBezTo>
                        <a:pt x="181" y="351"/>
                        <a:pt x="181" y="351"/>
                        <a:pt x="181" y="351"/>
                      </a:cubicBezTo>
                      <a:cubicBezTo>
                        <a:pt x="205" y="352"/>
                        <a:pt x="205" y="352"/>
                        <a:pt x="205" y="352"/>
                      </a:cubicBezTo>
                      <a:cubicBezTo>
                        <a:pt x="213" y="367"/>
                        <a:pt x="213" y="367"/>
                        <a:pt x="213" y="367"/>
                      </a:cubicBezTo>
                      <a:cubicBezTo>
                        <a:pt x="238" y="366"/>
                        <a:pt x="238" y="366"/>
                        <a:pt x="238" y="366"/>
                      </a:cubicBezTo>
                      <a:cubicBezTo>
                        <a:pt x="241" y="362"/>
                        <a:pt x="241" y="362"/>
                        <a:pt x="241" y="362"/>
                      </a:cubicBezTo>
                      <a:cubicBezTo>
                        <a:pt x="241" y="362"/>
                        <a:pt x="279" y="367"/>
                        <a:pt x="281" y="353"/>
                      </a:cubicBezTo>
                      <a:cubicBezTo>
                        <a:pt x="283" y="339"/>
                        <a:pt x="263" y="350"/>
                        <a:pt x="259" y="352"/>
                      </a:cubicBezTo>
                      <a:close/>
                      <a:moveTo>
                        <a:pt x="285" y="272"/>
                      </a:moveTo>
                      <a:cubicBezTo>
                        <a:pt x="276" y="268"/>
                        <a:pt x="272" y="276"/>
                        <a:pt x="277" y="279"/>
                      </a:cubicBezTo>
                      <a:cubicBezTo>
                        <a:pt x="284" y="284"/>
                        <a:pt x="294" y="276"/>
                        <a:pt x="285" y="272"/>
                      </a:cubicBezTo>
                      <a:close/>
                      <a:moveTo>
                        <a:pt x="79" y="186"/>
                      </a:moveTo>
                      <a:cubicBezTo>
                        <a:pt x="65" y="192"/>
                        <a:pt x="65" y="192"/>
                        <a:pt x="65" y="192"/>
                      </a:cubicBezTo>
                      <a:cubicBezTo>
                        <a:pt x="58" y="192"/>
                        <a:pt x="58" y="192"/>
                        <a:pt x="58" y="192"/>
                      </a:cubicBezTo>
                      <a:cubicBezTo>
                        <a:pt x="47" y="207"/>
                        <a:pt x="47" y="207"/>
                        <a:pt x="47" y="207"/>
                      </a:cubicBezTo>
                      <a:cubicBezTo>
                        <a:pt x="66" y="224"/>
                        <a:pt x="66" y="224"/>
                        <a:pt x="66" y="224"/>
                      </a:cubicBezTo>
                      <a:cubicBezTo>
                        <a:pt x="66" y="224"/>
                        <a:pt x="63" y="241"/>
                        <a:pt x="63" y="251"/>
                      </a:cubicBezTo>
                      <a:cubicBezTo>
                        <a:pt x="63" y="261"/>
                        <a:pt x="78" y="267"/>
                        <a:pt x="81" y="260"/>
                      </a:cubicBezTo>
                      <a:cubicBezTo>
                        <a:pt x="84" y="253"/>
                        <a:pt x="93" y="254"/>
                        <a:pt x="93" y="254"/>
                      </a:cubicBezTo>
                      <a:cubicBezTo>
                        <a:pt x="107" y="280"/>
                        <a:pt x="107" y="280"/>
                        <a:pt x="107" y="280"/>
                      </a:cubicBezTo>
                      <a:cubicBezTo>
                        <a:pt x="113" y="262"/>
                        <a:pt x="113" y="262"/>
                        <a:pt x="113" y="262"/>
                      </a:cubicBezTo>
                      <a:cubicBezTo>
                        <a:pt x="122" y="275"/>
                        <a:pt x="122" y="275"/>
                        <a:pt x="122" y="275"/>
                      </a:cubicBezTo>
                      <a:cubicBezTo>
                        <a:pt x="138" y="281"/>
                        <a:pt x="138" y="281"/>
                        <a:pt x="138" y="281"/>
                      </a:cubicBezTo>
                      <a:cubicBezTo>
                        <a:pt x="129" y="270"/>
                        <a:pt x="129" y="270"/>
                        <a:pt x="129" y="270"/>
                      </a:cubicBezTo>
                      <a:cubicBezTo>
                        <a:pt x="133" y="265"/>
                        <a:pt x="133" y="265"/>
                        <a:pt x="133" y="265"/>
                      </a:cubicBezTo>
                      <a:cubicBezTo>
                        <a:pt x="131" y="250"/>
                        <a:pt x="131" y="250"/>
                        <a:pt x="131" y="250"/>
                      </a:cubicBezTo>
                      <a:cubicBezTo>
                        <a:pt x="131" y="250"/>
                        <a:pt x="114" y="229"/>
                        <a:pt x="117" y="221"/>
                      </a:cubicBezTo>
                      <a:cubicBezTo>
                        <a:pt x="120" y="213"/>
                        <a:pt x="143" y="232"/>
                        <a:pt x="143" y="232"/>
                      </a:cubicBezTo>
                      <a:cubicBezTo>
                        <a:pt x="152" y="228"/>
                        <a:pt x="152" y="228"/>
                        <a:pt x="152" y="228"/>
                      </a:cubicBezTo>
                      <a:cubicBezTo>
                        <a:pt x="152" y="228"/>
                        <a:pt x="141" y="221"/>
                        <a:pt x="132" y="212"/>
                      </a:cubicBezTo>
                      <a:cubicBezTo>
                        <a:pt x="123" y="203"/>
                        <a:pt x="79" y="186"/>
                        <a:pt x="79" y="186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7" name="Germany">
                  <a:extLst>
                    <a:ext uri="{FF2B5EF4-FFF2-40B4-BE49-F238E27FC236}">
                      <a16:creationId xmlns:a16="http://schemas.microsoft.com/office/drawing/2014/main" id="{5798B22A-0204-4D09-84E0-5E7D511EB36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86089" y="2444426"/>
                  <a:ext cx="209586" cy="218975"/>
                </a:xfrm>
                <a:custGeom>
                  <a:avLst/>
                  <a:gdLst>
                    <a:gd name="T0" fmla="*/ 21 w 373"/>
                    <a:gd name="T1" fmla="*/ 294 h 393"/>
                    <a:gd name="T2" fmla="*/ 62 w 373"/>
                    <a:gd name="T3" fmla="*/ 297 h 393"/>
                    <a:gd name="T4" fmla="*/ 90 w 373"/>
                    <a:gd name="T5" fmla="*/ 305 h 393"/>
                    <a:gd name="T6" fmla="*/ 74 w 373"/>
                    <a:gd name="T7" fmla="*/ 330 h 393"/>
                    <a:gd name="T8" fmla="*/ 75 w 373"/>
                    <a:gd name="T9" fmla="*/ 381 h 393"/>
                    <a:gd name="T10" fmla="*/ 101 w 373"/>
                    <a:gd name="T11" fmla="*/ 378 h 393"/>
                    <a:gd name="T12" fmla="*/ 128 w 373"/>
                    <a:gd name="T13" fmla="*/ 372 h 393"/>
                    <a:gd name="T14" fmla="*/ 148 w 373"/>
                    <a:gd name="T15" fmla="*/ 383 h 393"/>
                    <a:gd name="T16" fmla="*/ 161 w 373"/>
                    <a:gd name="T17" fmla="*/ 382 h 393"/>
                    <a:gd name="T18" fmla="*/ 182 w 373"/>
                    <a:gd name="T19" fmla="*/ 377 h 393"/>
                    <a:gd name="T20" fmla="*/ 224 w 373"/>
                    <a:gd name="T21" fmla="*/ 387 h 393"/>
                    <a:gd name="T22" fmla="*/ 258 w 373"/>
                    <a:gd name="T23" fmla="*/ 372 h 393"/>
                    <a:gd name="T24" fmla="*/ 290 w 373"/>
                    <a:gd name="T25" fmla="*/ 385 h 393"/>
                    <a:gd name="T26" fmla="*/ 282 w 373"/>
                    <a:gd name="T27" fmla="*/ 358 h 393"/>
                    <a:gd name="T28" fmla="*/ 309 w 373"/>
                    <a:gd name="T29" fmla="*/ 335 h 393"/>
                    <a:gd name="T30" fmla="*/ 324 w 373"/>
                    <a:gd name="T31" fmla="*/ 316 h 393"/>
                    <a:gd name="T32" fmla="*/ 301 w 373"/>
                    <a:gd name="T33" fmla="*/ 295 h 393"/>
                    <a:gd name="T34" fmla="*/ 281 w 373"/>
                    <a:gd name="T35" fmla="*/ 285 h 393"/>
                    <a:gd name="T36" fmla="*/ 271 w 373"/>
                    <a:gd name="T37" fmla="*/ 271 h 393"/>
                    <a:gd name="T38" fmla="*/ 263 w 373"/>
                    <a:gd name="T39" fmla="*/ 248 h 393"/>
                    <a:gd name="T40" fmla="*/ 263 w 373"/>
                    <a:gd name="T41" fmla="*/ 239 h 393"/>
                    <a:gd name="T42" fmla="*/ 283 w 373"/>
                    <a:gd name="T43" fmla="*/ 227 h 393"/>
                    <a:gd name="T44" fmla="*/ 308 w 373"/>
                    <a:gd name="T45" fmla="*/ 221 h 393"/>
                    <a:gd name="T46" fmla="*/ 325 w 373"/>
                    <a:gd name="T47" fmla="*/ 210 h 393"/>
                    <a:gd name="T48" fmla="*/ 360 w 373"/>
                    <a:gd name="T49" fmla="*/ 208 h 393"/>
                    <a:gd name="T50" fmla="*/ 369 w 373"/>
                    <a:gd name="T51" fmla="*/ 177 h 393"/>
                    <a:gd name="T52" fmla="*/ 351 w 373"/>
                    <a:gd name="T53" fmla="*/ 157 h 393"/>
                    <a:gd name="T54" fmla="*/ 356 w 373"/>
                    <a:gd name="T55" fmla="*/ 136 h 393"/>
                    <a:gd name="T56" fmla="*/ 352 w 373"/>
                    <a:gd name="T57" fmla="*/ 115 h 393"/>
                    <a:gd name="T58" fmla="*/ 334 w 373"/>
                    <a:gd name="T59" fmla="*/ 106 h 393"/>
                    <a:gd name="T60" fmla="*/ 339 w 373"/>
                    <a:gd name="T61" fmla="*/ 72 h 393"/>
                    <a:gd name="T62" fmla="*/ 321 w 373"/>
                    <a:gd name="T63" fmla="*/ 55 h 393"/>
                    <a:gd name="T64" fmla="*/ 296 w 373"/>
                    <a:gd name="T65" fmla="*/ 35 h 393"/>
                    <a:gd name="T66" fmla="*/ 226 w 373"/>
                    <a:gd name="T67" fmla="*/ 35 h 393"/>
                    <a:gd name="T68" fmla="*/ 202 w 373"/>
                    <a:gd name="T69" fmla="*/ 35 h 393"/>
                    <a:gd name="T70" fmla="*/ 168 w 373"/>
                    <a:gd name="T71" fmla="*/ 22 h 393"/>
                    <a:gd name="T72" fmla="*/ 145 w 373"/>
                    <a:gd name="T73" fmla="*/ 3 h 393"/>
                    <a:gd name="T74" fmla="*/ 112 w 373"/>
                    <a:gd name="T75" fmla="*/ 0 h 393"/>
                    <a:gd name="T76" fmla="*/ 130 w 373"/>
                    <a:gd name="T77" fmla="*/ 49 h 393"/>
                    <a:gd name="T78" fmla="*/ 105 w 373"/>
                    <a:gd name="T79" fmla="*/ 55 h 393"/>
                    <a:gd name="T80" fmla="*/ 82 w 373"/>
                    <a:gd name="T81" fmla="*/ 62 h 393"/>
                    <a:gd name="T82" fmla="*/ 57 w 373"/>
                    <a:gd name="T83" fmla="*/ 85 h 393"/>
                    <a:gd name="T84" fmla="*/ 47 w 373"/>
                    <a:gd name="T85" fmla="*/ 103 h 393"/>
                    <a:gd name="T86" fmla="*/ 30 w 373"/>
                    <a:gd name="T87" fmla="*/ 122 h 393"/>
                    <a:gd name="T88" fmla="*/ 35 w 373"/>
                    <a:gd name="T89" fmla="*/ 153 h 393"/>
                    <a:gd name="T90" fmla="*/ 1 w 373"/>
                    <a:gd name="T91" fmla="*/ 155 h 393"/>
                    <a:gd name="T92" fmla="*/ 0 w 373"/>
                    <a:gd name="T93" fmla="*/ 191 h 393"/>
                    <a:gd name="T94" fmla="*/ 5 w 373"/>
                    <a:gd name="T95" fmla="*/ 216 h 393"/>
                    <a:gd name="T96" fmla="*/ 9 w 373"/>
                    <a:gd name="T97" fmla="*/ 239 h 393"/>
                    <a:gd name="T98" fmla="*/ 17 w 373"/>
                    <a:gd name="T99" fmla="*/ 274 h 3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73" h="393">
                      <a:moveTo>
                        <a:pt x="17" y="274"/>
                      </a:moveTo>
                      <a:cubicBezTo>
                        <a:pt x="17" y="274"/>
                        <a:pt x="19" y="278"/>
                        <a:pt x="22" y="281"/>
                      </a:cubicBezTo>
                      <a:cubicBezTo>
                        <a:pt x="25" y="284"/>
                        <a:pt x="21" y="294"/>
                        <a:pt x="21" y="294"/>
                      </a:cubicBezTo>
                      <a:cubicBezTo>
                        <a:pt x="38" y="294"/>
                        <a:pt x="38" y="294"/>
                        <a:pt x="38" y="294"/>
                      </a:cubicBezTo>
                      <a:cubicBezTo>
                        <a:pt x="38" y="294"/>
                        <a:pt x="36" y="299"/>
                        <a:pt x="42" y="300"/>
                      </a:cubicBezTo>
                      <a:cubicBezTo>
                        <a:pt x="48" y="301"/>
                        <a:pt x="62" y="297"/>
                        <a:pt x="62" y="297"/>
                      </a:cubicBezTo>
                      <a:cubicBezTo>
                        <a:pt x="62" y="301"/>
                        <a:pt x="62" y="301"/>
                        <a:pt x="62" y="301"/>
                      </a:cubicBezTo>
                      <a:cubicBezTo>
                        <a:pt x="80" y="300"/>
                        <a:pt x="80" y="300"/>
                        <a:pt x="80" y="300"/>
                      </a:cubicBezTo>
                      <a:cubicBezTo>
                        <a:pt x="90" y="305"/>
                        <a:pt x="90" y="305"/>
                        <a:pt x="90" y="305"/>
                      </a:cubicBezTo>
                      <a:cubicBezTo>
                        <a:pt x="88" y="311"/>
                        <a:pt x="88" y="311"/>
                        <a:pt x="88" y="311"/>
                      </a:cubicBezTo>
                      <a:cubicBezTo>
                        <a:pt x="74" y="322"/>
                        <a:pt x="74" y="322"/>
                        <a:pt x="74" y="322"/>
                      </a:cubicBezTo>
                      <a:cubicBezTo>
                        <a:pt x="74" y="330"/>
                        <a:pt x="74" y="330"/>
                        <a:pt x="74" y="330"/>
                      </a:cubicBezTo>
                      <a:cubicBezTo>
                        <a:pt x="74" y="330"/>
                        <a:pt x="64" y="349"/>
                        <a:pt x="62" y="360"/>
                      </a:cubicBezTo>
                      <a:cubicBezTo>
                        <a:pt x="60" y="369"/>
                        <a:pt x="63" y="377"/>
                        <a:pt x="64" y="379"/>
                      </a:cubicBezTo>
                      <a:cubicBezTo>
                        <a:pt x="75" y="381"/>
                        <a:pt x="75" y="381"/>
                        <a:pt x="75" y="381"/>
                      </a:cubicBezTo>
                      <a:cubicBezTo>
                        <a:pt x="87" y="381"/>
                        <a:pt x="87" y="381"/>
                        <a:pt x="87" y="381"/>
                      </a:cubicBezTo>
                      <a:cubicBezTo>
                        <a:pt x="97" y="374"/>
                        <a:pt x="97" y="374"/>
                        <a:pt x="97" y="374"/>
                      </a:cubicBezTo>
                      <a:cubicBezTo>
                        <a:pt x="101" y="378"/>
                        <a:pt x="101" y="378"/>
                        <a:pt x="101" y="378"/>
                      </a:cubicBezTo>
                      <a:cubicBezTo>
                        <a:pt x="101" y="378"/>
                        <a:pt x="96" y="366"/>
                        <a:pt x="103" y="365"/>
                      </a:cubicBezTo>
                      <a:cubicBezTo>
                        <a:pt x="110" y="364"/>
                        <a:pt x="119" y="372"/>
                        <a:pt x="119" y="372"/>
                      </a:cubicBezTo>
                      <a:cubicBezTo>
                        <a:pt x="128" y="372"/>
                        <a:pt x="128" y="372"/>
                        <a:pt x="128" y="372"/>
                      </a:cubicBezTo>
                      <a:cubicBezTo>
                        <a:pt x="138" y="375"/>
                        <a:pt x="138" y="375"/>
                        <a:pt x="138" y="375"/>
                      </a:cubicBezTo>
                      <a:cubicBezTo>
                        <a:pt x="144" y="383"/>
                        <a:pt x="144" y="383"/>
                        <a:pt x="144" y="383"/>
                      </a:cubicBezTo>
                      <a:cubicBezTo>
                        <a:pt x="148" y="383"/>
                        <a:pt x="148" y="383"/>
                        <a:pt x="148" y="383"/>
                      </a:cubicBezTo>
                      <a:cubicBezTo>
                        <a:pt x="148" y="383"/>
                        <a:pt x="149" y="384"/>
                        <a:pt x="149" y="385"/>
                      </a:cubicBezTo>
                      <a:cubicBezTo>
                        <a:pt x="149" y="385"/>
                        <a:pt x="149" y="385"/>
                        <a:pt x="149" y="385"/>
                      </a:cubicBezTo>
                      <a:cubicBezTo>
                        <a:pt x="151" y="383"/>
                        <a:pt x="155" y="380"/>
                        <a:pt x="161" y="382"/>
                      </a:cubicBezTo>
                      <a:cubicBezTo>
                        <a:pt x="170" y="383"/>
                        <a:pt x="171" y="393"/>
                        <a:pt x="175" y="392"/>
                      </a:cubicBezTo>
                      <a:cubicBezTo>
                        <a:pt x="179" y="391"/>
                        <a:pt x="182" y="386"/>
                        <a:pt x="182" y="386"/>
                      </a:cubicBezTo>
                      <a:cubicBezTo>
                        <a:pt x="182" y="377"/>
                        <a:pt x="182" y="377"/>
                        <a:pt x="182" y="377"/>
                      </a:cubicBezTo>
                      <a:cubicBezTo>
                        <a:pt x="195" y="378"/>
                        <a:pt x="195" y="378"/>
                        <a:pt x="195" y="378"/>
                      </a:cubicBezTo>
                      <a:cubicBezTo>
                        <a:pt x="195" y="378"/>
                        <a:pt x="205" y="389"/>
                        <a:pt x="212" y="389"/>
                      </a:cubicBezTo>
                      <a:cubicBezTo>
                        <a:pt x="218" y="389"/>
                        <a:pt x="224" y="387"/>
                        <a:pt x="224" y="387"/>
                      </a:cubicBezTo>
                      <a:cubicBezTo>
                        <a:pt x="233" y="379"/>
                        <a:pt x="233" y="379"/>
                        <a:pt x="233" y="379"/>
                      </a:cubicBezTo>
                      <a:cubicBezTo>
                        <a:pt x="247" y="378"/>
                        <a:pt x="247" y="378"/>
                        <a:pt x="247" y="378"/>
                      </a:cubicBezTo>
                      <a:cubicBezTo>
                        <a:pt x="258" y="372"/>
                        <a:pt x="258" y="372"/>
                        <a:pt x="258" y="372"/>
                      </a:cubicBezTo>
                      <a:cubicBezTo>
                        <a:pt x="267" y="373"/>
                        <a:pt x="267" y="373"/>
                        <a:pt x="267" y="373"/>
                      </a:cubicBezTo>
                      <a:cubicBezTo>
                        <a:pt x="280" y="378"/>
                        <a:pt x="280" y="378"/>
                        <a:pt x="280" y="378"/>
                      </a:cubicBezTo>
                      <a:cubicBezTo>
                        <a:pt x="280" y="378"/>
                        <a:pt x="288" y="392"/>
                        <a:pt x="290" y="385"/>
                      </a:cubicBezTo>
                      <a:cubicBezTo>
                        <a:pt x="291" y="379"/>
                        <a:pt x="290" y="369"/>
                        <a:pt x="290" y="369"/>
                      </a:cubicBezTo>
                      <a:cubicBezTo>
                        <a:pt x="290" y="360"/>
                        <a:pt x="290" y="360"/>
                        <a:pt x="290" y="360"/>
                      </a:cubicBezTo>
                      <a:cubicBezTo>
                        <a:pt x="282" y="358"/>
                        <a:pt x="282" y="358"/>
                        <a:pt x="282" y="358"/>
                      </a:cubicBezTo>
                      <a:cubicBezTo>
                        <a:pt x="282" y="358"/>
                        <a:pt x="287" y="345"/>
                        <a:pt x="291" y="344"/>
                      </a:cubicBezTo>
                      <a:cubicBezTo>
                        <a:pt x="296" y="343"/>
                        <a:pt x="309" y="346"/>
                        <a:pt x="309" y="346"/>
                      </a:cubicBezTo>
                      <a:cubicBezTo>
                        <a:pt x="309" y="335"/>
                        <a:pt x="309" y="335"/>
                        <a:pt x="309" y="335"/>
                      </a:cubicBezTo>
                      <a:cubicBezTo>
                        <a:pt x="305" y="328"/>
                        <a:pt x="305" y="328"/>
                        <a:pt x="305" y="328"/>
                      </a:cubicBezTo>
                      <a:cubicBezTo>
                        <a:pt x="317" y="327"/>
                        <a:pt x="317" y="327"/>
                        <a:pt x="317" y="327"/>
                      </a:cubicBezTo>
                      <a:cubicBezTo>
                        <a:pt x="324" y="316"/>
                        <a:pt x="324" y="316"/>
                        <a:pt x="324" y="316"/>
                      </a:cubicBezTo>
                      <a:cubicBezTo>
                        <a:pt x="324" y="316"/>
                        <a:pt x="323" y="309"/>
                        <a:pt x="317" y="305"/>
                      </a:cubicBezTo>
                      <a:cubicBezTo>
                        <a:pt x="312" y="302"/>
                        <a:pt x="307" y="304"/>
                        <a:pt x="307" y="304"/>
                      </a:cubicBezTo>
                      <a:cubicBezTo>
                        <a:pt x="301" y="295"/>
                        <a:pt x="301" y="295"/>
                        <a:pt x="301" y="295"/>
                      </a:cubicBezTo>
                      <a:cubicBezTo>
                        <a:pt x="297" y="295"/>
                        <a:pt x="297" y="295"/>
                        <a:pt x="297" y="295"/>
                      </a:cubicBezTo>
                      <a:cubicBezTo>
                        <a:pt x="294" y="287"/>
                        <a:pt x="294" y="287"/>
                        <a:pt x="294" y="287"/>
                      </a:cubicBezTo>
                      <a:cubicBezTo>
                        <a:pt x="294" y="287"/>
                        <a:pt x="288" y="285"/>
                        <a:pt x="281" y="285"/>
                      </a:cubicBezTo>
                      <a:cubicBezTo>
                        <a:pt x="273" y="284"/>
                        <a:pt x="279" y="279"/>
                        <a:pt x="279" y="279"/>
                      </a:cubicBezTo>
                      <a:cubicBezTo>
                        <a:pt x="273" y="277"/>
                        <a:pt x="273" y="277"/>
                        <a:pt x="273" y="277"/>
                      </a:cubicBezTo>
                      <a:cubicBezTo>
                        <a:pt x="271" y="271"/>
                        <a:pt x="271" y="271"/>
                        <a:pt x="271" y="271"/>
                      </a:cubicBezTo>
                      <a:cubicBezTo>
                        <a:pt x="271" y="271"/>
                        <a:pt x="263" y="265"/>
                        <a:pt x="262" y="263"/>
                      </a:cubicBezTo>
                      <a:cubicBezTo>
                        <a:pt x="261" y="261"/>
                        <a:pt x="269" y="257"/>
                        <a:pt x="269" y="257"/>
                      </a:cubicBezTo>
                      <a:cubicBezTo>
                        <a:pt x="263" y="248"/>
                        <a:pt x="263" y="248"/>
                        <a:pt x="263" y="248"/>
                      </a:cubicBezTo>
                      <a:cubicBezTo>
                        <a:pt x="257" y="247"/>
                        <a:pt x="257" y="247"/>
                        <a:pt x="257" y="247"/>
                      </a:cubicBezTo>
                      <a:cubicBezTo>
                        <a:pt x="257" y="247"/>
                        <a:pt x="252" y="238"/>
                        <a:pt x="255" y="235"/>
                      </a:cubicBezTo>
                      <a:cubicBezTo>
                        <a:pt x="259" y="233"/>
                        <a:pt x="259" y="239"/>
                        <a:pt x="263" y="239"/>
                      </a:cubicBezTo>
                      <a:cubicBezTo>
                        <a:pt x="267" y="238"/>
                        <a:pt x="266" y="233"/>
                        <a:pt x="266" y="233"/>
                      </a:cubicBezTo>
                      <a:cubicBezTo>
                        <a:pt x="273" y="233"/>
                        <a:pt x="273" y="233"/>
                        <a:pt x="273" y="233"/>
                      </a:cubicBezTo>
                      <a:cubicBezTo>
                        <a:pt x="273" y="233"/>
                        <a:pt x="275" y="225"/>
                        <a:pt x="283" y="227"/>
                      </a:cubicBezTo>
                      <a:cubicBezTo>
                        <a:pt x="292" y="229"/>
                        <a:pt x="290" y="233"/>
                        <a:pt x="290" y="233"/>
                      </a:cubicBezTo>
                      <a:cubicBezTo>
                        <a:pt x="297" y="224"/>
                        <a:pt x="297" y="224"/>
                        <a:pt x="297" y="224"/>
                      </a:cubicBezTo>
                      <a:cubicBezTo>
                        <a:pt x="308" y="221"/>
                        <a:pt x="308" y="221"/>
                        <a:pt x="308" y="221"/>
                      </a:cubicBezTo>
                      <a:cubicBezTo>
                        <a:pt x="310" y="217"/>
                        <a:pt x="310" y="217"/>
                        <a:pt x="310" y="217"/>
                      </a:cubicBezTo>
                      <a:cubicBezTo>
                        <a:pt x="310" y="217"/>
                        <a:pt x="321" y="217"/>
                        <a:pt x="324" y="216"/>
                      </a:cubicBezTo>
                      <a:cubicBezTo>
                        <a:pt x="327" y="215"/>
                        <a:pt x="325" y="210"/>
                        <a:pt x="325" y="210"/>
                      </a:cubicBezTo>
                      <a:cubicBezTo>
                        <a:pt x="325" y="210"/>
                        <a:pt x="336" y="211"/>
                        <a:pt x="339" y="208"/>
                      </a:cubicBezTo>
                      <a:cubicBezTo>
                        <a:pt x="341" y="205"/>
                        <a:pt x="346" y="199"/>
                        <a:pt x="348" y="198"/>
                      </a:cubicBezTo>
                      <a:cubicBezTo>
                        <a:pt x="350" y="197"/>
                        <a:pt x="355" y="209"/>
                        <a:pt x="360" y="208"/>
                      </a:cubicBezTo>
                      <a:cubicBezTo>
                        <a:pt x="365" y="207"/>
                        <a:pt x="371" y="195"/>
                        <a:pt x="372" y="191"/>
                      </a:cubicBezTo>
                      <a:cubicBezTo>
                        <a:pt x="373" y="188"/>
                        <a:pt x="367" y="187"/>
                        <a:pt x="367" y="187"/>
                      </a:cubicBezTo>
                      <a:cubicBezTo>
                        <a:pt x="367" y="187"/>
                        <a:pt x="371" y="182"/>
                        <a:pt x="369" y="177"/>
                      </a:cubicBezTo>
                      <a:cubicBezTo>
                        <a:pt x="368" y="171"/>
                        <a:pt x="360" y="177"/>
                        <a:pt x="360" y="177"/>
                      </a:cubicBezTo>
                      <a:cubicBezTo>
                        <a:pt x="361" y="165"/>
                        <a:pt x="361" y="165"/>
                        <a:pt x="361" y="165"/>
                      </a:cubicBezTo>
                      <a:cubicBezTo>
                        <a:pt x="361" y="165"/>
                        <a:pt x="352" y="163"/>
                        <a:pt x="351" y="157"/>
                      </a:cubicBezTo>
                      <a:cubicBezTo>
                        <a:pt x="351" y="152"/>
                        <a:pt x="360" y="146"/>
                        <a:pt x="360" y="146"/>
                      </a:cubicBezTo>
                      <a:cubicBezTo>
                        <a:pt x="360" y="146"/>
                        <a:pt x="357" y="144"/>
                        <a:pt x="355" y="143"/>
                      </a:cubicBezTo>
                      <a:cubicBezTo>
                        <a:pt x="353" y="143"/>
                        <a:pt x="356" y="136"/>
                        <a:pt x="356" y="136"/>
                      </a:cubicBezTo>
                      <a:cubicBezTo>
                        <a:pt x="356" y="136"/>
                        <a:pt x="351" y="135"/>
                        <a:pt x="350" y="132"/>
                      </a:cubicBezTo>
                      <a:cubicBezTo>
                        <a:pt x="349" y="129"/>
                        <a:pt x="355" y="126"/>
                        <a:pt x="355" y="126"/>
                      </a:cubicBezTo>
                      <a:cubicBezTo>
                        <a:pt x="355" y="126"/>
                        <a:pt x="355" y="120"/>
                        <a:pt x="352" y="115"/>
                      </a:cubicBezTo>
                      <a:cubicBezTo>
                        <a:pt x="349" y="111"/>
                        <a:pt x="345" y="115"/>
                        <a:pt x="345" y="115"/>
                      </a:cubicBezTo>
                      <a:cubicBezTo>
                        <a:pt x="341" y="109"/>
                        <a:pt x="341" y="109"/>
                        <a:pt x="341" y="109"/>
                      </a:cubicBezTo>
                      <a:cubicBezTo>
                        <a:pt x="341" y="109"/>
                        <a:pt x="337" y="113"/>
                        <a:pt x="334" y="106"/>
                      </a:cubicBezTo>
                      <a:cubicBezTo>
                        <a:pt x="331" y="99"/>
                        <a:pt x="337" y="98"/>
                        <a:pt x="343" y="93"/>
                      </a:cubicBezTo>
                      <a:cubicBezTo>
                        <a:pt x="349" y="89"/>
                        <a:pt x="347" y="87"/>
                        <a:pt x="345" y="79"/>
                      </a:cubicBezTo>
                      <a:cubicBezTo>
                        <a:pt x="342" y="70"/>
                        <a:pt x="337" y="78"/>
                        <a:pt x="339" y="72"/>
                      </a:cubicBezTo>
                      <a:cubicBezTo>
                        <a:pt x="340" y="69"/>
                        <a:pt x="339" y="65"/>
                        <a:pt x="338" y="62"/>
                      </a:cubicBezTo>
                      <a:cubicBezTo>
                        <a:pt x="334" y="60"/>
                        <a:pt x="334" y="60"/>
                        <a:pt x="334" y="60"/>
                      </a:cubicBezTo>
                      <a:cubicBezTo>
                        <a:pt x="321" y="55"/>
                        <a:pt x="321" y="55"/>
                        <a:pt x="321" y="55"/>
                      </a:cubicBezTo>
                      <a:cubicBezTo>
                        <a:pt x="321" y="55"/>
                        <a:pt x="323" y="50"/>
                        <a:pt x="318" y="44"/>
                      </a:cubicBezTo>
                      <a:cubicBezTo>
                        <a:pt x="313" y="38"/>
                        <a:pt x="301" y="41"/>
                        <a:pt x="301" y="41"/>
                      </a:cubicBezTo>
                      <a:cubicBezTo>
                        <a:pt x="296" y="35"/>
                        <a:pt x="296" y="35"/>
                        <a:pt x="296" y="35"/>
                      </a:cubicBezTo>
                      <a:cubicBezTo>
                        <a:pt x="296" y="35"/>
                        <a:pt x="270" y="23"/>
                        <a:pt x="265" y="26"/>
                      </a:cubicBezTo>
                      <a:cubicBezTo>
                        <a:pt x="260" y="29"/>
                        <a:pt x="253" y="36"/>
                        <a:pt x="253" y="36"/>
                      </a:cubicBezTo>
                      <a:cubicBezTo>
                        <a:pt x="226" y="35"/>
                        <a:pt x="226" y="35"/>
                        <a:pt x="226" y="35"/>
                      </a:cubicBezTo>
                      <a:cubicBezTo>
                        <a:pt x="226" y="47"/>
                        <a:pt x="226" y="47"/>
                        <a:pt x="226" y="47"/>
                      </a:cubicBezTo>
                      <a:cubicBezTo>
                        <a:pt x="200" y="46"/>
                        <a:pt x="200" y="46"/>
                        <a:pt x="200" y="46"/>
                      </a:cubicBezTo>
                      <a:cubicBezTo>
                        <a:pt x="200" y="46"/>
                        <a:pt x="198" y="38"/>
                        <a:pt x="202" y="35"/>
                      </a:cubicBezTo>
                      <a:cubicBezTo>
                        <a:pt x="206" y="32"/>
                        <a:pt x="209" y="20"/>
                        <a:pt x="209" y="20"/>
                      </a:cubicBezTo>
                      <a:cubicBezTo>
                        <a:pt x="196" y="27"/>
                        <a:pt x="196" y="27"/>
                        <a:pt x="196" y="27"/>
                      </a:cubicBezTo>
                      <a:cubicBezTo>
                        <a:pt x="168" y="22"/>
                        <a:pt x="168" y="22"/>
                        <a:pt x="168" y="22"/>
                      </a:cubicBezTo>
                      <a:cubicBezTo>
                        <a:pt x="168" y="22"/>
                        <a:pt x="160" y="14"/>
                        <a:pt x="156" y="4"/>
                      </a:cubicBezTo>
                      <a:cubicBezTo>
                        <a:pt x="154" y="5"/>
                        <a:pt x="153" y="6"/>
                        <a:pt x="153" y="6"/>
                      </a:cubicBezTo>
                      <a:cubicBezTo>
                        <a:pt x="153" y="6"/>
                        <a:pt x="152" y="2"/>
                        <a:pt x="145" y="3"/>
                      </a:cubicBezTo>
                      <a:cubicBezTo>
                        <a:pt x="137" y="3"/>
                        <a:pt x="135" y="5"/>
                        <a:pt x="135" y="5"/>
                      </a:cubicBezTo>
                      <a:cubicBezTo>
                        <a:pt x="135" y="5"/>
                        <a:pt x="127" y="0"/>
                        <a:pt x="123" y="0"/>
                      </a:cubicBezTo>
                      <a:cubicBezTo>
                        <a:pt x="119" y="0"/>
                        <a:pt x="112" y="0"/>
                        <a:pt x="112" y="0"/>
                      </a:cubicBezTo>
                      <a:cubicBezTo>
                        <a:pt x="126" y="23"/>
                        <a:pt x="126" y="23"/>
                        <a:pt x="126" y="23"/>
                      </a:cubicBezTo>
                      <a:cubicBezTo>
                        <a:pt x="117" y="31"/>
                        <a:pt x="117" y="31"/>
                        <a:pt x="117" y="31"/>
                      </a:cubicBezTo>
                      <a:cubicBezTo>
                        <a:pt x="130" y="49"/>
                        <a:pt x="130" y="49"/>
                        <a:pt x="130" y="49"/>
                      </a:cubicBezTo>
                      <a:cubicBezTo>
                        <a:pt x="142" y="58"/>
                        <a:pt x="142" y="58"/>
                        <a:pt x="142" y="58"/>
                      </a:cubicBezTo>
                      <a:cubicBezTo>
                        <a:pt x="123" y="51"/>
                        <a:pt x="123" y="51"/>
                        <a:pt x="123" y="51"/>
                      </a:cubicBezTo>
                      <a:cubicBezTo>
                        <a:pt x="105" y="55"/>
                        <a:pt x="105" y="55"/>
                        <a:pt x="105" y="55"/>
                      </a:cubicBezTo>
                      <a:cubicBezTo>
                        <a:pt x="105" y="55"/>
                        <a:pt x="110" y="70"/>
                        <a:pt x="104" y="72"/>
                      </a:cubicBezTo>
                      <a:cubicBezTo>
                        <a:pt x="98" y="74"/>
                        <a:pt x="88" y="72"/>
                        <a:pt x="88" y="72"/>
                      </a:cubicBezTo>
                      <a:cubicBezTo>
                        <a:pt x="82" y="62"/>
                        <a:pt x="82" y="62"/>
                        <a:pt x="82" y="62"/>
                      </a:cubicBezTo>
                      <a:cubicBezTo>
                        <a:pt x="82" y="62"/>
                        <a:pt x="55" y="59"/>
                        <a:pt x="54" y="64"/>
                      </a:cubicBezTo>
                      <a:cubicBezTo>
                        <a:pt x="53" y="69"/>
                        <a:pt x="53" y="82"/>
                        <a:pt x="53" y="82"/>
                      </a:cubicBezTo>
                      <a:cubicBezTo>
                        <a:pt x="57" y="85"/>
                        <a:pt x="57" y="85"/>
                        <a:pt x="57" y="85"/>
                      </a:cubicBezTo>
                      <a:cubicBezTo>
                        <a:pt x="54" y="87"/>
                        <a:pt x="54" y="87"/>
                        <a:pt x="54" y="87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9" y="95"/>
                        <a:pt x="48" y="99"/>
                        <a:pt x="47" y="103"/>
                      </a:cubicBezTo>
                      <a:cubicBezTo>
                        <a:pt x="45" y="107"/>
                        <a:pt x="49" y="115"/>
                        <a:pt x="49" y="115"/>
                      </a:cubicBezTo>
                      <a:cubicBezTo>
                        <a:pt x="41" y="115"/>
                        <a:pt x="41" y="115"/>
                        <a:pt x="41" y="115"/>
                      </a:cubicBezTo>
                      <a:cubicBezTo>
                        <a:pt x="41" y="115"/>
                        <a:pt x="29" y="119"/>
                        <a:pt x="30" y="122"/>
                      </a:cubicBezTo>
                      <a:cubicBezTo>
                        <a:pt x="31" y="125"/>
                        <a:pt x="45" y="130"/>
                        <a:pt x="45" y="134"/>
                      </a:cubicBezTo>
                      <a:cubicBezTo>
                        <a:pt x="45" y="138"/>
                        <a:pt x="37" y="142"/>
                        <a:pt x="37" y="142"/>
                      </a:cubicBezTo>
                      <a:cubicBezTo>
                        <a:pt x="35" y="153"/>
                        <a:pt x="35" y="153"/>
                        <a:pt x="35" y="153"/>
                      </a:cubicBezTo>
                      <a:cubicBezTo>
                        <a:pt x="29" y="152"/>
                        <a:pt x="29" y="152"/>
                        <a:pt x="29" y="152"/>
                      </a:cubicBezTo>
                      <a:cubicBezTo>
                        <a:pt x="29" y="152"/>
                        <a:pt x="27" y="157"/>
                        <a:pt x="25" y="160"/>
                      </a:cubicBezTo>
                      <a:cubicBezTo>
                        <a:pt x="23" y="163"/>
                        <a:pt x="1" y="155"/>
                        <a:pt x="1" y="155"/>
                      </a:cubicBezTo>
                      <a:cubicBezTo>
                        <a:pt x="7" y="170"/>
                        <a:pt x="7" y="170"/>
                        <a:pt x="7" y="170"/>
                      </a:cubicBezTo>
                      <a:cubicBezTo>
                        <a:pt x="7" y="170"/>
                        <a:pt x="12" y="178"/>
                        <a:pt x="11" y="181"/>
                      </a:cubicBezTo>
                      <a:cubicBezTo>
                        <a:pt x="11" y="185"/>
                        <a:pt x="0" y="191"/>
                        <a:pt x="0" y="191"/>
                      </a:cubicBezTo>
                      <a:cubicBezTo>
                        <a:pt x="0" y="191"/>
                        <a:pt x="5" y="197"/>
                        <a:pt x="4" y="199"/>
                      </a:cubicBezTo>
                      <a:cubicBezTo>
                        <a:pt x="3" y="201"/>
                        <a:pt x="0" y="215"/>
                        <a:pt x="0" y="215"/>
                      </a:cubicBezTo>
                      <a:cubicBezTo>
                        <a:pt x="5" y="216"/>
                        <a:pt x="5" y="216"/>
                        <a:pt x="5" y="216"/>
                      </a:cubicBezTo>
                      <a:cubicBezTo>
                        <a:pt x="5" y="216"/>
                        <a:pt x="14" y="219"/>
                        <a:pt x="15" y="225"/>
                      </a:cubicBezTo>
                      <a:cubicBezTo>
                        <a:pt x="15" y="231"/>
                        <a:pt x="18" y="238"/>
                        <a:pt x="18" y="238"/>
                      </a:cubicBezTo>
                      <a:cubicBezTo>
                        <a:pt x="9" y="239"/>
                        <a:pt x="9" y="239"/>
                        <a:pt x="9" y="239"/>
                      </a:cubicBezTo>
                      <a:cubicBezTo>
                        <a:pt x="9" y="239"/>
                        <a:pt x="4" y="247"/>
                        <a:pt x="7" y="253"/>
                      </a:cubicBezTo>
                      <a:cubicBezTo>
                        <a:pt x="11" y="259"/>
                        <a:pt x="21" y="261"/>
                        <a:pt x="22" y="265"/>
                      </a:cubicBezTo>
                      <a:cubicBezTo>
                        <a:pt x="23" y="270"/>
                        <a:pt x="17" y="274"/>
                        <a:pt x="17" y="27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8" name="France">
                  <a:extLst>
                    <a:ext uri="{FF2B5EF4-FFF2-40B4-BE49-F238E27FC236}">
                      <a16:creationId xmlns:a16="http://schemas.microsoft.com/office/drawing/2014/main" id="{DDA2879E-C16A-2CF6-B322-E929F6B1A0C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31792" y="2552321"/>
                  <a:ext cx="304780" cy="257994"/>
                </a:xfrm>
                <a:custGeom>
                  <a:avLst/>
                  <a:gdLst>
                    <a:gd name="T0" fmla="*/ 91 w 96"/>
                    <a:gd name="T1" fmla="*/ 18 h 81"/>
                    <a:gd name="T2" fmla="*/ 87 w 96"/>
                    <a:gd name="T3" fmla="*/ 17 h 81"/>
                    <a:gd name="T4" fmla="*/ 84 w 96"/>
                    <a:gd name="T5" fmla="*/ 15 h 81"/>
                    <a:gd name="T6" fmla="*/ 81 w 96"/>
                    <a:gd name="T7" fmla="*/ 14 h 81"/>
                    <a:gd name="T8" fmla="*/ 79 w 96"/>
                    <a:gd name="T9" fmla="*/ 14 h 81"/>
                    <a:gd name="T10" fmla="*/ 76 w 96"/>
                    <a:gd name="T11" fmla="*/ 13 h 81"/>
                    <a:gd name="T12" fmla="*/ 72 w 96"/>
                    <a:gd name="T13" fmla="*/ 9 h 81"/>
                    <a:gd name="T14" fmla="*/ 67 w 96"/>
                    <a:gd name="T15" fmla="*/ 11 h 81"/>
                    <a:gd name="T16" fmla="*/ 62 w 96"/>
                    <a:gd name="T17" fmla="*/ 6 h 81"/>
                    <a:gd name="T18" fmla="*/ 58 w 96"/>
                    <a:gd name="T19" fmla="*/ 4 h 81"/>
                    <a:gd name="T20" fmla="*/ 57 w 96"/>
                    <a:gd name="T21" fmla="*/ 0 h 81"/>
                    <a:gd name="T22" fmla="*/ 47 w 96"/>
                    <a:gd name="T23" fmla="*/ 2 h 81"/>
                    <a:gd name="T24" fmla="*/ 48 w 96"/>
                    <a:gd name="T25" fmla="*/ 9 h 81"/>
                    <a:gd name="T26" fmla="*/ 38 w 96"/>
                    <a:gd name="T27" fmla="*/ 14 h 81"/>
                    <a:gd name="T28" fmla="*/ 33 w 96"/>
                    <a:gd name="T29" fmla="*/ 17 h 81"/>
                    <a:gd name="T30" fmla="*/ 27 w 96"/>
                    <a:gd name="T31" fmla="*/ 13 h 81"/>
                    <a:gd name="T32" fmla="*/ 26 w 96"/>
                    <a:gd name="T33" fmla="*/ 17 h 81"/>
                    <a:gd name="T34" fmla="*/ 18 w 96"/>
                    <a:gd name="T35" fmla="*/ 22 h 81"/>
                    <a:gd name="T36" fmla="*/ 13 w 96"/>
                    <a:gd name="T37" fmla="*/ 20 h 81"/>
                    <a:gd name="T38" fmla="*/ 2 w 96"/>
                    <a:gd name="T39" fmla="*/ 24 h 81"/>
                    <a:gd name="T40" fmla="*/ 1 w 96"/>
                    <a:gd name="T41" fmla="*/ 28 h 81"/>
                    <a:gd name="T42" fmla="*/ 6 w 96"/>
                    <a:gd name="T43" fmla="*/ 29 h 81"/>
                    <a:gd name="T44" fmla="*/ 15 w 96"/>
                    <a:gd name="T45" fmla="*/ 32 h 81"/>
                    <a:gd name="T46" fmla="*/ 22 w 96"/>
                    <a:gd name="T47" fmla="*/ 35 h 81"/>
                    <a:gd name="T48" fmla="*/ 23 w 96"/>
                    <a:gd name="T49" fmla="*/ 43 h 81"/>
                    <a:gd name="T50" fmla="*/ 26 w 96"/>
                    <a:gd name="T51" fmla="*/ 49 h 81"/>
                    <a:gd name="T52" fmla="*/ 30 w 96"/>
                    <a:gd name="T53" fmla="*/ 56 h 81"/>
                    <a:gd name="T54" fmla="*/ 26 w 96"/>
                    <a:gd name="T55" fmla="*/ 59 h 81"/>
                    <a:gd name="T56" fmla="*/ 20 w 96"/>
                    <a:gd name="T57" fmla="*/ 72 h 81"/>
                    <a:gd name="T58" fmla="*/ 23 w 96"/>
                    <a:gd name="T59" fmla="*/ 73 h 81"/>
                    <a:gd name="T60" fmla="*/ 27 w 96"/>
                    <a:gd name="T61" fmla="*/ 75 h 81"/>
                    <a:gd name="T62" fmla="*/ 32 w 96"/>
                    <a:gd name="T63" fmla="*/ 77 h 81"/>
                    <a:gd name="T64" fmla="*/ 36 w 96"/>
                    <a:gd name="T65" fmla="*/ 78 h 81"/>
                    <a:gd name="T66" fmla="*/ 39 w 96"/>
                    <a:gd name="T67" fmla="*/ 78 h 81"/>
                    <a:gd name="T68" fmla="*/ 42 w 96"/>
                    <a:gd name="T69" fmla="*/ 78 h 81"/>
                    <a:gd name="T70" fmla="*/ 44 w 96"/>
                    <a:gd name="T71" fmla="*/ 78 h 81"/>
                    <a:gd name="T72" fmla="*/ 47 w 96"/>
                    <a:gd name="T73" fmla="*/ 78 h 81"/>
                    <a:gd name="T74" fmla="*/ 49 w 96"/>
                    <a:gd name="T75" fmla="*/ 81 h 81"/>
                    <a:gd name="T76" fmla="*/ 52 w 96"/>
                    <a:gd name="T77" fmla="*/ 81 h 81"/>
                    <a:gd name="T78" fmla="*/ 55 w 96"/>
                    <a:gd name="T79" fmla="*/ 80 h 81"/>
                    <a:gd name="T80" fmla="*/ 56 w 96"/>
                    <a:gd name="T81" fmla="*/ 79 h 81"/>
                    <a:gd name="T82" fmla="*/ 66 w 96"/>
                    <a:gd name="T83" fmla="*/ 70 h 81"/>
                    <a:gd name="T84" fmla="*/ 74 w 96"/>
                    <a:gd name="T85" fmla="*/ 71 h 81"/>
                    <a:gd name="T86" fmla="*/ 83 w 96"/>
                    <a:gd name="T87" fmla="*/ 74 h 81"/>
                    <a:gd name="T88" fmla="*/ 90 w 96"/>
                    <a:gd name="T89" fmla="*/ 68 h 81"/>
                    <a:gd name="T90" fmla="*/ 92 w 96"/>
                    <a:gd name="T91" fmla="*/ 65 h 81"/>
                    <a:gd name="T92" fmla="*/ 88 w 96"/>
                    <a:gd name="T93" fmla="*/ 63 h 81"/>
                    <a:gd name="T94" fmla="*/ 87 w 96"/>
                    <a:gd name="T95" fmla="*/ 59 h 81"/>
                    <a:gd name="T96" fmla="*/ 85 w 96"/>
                    <a:gd name="T97" fmla="*/ 57 h 81"/>
                    <a:gd name="T98" fmla="*/ 85 w 96"/>
                    <a:gd name="T99" fmla="*/ 55 h 81"/>
                    <a:gd name="T100" fmla="*/ 87 w 96"/>
                    <a:gd name="T101" fmla="*/ 51 h 81"/>
                    <a:gd name="T102" fmla="*/ 87 w 96"/>
                    <a:gd name="T103" fmla="*/ 48 h 81"/>
                    <a:gd name="T104" fmla="*/ 86 w 96"/>
                    <a:gd name="T105" fmla="*/ 43 h 81"/>
                    <a:gd name="T106" fmla="*/ 80 w 96"/>
                    <a:gd name="T107" fmla="*/ 46 h 81"/>
                    <a:gd name="T108" fmla="*/ 80 w 96"/>
                    <a:gd name="T109" fmla="*/ 43 h 81"/>
                    <a:gd name="T110" fmla="*/ 84 w 96"/>
                    <a:gd name="T111" fmla="*/ 37 h 81"/>
                    <a:gd name="T112" fmla="*/ 87 w 96"/>
                    <a:gd name="T113" fmla="*/ 35 h 81"/>
                    <a:gd name="T114" fmla="*/ 91 w 96"/>
                    <a:gd name="T115" fmla="*/ 34 h 81"/>
                    <a:gd name="T116" fmla="*/ 91 w 96"/>
                    <a:gd name="T117" fmla="*/ 29 h 81"/>
                    <a:gd name="T118" fmla="*/ 93 w 96"/>
                    <a:gd name="T119" fmla="*/ 22 h 81"/>
                    <a:gd name="T120" fmla="*/ 96 w 96"/>
                    <a:gd name="T121" fmla="*/ 19 h 81"/>
                    <a:gd name="T122" fmla="*/ 91 w 96"/>
                    <a:gd name="T123" fmla="*/ 19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6" h="81">
                      <a:moveTo>
                        <a:pt x="91" y="19"/>
                      </a:moveTo>
                      <a:cubicBezTo>
                        <a:pt x="91" y="18"/>
                        <a:pt x="91" y="18"/>
                        <a:pt x="91" y="18"/>
                      </a:cubicBezTo>
                      <a:cubicBezTo>
                        <a:pt x="91" y="18"/>
                        <a:pt x="89" y="19"/>
                        <a:pt x="88" y="19"/>
                      </a:cubicBezTo>
                      <a:cubicBezTo>
                        <a:pt x="87" y="18"/>
                        <a:pt x="87" y="17"/>
                        <a:pt x="87" y="17"/>
                      </a:cubicBezTo>
                      <a:cubicBezTo>
                        <a:pt x="84" y="17"/>
                        <a:pt x="84" y="17"/>
                        <a:pt x="84" y="17"/>
                      </a:cubicBezTo>
                      <a:cubicBezTo>
                        <a:pt x="84" y="17"/>
                        <a:pt x="85" y="16"/>
                        <a:pt x="84" y="15"/>
                      </a:cubicBezTo>
                      <a:cubicBezTo>
                        <a:pt x="84" y="15"/>
                        <a:pt x="83" y="14"/>
                        <a:pt x="83" y="14"/>
                      </a:cubicBezTo>
                      <a:cubicBezTo>
                        <a:pt x="81" y="14"/>
                        <a:pt x="81" y="14"/>
                        <a:pt x="81" y="14"/>
                      </a:cubicBezTo>
                      <a:cubicBezTo>
                        <a:pt x="80" y="15"/>
                        <a:pt x="80" y="15"/>
                        <a:pt x="80" y="15"/>
                      </a:cubicBezTo>
                      <a:cubicBezTo>
                        <a:pt x="79" y="14"/>
                        <a:pt x="79" y="14"/>
                        <a:pt x="79" y="14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14"/>
                        <a:pt x="76" y="14"/>
                        <a:pt x="76" y="13"/>
                      </a:cubicBezTo>
                      <a:cubicBezTo>
                        <a:pt x="75" y="13"/>
                        <a:pt x="72" y="12"/>
                        <a:pt x="72" y="12"/>
                      </a:cubicBezTo>
                      <a:cubicBezTo>
                        <a:pt x="72" y="9"/>
                        <a:pt x="72" y="9"/>
                        <a:pt x="72" y="9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67" y="11"/>
                        <a:pt x="67" y="11"/>
                        <a:pt x="67" y="11"/>
                      </a:cubicBezTo>
                      <a:cubicBezTo>
                        <a:pt x="67" y="11"/>
                        <a:pt x="67" y="8"/>
                        <a:pt x="66" y="7"/>
                      </a:cubicBezTo>
                      <a:cubicBezTo>
                        <a:pt x="65" y="7"/>
                        <a:pt x="62" y="6"/>
                        <a:pt x="62" y="6"/>
                      </a:cubicBezTo>
                      <a:cubicBezTo>
                        <a:pt x="61" y="5"/>
                        <a:pt x="61" y="5"/>
                        <a:pt x="61" y="5"/>
                      </a:cubicBezTo>
                      <a:cubicBezTo>
                        <a:pt x="58" y="4"/>
                        <a:pt x="58" y="4"/>
                        <a:pt x="58" y="4"/>
                      </a:cubicBezTo>
                      <a:cubicBezTo>
                        <a:pt x="57" y="2"/>
                        <a:pt x="57" y="2"/>
                        <a:pt x="57" y="2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7" y="0"/>
                        <a:pt x="55" y="0"/>
                        <a:pt x="53" y="1"/>
                      </a:cubicBezTo>
                      <a:cubicBezTo>
                        <a:pt x="51" y="1"/>
                        <a:pt x="47" y="1"/>
                        <a:pt x="47" y="2"/>
                      </a:cubicBezTo>
                      <a:cubicBezTo>
                        <a:pt x="48" y="3"/>
                        <a:pt x="49" y="5"/>
                        <a:pt x="49" y="5"/>
                      </a:cubicBezTo>
                      <a:cubicBezTo>
                        <a:pt x="49" y="5"/>
                        <a:pt x="50" y="8"/>
                        <a:pt x="48" y="9"/>
                      </a:cubicBezTo>
                      <a:cubicBezTo>
                        <a:pt x="46" y="10"/>
                        <a:pt x="42" y="10"/>
                        <a:pt x="42" y="10"/>
                      </a:cubicBezTo>
                      <a:cubicBezTo>
                        <a:pt x="38" y="14"/>
                        <a:pt x="38" y="14"/>
                        <a:pt x="38" y="14"/>
                      </a:cubicBezTo>
                      <a:cubicBezTo>
                        <a:pt x="39" y="15"/>
                        <a:pt x="39" y="15"/>
                        <a:pt x="39" y="15"/>
                      </a:cubicBezTo>
                      <a:cubicBezTo>
                        <a:pt x="39" y="15"/>
                        <a:pt x="36" y="17"/>
                        <a:pt x="33" y="17"/>
                      </a:cubicBezTo>
                      <a:cubicBezTo>
                        <a:pt x="31" y="17"/>
                        <a:pt x="29" y="16"/>
                        <a:pt x="29" y="16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cubicBezTo>
                        <a:pt x="27" y="13"/>
                        <a:pt x="23" y="12"/>
                        <a:pt x="23" y="13"/>
                      </a:cubicBezTo>
                      <a:cubicBezTo>
                        <a:pt x="24" y="14"/>
                        <a:pt x="26" y="17"/>
                        <a:pt x="26" y="17"/>
                      </a:cubicBezTo>
                      <a:cubicBezTo>
                        <a:pt x="26" y="17"/>
                        <a:pt x="28" y="21"/>
                        <a:pt x="25" y="22"/>
                      </a:cubicBezTo>
                      <a:cubicBezTo>
                        <a:pt x="22" y="22"/>
                        <a:pt x="18" y="22"/>
                        <a:pt x="18" y="22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7" y="24"/>
                        <a:pt x="14" y="20"/>
                        <a:pt x="13" y="20"/>
                      </a:cubicBezTo>
                      <a:cubicBezTo>
                        <a:pt x="12" y="21"/>
                        <a:pt x="9" y="22"/>
                        <a:pt x="9" y="22"/>
                      </a:cubicBezTo>
                      <a:cubicBezTo>
                        <a:pt x="9" y="22"/>
                        <a:pt x="2" y="23"/>
                        <a:pt x="2" y="24"/>
                      </a:cubicBezTo>
                      <a:cubicBezTo>
                        <a:pt x="1" y="25"/>
                        <a:pt x="5" y="26"/>
                        <a:pt x="5" y="27"/>
                      </a:cubicBezTo>
                      <a:cubicBezTo>
                        <a:pt x="5" y="27"/>
                        <a:pt x="0" y="27"/>
                        <a:pt x="1" y="28"/>
                      </a:cubicBezTo>
                      <a:cubicBezTo>
                        <a:pt x="2" y="30"/>
                        <a:pt x="5" y="30"/>
                        <a:pt x="5" y="30"/>
                      </a:cubicBezTo>
                      <a:cubicBezTo>
                        <a:pt x="6" y="29"/>
                        <a:pt x="6" y="29"/>
                        <a:pt x="6" y="29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5" y="32"/>
                        <a:pt x="15" y="32"/>
                        <a:pt x="15" y="32"/>
                      </a:cubicBezTo>
                      <a:cubicBezTo>
                        <a:pt x="17" y="34"/>
                        <a:pt x="17" y="34"/>
                        <a:pt x="17" y="34"/>
                      </a:cubicBezTo>
                      <a:cubicBezTo>
                        <a:pt x="22" y="35"/>
                        <a:pt x="22" y="35"/>
                        <a:pt x="22" y="35"/>
                      </a:cubicBezTo>
                      <a:cubicBezTo>
                        <a:pt x="19" y="37"/>
                        <a:pt x="19" y="37"/>
                        <a:pt x="19" y="37"/>
                      </a:cubicBezTo>
                      <a:cubicBezTo>
                        <a:pt x="19" y="37"/>
                        <a:pt x="22" y="42"/>
                        <a:pt x="23" y="43"/>
                      </a:cubicBezTo>
                      <a:cubicBezTo>
                        <a:pt x="23" y="44"/>
                        <a:pt x="26" y="44"/>
                        <a:pt x="26" y="44"/>
                      </a:cubicBez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30" y="56"/>
                        <a:pt x="30" y="56"/>
                        <a:pt x="30" y="56"/>
                      </a:cubicBezTo>
                      <a:cubicBezTo>
                        <a:pt x="26" y="52"/>
                        <a:pt x="26" y="52"/>
                        <a:pt x="26" y="52"/>
                      </a:cubicBezTo>
                      <a:cubicBezTo>
                        <a:pt x="26" y="52"/>
                        <a:pt x="26" y="57"/>
                        <a:pt x="26" y="59"/>
                      </a:cubicBezTo>
                      <a:cubicBezTo>
                        <a:pt x="26" y="60"/>
                        <a:pt x="24" y="67"/>
                        <a:pt x="23" y="69"/>
                      </a:cubicBezTo>
                      <a:cubicBezTo>
                        <a:pt x="22" y="70"/>
                        <a:pt x="22" y="72"/>
                        <a:pt x="20" y="72"/>
                      </a:cubicBezTo>
                      <a:cubicBezTo>
                        <a:pt x="20" y="73"/>
                        <a:pt x="20" y="73"/>
                        <a:pt x="20" y="73"/>
                      </a:cubicBezTo>
                      <a:cubicBezTo>
                        <a:pt x="20" y="73"/>
                        <a:pt x="22" y="72"/>
                        <a:pt x="23" y="73"/>
                      </a:cubicBezTo>
                      <a:cubicBezTo>
                        <a:pt x="24" y="74"/>
                        <a:pt x="23" y="75"/>
                        <a:pt x="23" y="75"/>
                      </a:cubicBezTo>
                      <a:cubicBezTo>
                        <a:pt x="23" y="75"/>
                        <a:pt x="26" y="75"/>
                        <a:pt x="27" y="75"/>
                      </a:cubicBezTo>
                      <a:cubicBezTo>
                        <a:pt x="28" y="75"/>
                        <a:pt x="29" y="77"/>
                        <a:pt x="29" y="77"/>
                      </a:cubicBezTo>
                      <a:cubicBezTo>
                        <a:pt x="29" y="77"/>
                        <a:pt x="31" y="76"/>
                        <a:pt x="32" y="77"/>
                      </a:cubicBezTo>
                      <a:cubicBezTo>
                        <a:pt x="32" y="77"/>
                        <a:pt x="32" y="77"/>
                        <a:pt x="32" y="77"/>
                      </a:cubicBezTo>
                      <a:cubicBezTo>
                        <a:pt x="36" y="78"/>
                        <a:pt x="36" y="78"/>
                        <a:pt x="36" y="78"/>
                      </a:cubicBezTo>
                      <a:cubicBezTo>
                        <a:pt x="36" y="79"/>
                        <a:pt x="36" y="79"/>
                        <a:pt x="36" y="79"/>
                      </a:cubicBezTo>
                      <a:cubicBezTo>
                        <a:pt x="39" y="78"/>
                        <a:pt x="39" y="78"/>
                        <a:pt x="39" y="78"/>
                      </a:cubicBezTo>
                      <a:cubicBezTo>
                        <a:pt x="39" y="78"/>
                        <a:pt x="38" y="76"/>
                        <a:pt x="40" y="76"/>
                      </a:cubicBezTo>
                      <a:cubicBezTo>
                        <a:pt x="42" y="76"/>
                        <a:pt x="42" y="78"/>
                        <a:pt x="42" y="78"/>
                      </a:cubicBezTo>
                      <a:cubicBezTo>
                        <a:pt x="44" y="78"/>
                        <a:pt x="44" y="78"/>
                        <a:pt x="44" y="78"/>
                      </a:cubicBezTo>
                      <a:cubicBezTo>
                        <a:pt x="44" y="78"/>
                        <a:pt x="44" y="78"/>
                        <a:pt x="44" y="78"/>
                      </a:cubicBezTo>
                      <a:cubicBezTo>
                        <a:pt x="44" y="78"/>
                        <a:pt x="45" y="78"/>
                        <a:pt x="45" y="78"/>
                      </a:cubicBezTo>
                      <a:cubicBezTo>
                        <a:pt x="47" y="78"/>
                        <a:pt x="47" y="78"/>
                        <a:pt x="47" y="78"/>
                      </a:cubicBezTo>
                      <a:cubicBezTo>
                        <a:pt x="48" y="80"/>
                        <a:pt x="48" y="80"/>
                        <a:pt x="48" y="80"/>
                      </a:cubicBezTo>
                      <a:cubicBezTo>
                        <a:pt x="48" y="80"/>
                        <a:pt x="49" y="81"/>
                        <a:pt x="49" y="81"/>
                      </a:cubicBezTo>
                      <a:cubicBezTo>
                        <a:pt x="49" y="81"/>
                        <a:pt x="50" y="80"/>
                        <a:pt x="50" y="80"/>
                      </a:cubicBezTo>
                      <a:cubicBezTo>
                        <a:pt x="51" y="80"/>
                        <a:pt x="52" y="81"/>
                        <a:pt x="52" y="81"/>
                      </a:cubicBezTo>
                      <a:cubicBezTo>
                        <a:pt x="52" y="81"/>
                        <a:pt x="52" y="81"/>
                        <a:pt x="53" y="81"/>
                      </a:cubicBezTo>
                      <a:cubicBezTo>
                        <a:pt x="55" y="81"/>
                        <a:pt x="55" y="80"/>
                        <a:pt x="55" y="80"/>
                      </a:cubicBezTo>
                      <a:cubicBezTo>
                        <a:pt x="56" y="80"/>
                        <a:pt x="56" y="80"/>
                        <a:pt x="56" y="80"/>
                      </a:cubicBezTo>
                      <a:cubicBezTo>
                        <a:pt x="56" y="80"/>
                        <a:pt x="56" y="79"/>
                        <a:pt x="56" y="79"/>
                      </a:cubicBezTo>
                      <a:cubicBezTo>
                        <a:pt x="56" y="77"/>
                        <a:pt x="58" y="73"/>
                        <a:pt x="60" y="73"/>
                      </a:cubicBezTo>
                      <a:cubicBezTo>
                        <a:pt x="61" y="72"/>
                        <a:pt x="65" y="69"/>
                        <a:pt x="66" y="70"/>
                      </a:cubicBezTo>
                      <a:cubicBezTo>
                        <a:pt x="68" y="71"/>
                        <a:pt x="69" y="72"/>
                        <a:pt x="69" y="72"/>
                      </a:cubicBezTo>
                      <a:cubicBezTo>
                        <a:pt x="69" y="72"/>
                        <a:pt x="73" y="71"/>
                        <a:pt x="74" y="71"/>
                      </a:cubicBezTo>
                      <a:cubicBezTo>
                        <a:pt x="75" y="72"/>
                        <a:pt x="76" y="74"/>
                        <a:pt x="77" y="74"/>
                      </a:cubicBezTo>
                      <a:cubicBezTo>
                        <a:pt x="77" y="74"/>
                        <a:pt x="81" y="76"/>
                        <a:pt x="83" y="74"/>
                      </a:cubicBezTo>
                      <a:cubicBezTo>
                        <a:pt x="86" y="72"/>
                        <a:pt x="86" y="69"/>
                        <a:pt x="87" y="69"/>
                      </a:cubicBezTo>
                      <a:cubicBezTo>
                        <a:pt x="88" y="68"/>
                        <a:pt x="89" y="68"/>
                        <a:pt x="90" y="68"/>
                      </a:cubicBezTo>
                      <a:cubicBezTo>
                        <a:pt x="90" y="68"/>
                        <a:pt x="90" y="67"/>
                        <a:pt x="90" y="67"/>
                      </a:cubicBezTo>
                      <a:cubicBezTo>
                        <a:pt x="91" y="67"/>
                        <a:pt x="92" y="66"/>
                        <a:pt x="92" y="65"/>
                      </a:cubicBezTo>
                      <a:cubicBezTo>
                        <a:pt x="91" y="64"/>
                        <a:pt x="89" y="65"/>
                        <a:pt x="89" y="65"/>
                      </a:cubicBezTo>
                      <a:cubicBezTo>
                        <a:pt x="88" y="63"/>
                        <a:pt x="88" y="63"/>
                        <a:pt x="88" y="63"/>
                      </a:cubicBezTo>
                      <a:cubicBezTo>
                        <a:pt x="88" y="63"/>
                        <a:pt x="86" y="63"/>
                        <a:pt x="86" y="62"/>
                      </a:cubicBezTo>
                      <a:cubicBezTo>
                        <a:pt x="86" y="60"/>
                        <a:pt x="87" y="60"/>
                        <a:pt x="87" y="59"/>
                      </a:cubicBezTo>
                      <a:cubicBezTo>
                        <a:pt x="87" y="58"/>
                        <a:pt x="86" y="57"/>
                        <a:pt x="86" y="57"/>
                      </a:cubicBezTo>
                      <a:cubicBezTo>
                        <a:pt x="85" y="57"/>
                        <a:pt x="85" y="57"/>
                        <a:pt x="85" y="57"/>
                      </a:cubicBezTo>
                      <a:cubicBezTo>
                        <a:pt x="84" y="55"/>
                        <a:pt x="84" y="55"/>
                        <a:pt x="84" y="55"/>
                      </a:cubicBezTo>
                      <a:cubicBezTo>
                        <a:pt x="85" y="55"/>
                        <a:pt x="85" y="55"/>
                        <a:pt x="85" y="55"/>
                      </a:cubicBezTo>
                      <a:cubicBezTo>
                        <a:pt x="85" y="55"/>
                        <a:pt x="89" y="55"/>
                        <a:pt x="89" y="53"/>
                      </a:cubicBezTo>
                      <a:cubicBezTo>
                        <a:pt x="89" y="52"/>
                        <a:pt x="87" y="51"/>
                        <a:pt x="87" y="51"/>
                      </a:cubicBezTo>
                      <a:cubicBezTo>
                        <a:pt x="85" y="49"/>
                        <a:pt x="85" y="49"/>
                        <a:pt x="85" y="49"/>
                      </a:cubicBezTo>
                      <a:cubicBezTo>
                        <a:pt x="85" y="49"/>
                        <a:pt x="87" y="49"/>
                        <a:pt x="87" y="48"/>
                      </a:cubicBezTo>
                      <a:cubicBezTo>
                        <a:pt x="87" y="47"/>
                        <a:pt x="86" y="46"/>
                        <a:pt x="86" y="46"/>
                      </a:cubicBezTo>
                      <a:cubicBezTo>
                        <a:pt x="86" y="43"/>
                        <a:pt x="86" y="43"/>
                        <a:pt x="86" y="43"/>
                      </a:cubicBezTo>
                      <a:cubicBezTo>
                        <a:pt x="86" y="43"/>
                        <a:pt x="85" y="42"/>
                        <a:pt x="83" y="43"/>
                      </a:cubicBezTo>
                      <a:cubicBezTo>
                        <a:pt x="82" y="43"/>
                        <a:pt x="81" y="46"/>
                        <a:pt x="80" y="46"/>
                      </a:cubicBezTo>
                      <a:cubicBezTo>
                        <a:pt x="79" y="45"/>
                        <a:pt x="81" y="44"/>
                        <a:pt x="81" y="44"/>
                      </a:cubicBezTo>
                      <a:cubicBezTo>
                        <a:pt x="80" y="43"/>
                        <a:pt x="80" y="43"/>
                        <a:pt x="80" y="43"/>
                      </a:cubicBezTo>
                      <a:cubicBezTo>
                        <a:pt x="80" y="43"/>
                        <a:pt x="82" y="41"/>
                        <a:pt x="83" y="40"/>
                      </a:cubicBezTo>
                      <a:cubicBezTo>
                        <a:pt x="84" y="38"/>
                        <a:pt x="84" y="37"/>
                        <a:pt x="84" y="37"/>
                      </a:cubicBezTo>
                      <a:cubicBezTo>
                        <a:pt x="84" y="37"/>
                        <a:pt x="85" y="38"/>
                        <a:pt x="86" y="37"/>
                      </a:cubicBezTo>
                      <a:cubicBezTo>
                        <a:pt x="86" y="36"/>
                        <a:pt x="87" y="35"/>
                        <a:pt x="87" y="35"/>
                      </a:cubicBezTo>
                      <a:cubicBezTo>
                        <a:pt x="88" y="33"/>
                        <a:pt x="88" y="33"/>
                        <a:pt x="88" y="33"/>
                      </a:cubicBezTo>
                      <a:cubicBezTo>
                        <a:pt x="91" y="34"/>
                        <a:pt x="91" y="34"/>
                        <a:pt x="91" y="34"/>
                      </a:cubicBezTo>
                      <a:cubicBezTo>
                        <a:pt x="92" y="33"/>
                        <a:pt x="92" y="33"/>
                        <a:pt x="92" y="33"/>
                      </a:cubicBezTo>
                      <a:cubicBezTo>
                        <a:pt x="92" y="33"/>
                        <a:pt x="91" y="31"/>
                        <a:pt x="91" y="29"/>
                      </a:cubicBezTo>
                      <a:cubicBezTo>
                        <a:pt x="92" y="27"/>
                        <a:pt x="93" y="24"/>
                        <a:pt x="93" y="24"/>
                      </a:cubicBezTo>
                      <a:cubicBezTo>
                        <a:pt x="93" y="22"/>
                        <a:pt x="93" y="22"/>
                        <a:pt x="93" y="22"/>
                      </a:cubicBezTo>
                      <a:cubicBezTo>
                        <a:pt x="96" y="20"/>
                        <a:pt x="96" y="20"/>
                        <a:pt x="96" y="20"/>
                      </a:cubicBezTo>
                      <a:cubicBezTo>
                        <a:pt x="96" y="19"/>
                        <a:pt x="96" y="19"/>
                        <a:pt x="96" y="19"/>
                      </a:cubicBezTo>
                      <a:cubicBezTo>
                        <a:pt x="94" y="19"/>
                        <a:pt x="94" y="19"/>
                        <a:pt x="94" y="19"/>
                      </a:cubicBezTo>
                      <a:cubicBezTo>
                        <a:pt x="91" y="19"/>
                        <a:pt x="91" y="19"/>
                        <a:pt x="91" y="19"/>
                      </a:cubicBezTo>
                      <a:close/>
                    </a:path>
                  </a:pathLst>
                </a:custGeom>
                <a:grpFill/>
                <a:ln w="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49" name="Finland">
                  <a:extLst>
                    <a:ext uri="{FF2B5EF4-FFF2-40B4-BE49-F238E27FC236}">
                      <a16:creationId xmlns:a16="http://schemas.microsoft.com/office/drawing/2014/main" id="{00749727-5F95-4786-D0A3-AFF8888A6A3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87765" y="2035040"/>
                  <a:ext cx="236578" cy="269751"/>
                </a:xfrm>
                <a:custGeom>
                  <a:avLst/>
                  <a:gdLst>
                    <a:gd name="T0" fmla="*/ 88 w 422"/>
                    <a:gd name="T1" fmla="*/ 64 h 480"/>
                    <a:gd name="T2" fmla="*/ 64 w 422"/>
                    <a:gd name="T3" fmla="*/ 59 h 480"/>
                    <a:gd name="T4" fmla="*/ 40 w 422"/>
                    <a:gd name="T5" fmla="*/ 47 h 480"/>
                    <a:gd name="T6" fmla="*/ 16 w 422"/>
                    <a:gd name="T7" fmla="*/ 36 h 480"/>
                    <a:gd name="T8" fmla="*/ 2 w 422"/>
                    <a:gd name="T9" fmla="*/ 40 h 480"/>
                    <a:gd name="T10" fmla="*/ 17 w 422"/>
                    <a:gd name="T11" fmla="*/ 56 h 480"/>
                    <a:gd name="T12" fmla="*/ 48 w 422"/>
                    <a:gd name="T13" fmla="*/ 72 h 480"/>
                    <a:gd name="T14" fmla="*/ 92 w 422"/>
                    <a:gd name="T15" fmla="*/ 85 h 480"/>
                    <a:gd name="T16" fmla="*/ 103 w 422"/>
                    <a:gd name="T17" fmla="*/ 114 h 480"/>
                    <a:gd name="T18" fmla="*/ 107 w 422"/>
                    <a:gd name="T19" fmla="*/ 132 h 480"/>
                    <a:gd name="T20" fmla="*/ 113 w 422"/>
                    <a:gd name="T21" fmla="*/ 165 h 480"/>
                    <a:gd name="T22" fmla="*/ 138 w 422"/>
                    <a:gd name="T23" fmla="*/ 204 h 480"/>
                    <a:gd name="T24" fmla="*/ 179 w 422"/>
                    <a:gd name="T25" fmla="*/ 217 h 480"/>
                    <a:gd name="T26" fmla="*/ 167 w 422"/>
                    <a:gd name="T27" fmla="*/ 234 h 480"/>
                    <a:gd name="T28" fmla="*/ 119 w 422"/>
                    <a:gd name="T29" fmla="*/ 283 h 480"/>
                    <a:gd name="T30" fmla="*/ 81 w 422"/>
                    <a:gd name="T31" fmla="*/ 309 h 480"/>
                    <a:gd name="T32" fmla="*/ 45 w 422"/>
                    <a:gd name="T33" fmla="*/ 336 h 480"/>
                    <a:gd name="T34" fmla="*/ 49 w 422"/>
                    <a:gd name="T35" fmla="*/ 364 h 480"/>
                    <a:gd name="T36" fmla="*/ 62 w 422"/>
                    <a:gd name="T37" fmla="*/ 393 h 480"/>
                    <a:gd name="T38" fmla="*/ 71 w 422"/>
                    <a:gd name="T39" fmla="*/ 452 h 480"/>
                    <a:gd name="T40" fmla="*/ 114 w 422"/>
                    <a:gd name="T41" fmla="*/ 460 h 480"/>
                    <a:gd name="T42" fmla="*/ 180 w 422"/>
                    <a:gd name="T43" fmla="*/ 475 h 480"/>
                    <a:gd name="T44" fmla="*/ 222 w 422"/>
                    <a:gd name="T45" fmla="*/ 465 h 480"/>
                    <a:gd name="T46" fmla="*/ 304 w 422"/>
                    <a:gd name="T47" fmla="*/ 451 h 480"/>
                    <a:gd name="T48" fmla="*/ 305 w 422"/>
                    <a:gd name="T49" fmla="*/ 441 h 480"/>
                    <a:gd name="T50" fmla="*/ 382 w 422"/>
                    <a:gd name="T51" fmla="*/ 381 h 480"/>
                    <a:gd name="T52" fmla="*/ 421 w 422"/>
                    <a:gd name="T53" fmla="*/ 340 h 480"/>
                    <a:gd name="T54" fmla="*/ 360 w 422"/>
                    <a:gd name="T55" fmla="*/ 295 h 480"/>
                    <a:gd name="T56" fmla="*/ 368 w 422"/>
                    <a:gd name="T57" fmla="*/ 265 h 480"/>
                    <a:gd name="T58" fmla="*/ 359 w 422"/>
                    <a:gd name="T59" fmla="*/ 247 h 480"/>
                    <a:gd name="T60" fmla="*/ 339 w 422"/>
                    <a:gd name="T61" fmla="*/ 228 h 480"/>
                    <a:gd name="T62" fmla="*/ 337 w 422"/>
                    <a:gd name="T63" fmla="*/ 202 h 480"/>
                    <a:gd name="T64" fmla="*/ 312 w 422"/>
                    <a:gd name="T65" fmla="*/ 156 h 480"/>
                    <a:gd name="T66" fmla="*/ 316 w 422"/>
                    <a:gd name="T67" fmla="*/ 133 h 480"/>
                    <a:gd name="T68" fmla="*/ 312 w 422"/>
                    <a:gd name="T69" fmla="*/ 98 h 480"/>
                    <a:gd name="T70" fmla="*/ 275 w 422"/>
                    <a:gd name="T71" fmla="*/ 82 h 480"/>
                    <a:gd name="T72" fmla="*/ 282 w 422"/>
                    <a:gd name="T73" fmla="*/ 62 h 480"/>
                    <a:gd name="T74" fmla="*/ 280 w 422"/>
                    <a:gd name="T75" fmla="*/ 36 h 480"/>
                    <a:gd name="T76" fmla="*/ 271 w 422"/>
                    <a:gd name="T77" fmla="*/ 13 h 480"/>
                    <a:gd name="T78" fmla="*/ 240 w 422"/>
                    <a:gd name="T79" fmla="*/ 1 h 480"/>
                    <a:gd name="T80" fmla="*/ 198 w 422"/>
                    <a:gd name="T81" fmla="*/ 5 h 480"/>
                    <a:gd name="T82" fmla="*/ 173 w 422"/>
                    <a:gd name="T83" fmla="*/ 30 h 480"/>
                    <a:gd name="T84" fmla="*/ 157 w 422"/>
                    <a:gd name="T85" fmla="*/ 50 h 480"/>
                    <a:gd name="T86" fmla="*/ 123 w 422"/>
                    <a:gd name="T87" fmla="*/ 56 h 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22" h="480">
                      <a:moveTo>
                        <a:pt x="107" y="59"/>
                      </a:moveTo>
                      <a:cubicBezTo>
                        <a:pt x="107" y="59"/>
                        <a:pt x="98" y="67"/>
                        <a:pt x="88" y="64"/>
                      </a:cubicBezTo>
                      <a:cubicBezTo>
                        <a:pt x="78" y="61"/>
                        <a:pt x="78" y="61"/>
                        <a:pt x="78" y="61"/>
                      </a:cubicBezTo>
                      <a:cubicBezTo>
                        <a:pt x="78" y="61"/>
                        <a:pt x="78" y="60"/>
                        <a:pt x="64" y="59"/>
                      </a:cubicBezTo>
                      <a:cubicBezTo>
                        <a:pt x="50" y="58"/>
                        <a:pt x="49" y="48"/>
                        <a:pt x="49" y="48"/>
                      </a:cubicBezTo>
                      <a:cubicBezTo>
                        <a:pt x="40" y="47"/>
                        <a:pt x="40" y="47"/>
                        <a:pt x="40" y="47"/>
                      </a:cubicBezTo>
                      <a:cubicBezTo>
                        <a:pt x="40" y="47"/>
                        <a:pt x="31" y="33"/>
                        <a:pt x="27" y="33"/>
                      </a:cubicBezTo>
                      <a:cubicBezTo>
                        <a:pt x="23" y="33"/>
                        <a:pt x="16" y="36"/>
                        <a:pt x="16" y="36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45"/>
                        <a:pt x="7" y="52"/>
                        <a:pt x="17" y="56"/>
                      </a:cubicBezTo>
                      <a:cubicBezTo>
                        <a:pt x="27" y="60"/>
                        <a:pt x="40" y="64"/>
                        <a:pt x="40" y="64"/>
                      </a:cubicBezTo>
                      <a:cubicBezTo>
                        <a:pt x="48" y="72"/>
                        <a:pt x="48" y="72"/>
                        <a:pt x="48" y="72"/>
                      </a:cubicBezTo>
                      <a:cubicBezTo>
                        <a:pt x="70" y="73"/>
                        <a:pt x="70" y="73"/>
                        <a:pt x="70" y="73"/>
                      </a:cubicBezTo>
                      <a:cubicBezTo>
                        <a:pt x="92" y="85"/>
                        <a:pt x="92" y="85"/>
                        <a:pt x="92" y="85"/>
                      </a:cubicBezTo>
                      <a:cubicBezTo>
                        <a:pt x="92" y="85"/>
                        <a:pt x="110" y="90"/>
                        <a:pt x="109" y="95"/>
                      </a:cubicBezTo>
                      <a:cubicBezTo>
                        <a:pt x="108" y="100"/>
                        <a:pt x="103" y="114"/>
                        <a:pt x="103" y="114"/>
                      </a:cubicBezTo>
                      <a:cubicBezTo>
                        <a:pt x="111" y="119"/>
                        <a:pt x="111" y="119"/>
                        <a:pt x="111" y="119"/>
                      </a:cubicBezTo>
                      <a:cubicBezTo>
                        <a:pt x="107" y="132"/>
                        <a:pt x="107" y="132"/>
                        <a:pt x="107" y="132"/>
                      </a:cubicBezTo>
                      <a:cubicBezTo>
                        <a:pt x="124" y="142"/>
                        <a:pt x="124" y="142"/>
                        <a:pt x="124" y="142"/>
                      </a:cubicBezTo>
                      <a:cubicBezTo>
                        <a:pt x="124" y="142"/>
                        <a:pt x="111" y="157"/>
                        <a:pt x="113" y="165"/>
                      </a:cubicBezTo>
                      <a:cubicBezTo>
                        <a:pt x="115" y="173"/>
                        <a:pt x="130" y="183"/>
                        <a:pt x="130" y="183"/>
                      </a:cubicBezTo>
                      <a:cubicBezTo>
                        <a:pt x="138" y="204"/>
                        <a:pt x="138" y="204"/>
                        <a:pt x="138" y="204"/>
                      </a:cubicBezTo>
                      <a:cubicBezTo>
                        <a:pt x="148" y="198"/>
                        <a:pt x="148" y="198"/>
                        <a:pt x="148" y="198"/>
                      </a:cubicBezTo>
                      <a:cubicBezTo>
                        <a:pt x="148" y="198"/>
                        <a:pt x="177" y="205"/>
                        <a:pt x="179" y="217"/>
                      </a:cubicBezTo>
                      <a:cubicBezTo>
                        <a:pt x="181" y="229"/>
                        <a:pt x="182" y="239"/>
                        <a:pt x="182" y="239"/>
                      </a:cubicBezTo>
                      <a:cubicBezTo>
                        <a:pt x="182" y="239"/>
                        <a:pt x="170" y="233"/>
                        <a:pt x="167" y="234"/>
                      </a:cubicBezTo>
                      <a:cubicBezTo>
                        <a:pt x="164" y="235"/>
                        <a:pt x="142" y="260"/>
                        <a:pt x="142" y="260"/>
                      </a:cubicBezTo>
                      <a:cubicBezTo>
                        <a:pt x="119" y="283"/>
                        <a:pt x="119" y="283"/>
                        <a:pt x="119" y="283"/>
                      </a:cubicBezTo>
                      <a:cubicBezTo>
                        <a:pt x="96" y="288"/>
                        <a:pt x="96" y="288"/>
                        <a:pt x="96" y="288"/>
                      </a:cubicBezTo>
                      <a:cubicBezTo>
                        <a:pt x="96" y="288"/>
                        <a:pt x="81" y="300"/>
                        <a:pt x="81" y="309"/>
                      </a:cubicBezTo>
                      <a:cubicBezTo>
                        <a:pt x="81" y="318"/>
                        <a:pt x="61" y="318"/>
                        <a:pt x="61" y="318"/>
                      </a:cubicBezTo>
                      <a:cubicBezTo>
                        <a:pt x="45" y="336"/>
                        <a:pt x="45" y="336"/>
                        <a:pt x="45" y="336"/>
                      </a:cubicBezTo>
                      <a:cubicBezTo>
                        <a:pt x="45" y="336"/>
                        <a:pt x="41" y="348"/>
                        <a:pt x="43" y="352"/>
                      </a:cubicBezTo>
                      <a:cubicBezTo>
                        <a:pt x="45" y="356"/>
                        <a:pt x="49" y="364"/>
                        <a:pt x="49" y="364"/>
                      </a:cubicBezTo>
                      <a:cubicBezTo>
                        <a:pt x="47" y="380"/>
                        <a:pt x="47" y="380"/>
                        <a:pt x="47" y="380"/>
                      </a:cubicBezTo>
                      <a:cubicBezTo>
                        <a:pt x="62" y="393"/>
                        <a:pt x="62" y="393"/>
                        <a:pt x="62" y="393"/>
                      </a:cubicBezTo>
                      <a:cubicBezTo>
                        <a:pt x="62" y="393"/>
                        <a:pt x="52" y="425"/>
                        <a:pt x="56" y="434"/>
                      </a:cubicBezTo>
                      <a:cubicBezTo>
                        <a:pt x="60" y="443"/>
                        <a:pt x="71" y="452"/>
                        <a:pt x="71" y="452"/>
                      </a:cubicBezTo>
                      <a:cubicBezTo>
                        <a:pt x="86" y="463"/>
                        <a:pt x="86" y="463"/>
                        <a:pt x="86" y="463"/>
                      </a:cubicBezTo>
                      <a:cubicBezTo>
                        <a:pt x="114" y="460"/>
                        <a:pt x="114" y="460"/>
                        <a:pt x="114" y="460"/>
                      </a:cubicBezTo>
                      <a:cubicBezTo>
                        <a:pt x="114" y="460"/>
                        <a:pt x="105" y="476"/>
                        <a:pt x="125" y="478"/>
                      </a:cubicBezTo>
                      <a:cubicBezTo>
                        <a:pt x="145" y="480"/>
                        <a:pt x="180" y="475"/>
                        <a:pt x="180" y="475"/>
                      </a:cubicBezTo>
                      <a:cubicBezTo>
                        <a:pt x="199" y="465"/>
                        <a:pt x="199" y="465"/>
                        <a:pt x="199" y="465"/>
                      </a:cubicBezTo>
                      <a:cubicBezTo>
                        <a:pt x="222" y="465"/>
                        <a:pt x="222" y="465"/>
                        <a:pt x="222" y="465"/>
                      </a:cubicBezTo>
                      <a:cubicBezTo>
                        <a:pt x="255" y="448"/>
                        <a:pt x="255" y="448"/>
                        <a:pt x="255" y="448"/>
                      </a:cubicBezTo>
                      <a:cubicBezTo>
                        <a:pt x="304" y="451"/>
                        <a:pt x="304" y="451"/>
                        <a:pt x="304" y="451"/>
                      </a:cubicBezTo>
                      <a:cubicBezTo>
                        <a:pt x="309" y="448"/>
                        <a:pt x="309" y="448"/>
                        <a:pt x="309" y="448"/>
                      </a:cubicBezTo>
                      <a:cubicBezTo>
                        <a:pt x="305" y="441"/>
                        <a:pt x="305" y="441"/>
                        <a:pt x="305" y="441"/>
                      </a:cubicBezTo>
                      <a:cubicBezTo>
                        <a:pt x="305" y="441"/>
                        <a:pt x="346" y="417"/>
                        <a:pt x="350" y="412"/>
                      </a:cubicBezTo>
                      <a:cubicBezTo>
                        <a:pt x="354" y="407"/>
                        <a:pt x="382" y="381"/>
                        <a:pt x="382" y="381"/>
                      </a:cubicBezTo>
                      <a:cubicBezTo>
                        <a:pt x="382" y="381"/>
                        <a:pt x="403" y="369"/>
                        <a:pt x="407" y="362"/>
                      </a:cubicBezTo>
                      <a:cubicBezTo>
                        <a:pt x="411" y="355"/>
                        <a:pt x="420" y="348"/>
                        <a:pt x="421" y="340"/>
                      </a:cubicBezTo>
                      <a:cubicBezTo>
                        <a:pt x="422" y="332"/>
                        <a:pt x="399" y="313"/>
                        <a:pt x="399" y="313"/>
                      </a:cubicBezTo>
                      <a:cubicBezTo>
                        <a:pt x="360" y="295"/>
                        <a:pt x="360" y="295"/>
                        <a:pt x="360" y="295"/>
                      </a:cubicBezTo>
                      <a:cubicBezTo>
                        <a:pt x="360" y="295"/>
                        <a:pt x="381" y="281"/>
                        <a:pt x="380" y="277"/>
                      </a:cubicBezTo>
                      <a:cubicBezTo>
                        <a:pt x="379" y="273"/>
                        <a:pt x="368" y="265"/>
                        <a:pt x="368" y="265"/>
                      </a:cubicBezTo>
                      <a:cubicBezTo>
                        <a:pt x="353" y="262"/>
                        <a:pt x="353" y="262"/>
                        <a:pt x="353" y="262"/>
                      </a:cubicBezTo>
                      <a:cubicBezTo>
                        <a:pt x="353" y="262"/>
                        <a:pt x="360" y="251"/>
                        <a:pt x="359" y="247"/>
                      </a:cubicBezTo>
                      <a:cubicBezTo>
                        <a:pt x="358" y="243"/>
                        <a:pt x="339" y="238"/>
                        <a:pt x="339" y="238"/>
                      </a:cubicBezTo>
                      <a:cubicBezTo>
                        <a:pt x="339" y="228"/>
                        <a:pt x="339" y="228"/>
                        <a:pt x="339" y="228"/>
                      </a:cubicBezTo>
                      <a:cubicBezTo>
                        <a:pt x="332" y="222"/>
                        <a:pt x="332" y="222"/>
                        <a:pt x="332" y="222"/>
                      </a:cubicBezTo>
                      <a:cubicBezTo>
                        <a:pt x="337" y="202"/>
                        <a:pt x="337" y="202"/>
                        <a:pt x="337" y="202"/>
                      </a:cubicBezTo>
                      <a:cubicBezTo>
                        <a:pt x="337" y="202"/>
                        <a:pt x="365" y="208"/>
                        <a:pt x="359" y="198"/>
                      </a:cubicBezTo>
                      <a:cubicBezTo>
                        <a:pt x="353" y="188"/>
                        <a:pt x="312" y="156"/>
                        <a:pt x="312" y="156"/>
                      </a:cubicBezTo>
                      <a:cubicBezTo>
                        <a:pt x="299" y="145"/>
                        <a:pt x="299" y="145"/>
                        <a:pt x="299" y="145"/>
                      </a:cubicBezTo>
                      <a:cubicBezTo>
                        <a:pt x="299" y="145"/>
                        <a:pt x="316" y="138"/>
                        <a:pt x="316" y="133"/>
                      </a:cubicBezTo>
                      <a:cubicBezTo>
                        <a:pt x="316" y="128"/>
                        <a:pt x="340" y="126"/>
                        <a:pt x="331" y="116"/>
                      </a:cubicBezTo>
                      <a:cubicBezTo>
                        <a:pt x="322" y="106"/>
                        <a:pt x="316" y="103"/>
                        <a:pt x="312" y="98"/>
                      </a:cubicBezTo>
                      <a:cubicBezTo>
                        <a:pt x="308" y="93"/>
                        <a:pt x="303" y="86"/>
                        <a:pt x="297" y="86"/>
                      </a:cubicBezTo>
                      <a:cubicBezTo>
                        <a:pt x="291" y="86"/>
                        <a:pt x="277" y="94"/>
                        <a:pt x="275" y="82"/>
                      </a:cubicBezTo>
                      <a:cubicBezTo>
                        <a:pt x="273" y="70"/>
                        <a:pt x="270" y="67"/>
                        <a:pt x="270" y="67"/>
                      </a:cubicBezTo>
                      <a:cubicBezTo>
                        <a:pt x="270" y="67"/>
                        <a:pt x="283" y="65"/>
                        <a:pt x="282" y="62"/>
                      </a:cubicBezTo>
                      <a:cubicBezTo>
                        <a:pt x="281" y="59"/>
                        <a:pt x="277" y="53"/>
                        <a:pt x="277" y="53"/>
                      </a:cubicBezTo>
                      <a:cubicBezTo>
                        <a:pt x="280" y="36"/>
                        <a:pt x="280" y="36"/>
                        <a:pt x="280" y="36"/>
                      </a:cubicBezTo>
                      <a:cubicBezTo>
                        <a:pt x="280" y="36"/>
                        <a:pt x="293" y="48"/>
                        <a:pt x="289" y="31"/>
                      </a:cubicBezTo>
                      <a:cubicBezTo>
                        <a:pt x="285" y="14"/>
                        <a:pt x="271" y="13"/>
                        <a:pt x="271" y="13"/>
                      </a:cubicBezTo>
                      <a:cubicBezTo>
                        <a:pt x="248" y="8"/>
                        <a:pt x="248" y="8"/>
                        <a:pt x="248" y="8"/>
                      </a:cubicBezTo>
                      <a:cubicBezTo>
                        <a:pt x="248" y="8"/>
                        <a:pt x="255" y="2"/>
                        <a:pt x="240" y="1"/>
                      </a:cubicBezTo>
                      <a:cubicBezTo>
                        <a:pt x="225" y="0"/>
                        <a:pt x="214" y="7"/>
                        <a:pt x="214" y="7"/>
                      </a:cubicBezTo>
                      <a:cubicBezTo>
                        <a:pt x="214" y="7"/>
                        <a:pt x="203" y="6"/>
                        <a:pt x="198" y="5"/>
                      </a:cubicBezTo>
                      <a:cubicBezTo>
                        <a:pt x="193" y="4"/>
                        <a:pt x="176" y="13"/>
                        <a:pt x="176" y="13"/>
                      </a:cubicBezTo>
                      <a:cubicBezTo>
                        <a:pt x="176" y="13"/>
                        <a:pt x="172" y="26"/>
                        <a:pt x="173" y="30"/>
                      </a:cubicBezTo>
                      <a:cubicBezTo>
                        <a:pt x="174" y="34"/>
                        <a:pt x="173" y="50"/>
                        <a:pt x="173" y="50"/>
                      </a:cubicBezTo>
                      <a:cubicBezTo>
                        <a:pt x="173" y="50"/>
                        <a:pt x="164" y="45"/>
                        <a:pt x="157" y="50"/>
                      </a:cubicBezTo>
                      <a:cubicBezTo>
                        <a:pt x="150" y="55"/>
                        <a:pt x="156" y="65"/>
                        <a:pt x="148" y="65"/>
                      </a:cubicBezTo>
                      <a:cubicBezTo>
                        <a:pt x="140" y="65"/>
                        <a:pt x="128" y="57"/>
                        <a:pt x="123" y="56"/>
                      </a:cubicBezTo>
                      <a:cubicBezTo>
                        <a:pt x="118" y="55"/>
                        <a:pt x="107" y="59"/>
                        <a:pt x="107" y="59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0" name="Estonia">
                  <a:extLst>
                    <a:ext uri="{FF2B5EF4-FFF2-40B4-BE49-F238E27FC236}">
                      <a16:creationId xmlns:a16="http://schemas.microsoft.com/office/drawing/2014/main" id="{9F84B8D4-E575-F3CB-E116-EE56EA449C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132226" y="2311137"/>
                  <a:ext cx="133373" cy="60297"/>
                </a:xfrm>
                <a:custGeom>
                  <a:avLst/>
                  <a:gdLst>
                    <a:gd name="T0" fmla="*/ 228 w 237"/>
                    <a:gd name="T1" fmla="*/ 76 h 107"/>
                    <a:gd name="T2" fmla="*/ 221 w 237"/>
                    <a:gd name="T3" fmla="*/ 74 h 107"/>
                    <a:gd name="T4" fmla="*/ 226 w 237"/>
                    <a:gd name="T5" fmla="*/ 56 h 107"/>
                    <a:gd name="T6" fmla="*/ 217 w 237"/>
                    <a:gd name="T7" fmla="*/ 52 h 107"/>
                    <a:gd name="T8" fmla="*/ 220 w 237"/>
                    <a:gd name="T9" fmla="*/ 36 h 107"/>
                    <a:gd name="T10" fmla="*/ 231 w 237"/>
                    <a:gd name="T11" fmla="*/ 30 h 107"/>
                    <a:gd name="T12" fmla="*/ 228 w 237"/>
                    <a:gd name="T13" fmla="*/ 21 h 107"/>
                    <a:gd name="T14" fmla="*/ 231 w 237"/>
                    <a:gd name="T15" fmla="*/ 11 h 107"/>
                    <a:gd name="T16" fmla="*/ 170 w 237"/>
                    <a:gd name="T17" fmla="*/ 1 h 107"/>
                    <a:gd name="T18" fmla="*/ 110 w 237"/>
                    <a:gd name="T19" fmla="*/ 6 h 107"/>
                    <a:gd name="T20" fmla="*/ 60 w 237"/>
                    <a:gd name="T21" fmla="*/ 31 h 107"/>
                    <a:gd name="T22" fmla="*/ 66 w 237"/>
                    <a:gd name="T23" fmla="*/ 56 h 107"/>
                    <a:gd name="T24" fmla="*/ 105 w 237"/>
                    <a:gd name="T25" fmla="*/ 61 h 107"/>
                    <a:gd name="T26" fmla="*/ 98 w 237"/>
                    <a:gd name="T27" fmla="*/ 85 h 107"/>
                    <a:gd name="T28" fmla="*/ 102 w 237"/>
                    <a:gd name="T29" fmla="*/ 85 h 107"/>
                    <a:gd name="T30" fmla="*/ 123 w 237"/>
                    <a:gd name="T31" fmla="*/ 79 h 107"/>
                    <a:gd name="T32" fmla="*/ 144 w 237"/>
                    <a:gd name="T33" fmla="*/ 78 h 107"/>
                    <a:gd name="T34" fmla="*/ 172 w 237"/>
                    <a:gd name="T35" fmla="*/ 95 h 107"/>
                    <a:gd name="T36" fmla="*/ 192 w 237"/>
                    <a:gd name="T37" fmla="*/ 107 h 107"/>
                    <a:gd name="T38" fmla="*/ 203 w 237"/>
                    <a:gd name="T39" fmla="*/ 101 h 107"/>
                    <a:gd name="T40" fmla="*/ 216 w 237"/>
                    <a:gd name="T41" fmla="*/ 106 h 107"/>
                    <a:gd name="T42" fmla="*/ 224 w 237"/>
                    <a:gd name="T43" fmla="*/ 105 h 107"/>
                    <a:gd name="T44" fmla="*/ 224 w 237"/>
                    <a:gd name="T45" fmla="*/ 97 h 107"/>
                    <a:gd name="T46" fmla="*/ 237 w 237"/>
                    <a:gd name="T47" fmla="*/ 88 h 107"/>
                    <a:gd name="T48" fmla="*/ 228 w 237"/>
                    <a:gd name="T49" fmla="*/ 76 h 107"/>
                    <a:gd name="T50" fmla="*/ 27 w 237"/>
                    <a:gd name="T51" fmla="*/ 53 h 107"/>
                    <a:gd name="T52" fmla="*/ 7 w 237"/>
                    <a:gd name="T53" fmla="*/ 55 h 107"/>
                    <a:gd name="T54" fmla="*/ 9 w 237"/>
                    <a:gd name="T55" fmla="*/ 74 h 107"/>
                    <a:gd name="T56" fmla="*/ 14 w 237"/>
                    <a:gd name="T57" fmla="*/ 87 h 107"/>
                    <a:gd name="T58" fmla="*/ 34 w 237"/>
                    <a:gd name="T59" fmla="*/ 74 h 107"/>
                    <a:gd name="T60" fmla="*/ 55 w 237"/>
                    <a:gd name="T61" fmla="*/ 60 h 107"/>
                    <a:gd name="T62" fmla="*/ 51 w 237"/>
                    <a:gd name="T63" fmla="*/ 49 h 107"/>
                    <a:gd name="T64" fmla="*/ 27 w 237"/>
                    <a:gd name="T65" fmla="*/ 53 h 107"/>
                    <a:gd name="T66" fmla="*/ 29 w 237"/>
                    <a:gd name="T67" fmla="*/ 45 h 107"/>
                    <a:gd name="T68" fmla="*/ 35 w 237"/>
                    <a:gd name="T69" fmla="*/ 25 h 107"/>
                    <a:gd name="T70" fmla="*/ 29 w 237"/>
                    <a:gd name="T71" fmla="*/ 45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37" h="107">
                      <a:moveTo>
                        <a:pt x="228" y="76"/>
                      </a:moveTo>
                      <a:cubicBezTo>
                        <a:pt x="221" y="74"/>
                        <a:pt x="221" y="74"/>
                        <a:pt x="221" y="74"/>
                      </a:cubicBezTo>
                      <a:cubicBezTo>
                        <a:pt x="226" y="56"/>
                        <a:pt x="226" y="56"/>
                        <a:pt x="226" y="56"/>
                      </a:cubicBezTo>
                      <a:cubicBezTo>
                        <a:pt x="217" y="52"/>
                        <a:pt x="217" y="52"/>
                        <a:pt x="217" y="52"/>
                      </a:cubicBezTo>
                      <a:cubicBezTo>
                        <a:pt x="217" y="52"/>
                        <a:pt x="216" y="38"/>
                        <a:pt x="220" y="36"/>
                      </a:cubicBezTo>
                      <a:cubicBezTo>
                        <a:pt x="224" y="34"/>
                        <a:pt x="231" y="30"/>
                        <a:pt x="231" y="30"/>
                      </a:cubicBezTo>
                      <a:cubicBezTo>
                        <a:pt x="228" y="21"/>
                        <a:pt x="228" y="21"/>
                        <a:pt x="228" y="21"/>
                      </a:cubicBezTo>
                      <a:cubicBezTo>
                        <a:pt x="231" y="11"/>
                        <a:pt x="231" y="11"/>
                        <a:pt x="231" y="11"/>
                      </a:cubicBezTo>
                      <a:cubicBezTo>
                        <a:pt x="215" y="8"/>
                        <a:pt x="180" y="2"/>
                        <a:pt x="170" y="1"/>
                      </a:cubicBezTo>
                      <a:cubicBezTo>
                        <a:pt x="157" y="0"/>
                        <a:pt x="110" y="6"/>
                        <a:pt x="110" y="6"/>
                      </a:cubicBezTo>
                      <a:cubicBezTo>
                        <a:pt x="110" y="6"/>
                        <a:pt x="60" y="24"/>
                        <a:pt x="60" y="31"/>
                      </a:cubicBezTo>
                      <a:cubicBezTo>
                        <a:pt x="60" y="38"/>
                        <a:pt x="66" y="56"/>
                        <a:pt x="66" y="56"/>
                      </a:cubicBezTo>
                      <a:cubicBezTo>
                        <a:pt x="105" y="61"/>
                        <a:pt x="105" y="61"/>
                        <a:pt x="105" y="61"/>
                      </a:cubicBezTo>
                      <a:cubicBezTo>
                        <a:pt x="98" y="85"/>
                        <a:pt x="98" y="85"/>
                        <a:pt x="98" y="85"/>
                      </a:cubicBezTo>
                      <a:cubicBezTo>
                        <a:pt x="102" y="85"/>
                        <a:pt x="102" y="85"/>
                        <a:pt x="102" y="85"/>
                      </a:cubicBezTo>
                      <a:cubicBezTo>
                        <a:pt x="123" y="79"/>
                        <a:pt x="123" y="79"/>
                        <a:pt x="123" y="79"/>
                      </a:cubicBezTo>
                      <a:cubicBezTo>
                        <a:pt x="123" y="79"/>
                        <a:pt x="129" y="75"/>
                        <a:pt x="144" y="78"/>
                      </a:cubicBezTo>
                      <a:cubicBezTo>
                        <a:pt x="159" y="81"/>
                        <a:pt x="161" y="86"/>
                        <a:pt x="172" y="95"/>
                      </a:cubicBezTo>
                      <a:cubicBezTo>
                        <a:pt x="183" y="104"/>
                        <a:pt x="186" y="107"/>
                        <a:pt x="192" y="107"/>
                      </a:cubicBezTo>
                      <a:cubicBezTo>
                        <a:pt x="198" y="107"/>
                        <a:pt x="200" y="100"/>
                        <a:pt x="203" y="101"/>
                      </a:cubicBezTo>
                      <a:cubicBezTo>
                        <a:pt x="206" y="102"/>
                        <a:pt x="216" y="106"/>
                        <a:pt x="216" y="106"/>
                      </a:cubicBezTo>
                      <a:cubicBezTo>
                        <a:pt x="224" y="105"/>
                        <a:pt x="224" y="105"/>
                        <a:pt x="224" y="105"/>
                      </a:cubicBezTo>
                      <a:cubicBezTo>
                        <a:pt x="224" y="97"/>
                        <a:pt x="224" y="97"/>
                        <a:pt x="224" y="97"/>
                      </a:cubicBezTo>
                      <a:cubicBezTo>
                        <a:pt x="237" y="88"/>
                        <a:pt x="237" y="88"/>
                        <a:pt x="237" y="88"/>
                      </a:cubicBezTo>
                      <a:lnTo>
                        <a:pt x="228" y="76"/>
                      </a:lnTo>
                      <a:close/>
                      <a:moveTo>
                        <a:pt x="27" y="53"/>
                      </a:moveTo>
                      <a:cubicBezTo>
                        <a:pt x="27" y="53"/>
                        <a:pt x="14" y="52"/>
                        <a:pt x="7" y="55"/>
                      </a:cubicBezTo>
                      <a:cubicBezTo>
                        <a:pt x="0" y="57"/>
                        <a:pt x="9" y="74"/>
                        <a:pt x="9" y="74"/>
                      </a:cubicBezTo>
                      <a:cubicBezTo>
                        <a:pt x="14" y="87"/>
                        <a:pt x="14" y="87"/>
                        <a:pt x="14" y="87"/>
                      </a:cubicBezTo>
                      <a:cubicBezTo>
                        <a:pt x="14" y="87"/>
                        <a:pt x="30" y="74"/>
                        <a:pt x="34" y="74"/>
                      </a:cubicBezTo>
                      <a:cubicBezTo>
                        <a:pt x="38" y="74"/>
                        <a:pt x="55" y="60"/>
                        <a:pt x="55" y="60"/>
                      </a:cubicBezTo>
                      <a:cubicBezTo>
                        <a:pt x="51" y="49"/>
                        <a:pt x="51" y="49"/>
                        <a:pt x="51" y="49"/>
                      </a:cubicBezTo>
                      <a:lnTo>
                        <a:pt x="27" y="53"/>
                      </a:lnTo>
                      <a:close/>
                      <a:moveTo>
                        <a:pt x="29" y="45"/>
                      </a:moveTo>
                      <a:cubicBezTo>
                        <a:pt x="44" y="45"/>
                        <a:pt x="48" y="23"/>
                        <a:pt x="35" y="25"/>
                      </a:cubicBezTo>
                      <a:cubicBezTo>
                        <a:pt x="22" y="28"/>
                        <a:pt x="15" y="45"/>
                        <a:pt x="29" y="45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1" name="Czech Republic">
                  <a:extLst>
                    <a:ext uri="{FF2B5EF4-FFF2-40B4-BE49-F238E27FC236}">
                      <a16:creationId xmlns:a16="http://schemas.microsoft.com/office/drawing/2014/main" id="{4E49D2EA-BEBC-6B4B-2C80-9A083105C3B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27401" y="2553914"/>
                  <a:ext cx="130318" cy="62543"/>
                </a:xfrm>
                <a:custGeom>
                  <a:avLst/>
                  <a:gdLst>
                    <a:gd name="T0" fmla="*/ 268 w 280"/>
                    <a:gd name="T1" fmla="*/ 67 h 132"/>
                    <a:gd name="T2" fmla="*/ 255 w 280"/>
                    <a:gd name="T3" fmla="*/ 60 h 132"/>
                    <a:gd name="T4" fmla="*/ 240 w 280"/>
                    <a:gd name="T5" fmla="*/ 57 h 132"/>
                    <a:gd name="T6" fmla="*/ 219 w 280"/>
                    <a:gd name="T7" fmla="*/ 42 h 132"/>
                    <a:gd name="T8" fmla="*/ 196 w 280"/>
                    <a:gd name="T9" fmla="*/ 47 h 132"/>
                    <a:gd name="T10" fmla="*/ 177 w 280"/>
                    <a:gd name="T11" fmla="*/ 35 h 132"/>
                    <a:gd name="T12" fmla="*/ 178 w 280"/>
                    <a:gd name="T13" fmla="*/ 28 h 132"/>
                    <a:gd name="T14" fmla="*/ 159 w 280"/>
                    <a:gd name="T15" fmla="*/ 24 h 132"/>
                    <a:gd name="T16" fmla="*/ 132 w 280"/>
                    <a:gd name="T17" fmla="*/ 13 h 132"/>
                    <a:gd name="T18" fmla="*/ 116 w 280"/>
                    <a:gd name="T19" fmla="*/ 2 h 132"/>
                    <a:gd name="T20" fmla="*/ 108 w 280"/>
                    <a:gd name="T21" fmla="*/ 11 h 132"/>
                    <a:gd name="T22" fmla="*/ 87 w 280"/>
                    <a:gd name="T23" fmla="*/ 11 h 132"/>
                    <a:gd name="T24" fmla="*/ 72 w 280"/>
                    <a:gd name="T25" fmla="*/ 19 h 132"/>
                    <a:gd name="T26" fmla="*/ 56 w 280"/>
                    <a:gd name="T27" fmla="*/ 24 h 132"/>
                    <a:gd name="T28" fmla="*/ 38 w 280"/>
                    <a:gd name="T29" fmla="*/ 36 h 132"/>
                    <a:gd name="T30" fmla="*/ 21 w 280"/>
                    <a:gd name="T31" fmla="*/ 36 h 132"/>
                    <a:gd name="T32" fmla="*/ 11 w 280"/>
                    <a:gd name="T33" fmla="*/ 42 h 132"/>
                    <a:gd name="T34" fmla="*/ 5 w 280"/>
                    <a:gd name="T35" fmla="*/ 50 h 132"/>
                    <a:gd name="T36" fmla="*/ 17 w 280"/>
                    <a:gd name="T37" fmla="*/ 60 h 132"/>
                    <a:gd name="T38" fmla="*/ 19 w 280"/>
                    <a:gd name="T39" fmla="*/ 74 h 132"/>
                    <a:gd name="T40" fmla="*/ 27 w 280"/>
                    <a:gd name="T41" fmla="*/ 82 h 132"/>
                    <a:gd name="T42" fmla="*/ 42 w 280"/>
                    <a:gd name="T43" fmla="*/ 90 h 132"/>
                    <a:gd name="T44" fmla="*/ 49 w 280"/>
                    <a:gd name="T45" fmla="*/ 98 h 132"/>
                    <a:gd name="T46" fmla="*/ 65 w 280"/>
                    <a:gd name="T47" fmla="*/ 108 h 132"/>
                    <a:gd name="T48" fmla="*/ 87 w 280"/>
                    <a:gd name="T49" fmla="*/ 131 h 132"/>
                    <a:gd name="T50" fmla="*/ 110 w 280"/>
                    <a:gd name="T51" fmla="*/ 132 h 132"/>
                    <a:gd name="T52" fmla="*/ 115 w 280"/>
                    <a:gd name="T53" fmla="*/ 119 h 132"/>
                    <a:gd name="T54" fmla="*/ 142 w 280"/>
                    <a:gd name="T55" fmla="*/ 112 h 132"/>
                    <a:gd name="T56" fmla="*/ 158 w 280"/>
                    <a:gd name="T57" fmla="*/ 113 h 132"/>
                    <a:gd name="T58" fmla="*/ 173 w 280"/>
                    <a:gd name="T59" fmla="*/ 120 h 132"/>
                    <a:gd name="T60" fmla="*/ 200 w 280"/>
                    <a:gd name="T61" fmla="*/ 123 h 132"/>
                    <a:gd name="T62" fmla="*/ 221 w 280"/>
                    <a:gd name="T63" fmla="*/ 116 h 132"/>
                    <a:gd name="T64" fmla="*/ 255 w 280"/>
                    <a:gd name="T65" fmla="*/ 105 h 132"/>
                    <a:gd name="T66" fmla="*/ 269 w 280"/>
                    <a:gd name="T67" fmla="*/ 86 h 132"/>
                    <a:gd name="T68" fmla="*/ 275 w 280"/>
                    <a:gd name="T69" fmla="*/ 73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80" h="132">
                      <a:moveTo>
                        <a:pt x="275" y="73"/>
                      </a:moveTo>
                      <a:cubicBezTo>
                        <a:pt x="268" y="67"/>
                        <a:pt x="268" y="67"/>
                        <a:pt x="268" y="67"/>
                      </a:cubicBezTo>
                      <a:cubicBezTo>
                        <a:pt x="269" y="62"/>
                        <a:pt x="269" y="62"/>
                        <a:pt x="269" y="62"/>
                      </a:cubicBezTo>
                      <a:cubicBezTo>
                        <a:pt x="269" y="62"/>
                        <a:pt x="259" y="60"/>
                        <a:pt x="255" y="60"/>
                      </a:cubicBezTo>
                      <a:cubicBezTo>
                        <a:pt x="251" y="60"/>
                        <a:pt x="247" y="51"/>
                        <a:pt x="247" y="51"/>
                      </a:cubicBezTo>
                      <a:cubicBezTo>
                        <a:pt x="240" y="57"/>
                        <a:pt x="240" y="57"/>
                        <a:pt x="240" y="57"/>
                      </a:cubicBezTo>
                      <a:cubicBezTo>
                        <a:pt x="240" y="57"/>
                        <a:pt x="235" y="44"/>
                        <a:pt x="227" y="43"/>
                      </a:cubicBezTo>
                      <a:cubicBezTo>
                        <a:pt x="219" y="42"/>
                        <a:pt x="219" y="42"/>
                        <a:pt x="219" y="42"/>
                      </a:cubicBezTo>
                      <a:cubicBezTo>
                        <a:pt x="219" y="42"/>
                        <a:pt x="224" y="35"/>
                        <a:pt x="211" y="39"/>
                      </a:cubicBezTo>
                      <a:cubicBezTo>
                        <a:pt x="198" y="43"/>
                        <a:pt x="196" y="47"/>
                        <a:pt x="196" y="47"/>
                      </a:cubicBezTo>
                      <a:cubicBezTo>
                        <a:pt x="196" y="47"/>
                        <a:pt x="185" y="45"/>
                        <a:pt x="181" y="43"/>
                      </a:cubicBezTo>
                      <a:cubicBezTo>
                        <a:pt x="177" y="41"/>
                        <a:pt x="177" y="35"/>
                        <a:pt x="177" y="35"/>
                      </a:cubicBezTo>
                      <a:cubicBezTo>
                        <a:pt x="171" y="32"/>
                        <a:pt x="171" y="32"/>
                        <a:pt x="171" y="32"/>
                      </a:cubicBezTo>
                      <a:cubicBezTo>
                        <a:pt x="178" y="28"/>
                        <a:pt x="178" y="28"/>
                        <a:pt x="178" y="28"/>
                      </a:cubicBezTo>
                      <a:cubicBezTo>
                        <a:pt x="175" y="23"/>
                        <a:pt x="175" y="23"/>
                        <a:pt x="175" y="23"/>
                      </a:cubicBezTo>
                      <a:cubicBezTo>
                        <a:pt x="175" y="23"/>
                        <a:pt x="162" y="24"/>
                        <a:pt x="159" y="24"/>
                      </a:cubicBezTo>
                      <a:cubicBezTo>
                        <a:pt x="156" y="24"/>
                        <a:pt x="158" y="18"/>
                        <a:pt x="146" y="14"/>
                      </a:cubicBezTo>
                      <a:cubicBezTo>
                        <a:pt x="134" y="10"/>
                        <a:pt x="132" y="13"/>
                        <a:pt x="132" y="13"/>
                      </a:cubicBezTo>
                      <a:cubicBezTo>
                        <a:pt x="129" y="4"/>
                        <a:pt x="129" y="4"/>
                        <a:pt x="129" y="4"/>
                      </a:cubicBezTo>
                      <a:cubicBezTo>
                        <a:pt x="116" y="2"/>
                        <a:pt x="116" y="2"/>
                        <a:pt x="116" y="2"/>
                      </a:cubicBezTo>
                      <a:cubicBezTo>
                        <a:pt x="116" y="2"/>
                        <a:pt x="116" y="2"/>
                        <a:pt x="116" y="2"/>
                      </a:cubicBezTo>
                      <a:cubicBezTo>
                        <a:pt x="114" y="6"/>
                        <a:pt x="111" y="11"/>
                        <a:pt x="108" y="11"/>
                      </a:cubicBezTo>
                      <a:cubicBezTo>
                        <a:pt x="103" y="12"/>
                        <a:pt x="98" y="0"/>
                        <a:pt x="96" y="1"/>
                      </a:cubicBezTo>
                      <a:cubicBezTo>
                        <a:pt x="94" y="2"/>
                        <a:pt x="89" y="8"/>
                        <a:pt x="87" y="11"/>
                      </a:cubicBezTo>
                      <a:cubicBezTo>
                        <a:pt x="84" y="14"/>
                        <a:pt x="73" y="13"/>
                        <a:pt x="73" y="13"/>
                      </a:cubicBezTo>
                      <a:cubicBezTo>
                        <a:pt x="73" y="13"/>
                        <a:pt x="75" y="18"/>
                        <a:pt x="72" y="19"/>
                      </a:cubicBezTo>
                      <a:cubicBezTo>
                        <a:pt x="69" y="20"/>
                        <a:pt x="58" y="20"/>
                        <a:pt x="58" y="20"/>
                      </a:cubicBezTo>
                      <a:cubicBezTo>
                        <a:pt x="56" y="24"/>
                        <a:pt x="56" y="24"/>
                        <a:pt x="56" y="24"/>
                      </a:cubicBezTo>
                      <a:cubicBezTo>
                        <a:pt x="45" y="27"/>
                        <a:pt x="45" y="27"/>
                        <a:pt x="45" y="27"/>
                      </a:cubicBezTo>
                      <a:cubicBezTo>
                        <a:pt x="38" y="36"/>
                        <a:pt x="38" y="36"/>
                        <a:pt x="38" y="36"/>
                      </a:cubicBezTo>
                      <a:cubicBezTo>
                        <a:pt x="38" y="36"/>
                        <a:pt x="40" y="32"/>
                        <a:pt x="31" y="30"/>
                      </a:cubicBezTo>
                      <a:cubicBezTo>
                        <a:pt x="23" y="28"/>
                        <a:pt x="21" y="36"/>
                        <a:pt x="21" y="36"/>
                      </a:cubicBezTo>
                      <a:cubicBezTo>
                        <a:pt x="14" y="36"/>
                        <a:pt x="14" y="36"/>
                        <a:pt x="14" y="36"/>
                      </a:cubicBezTo>
                      <a:cubicBezTo>
                        <a:pt x="14" y="36"/>
                        <a:pt x="15" y="41"/>
                        <a:pt x="11" y="42"/>
                      </a:cubicBezTo>
                      <a:cubicBezTo>
                        <a:pt x="7" y="42"/>
                        <a:pt x="7" y="36"/>
                        <a:pt x="3" y="38"/>
                      </a:cubicBezTo>
                      <a:cubicBezTo>
                        <a:pt x="0" y="41"/>
                        <a:pt x="5" y="50"/>
                        <a:pt x="5" y="50"/>
                      </a:cubicBezTo>
                      <a:cubicBezTo>
                        <a:pt x="11" y="51"/>
                        <a:pt x="11" y="51"/>
                        <a:pt x="11" y="51"/>
                      </a:cubicBezTo>
                      <a:cubicBezTo>
                        <a:pt x="17" y="60"/>
                        <a:pt x="17" y="60"/>
                        <a:pt x="17" y="60"/>
                      </a:cubicBezTo>
                      <a:cubicBezTo>
                        <a:pt x="17" y="60"/>
                        <a:pt x="9" y="64"/>
                        <a:pt x="10" y="66"/>
                      </a:cubicBezTo>
                      <a:cubicBezTo>
                        <a:pt x="11" y="68"/>
                        <a:pt x="19" y="74"/>
                        <a:pt x="19" y="74"/>
                      </a:cubicBezTo>
                      <a:cubicBezTo>
                        <a:pt x="21" y="80"/>
                        <a:pt x="21" y="80"/>
                        <a:pt x="21" y="80"/>
                      </a:cubicBezTo>
                      <a:cubicBezTo>
                        <a:pt x="27" y="82"/>
                        <a:pt x="27" y="82"/>
                        <a:pt x="27" y="82"/>
                      </a:cubicBezTo>
                      <a:cubicBezTo>
                        <a:pt x="27" y="82"/>
                        <a:pt x="21" y="87"/>
                        <a:pt x="29" y="88"/>
                      </a:cubicBezTo>
                      <a:cubicBezTo>
                        <a:pt x="36" y="88"/>
                        <a:pt x="42" y="90"/>
                        <a:pt x="42" y="90"/>
                      </a:cubicBezTo>
                      <a:cubicBezTo>
                        <a:pt x="45" y="98"/>
                        <a:pt x="45" y="98"/>
                        <a:pt x="45" y="98"/>
                      </a:cubicBezTo>
                      <a:cubicBezTo>
                        <a:pt x="49" y="98"/>
                        <a:pt x="49" y="98"/>
                        <a:pt x="49" y="98"/>
                      </a:cubicBezTo>
                      <a:cubicBezTo>
                        <a:pt x="55" y="107"/>
                        <a:pt x="55" y="107"/>
                        <a:pt x="55" y="107"/>
                      </a:cubicBezTo>
                      <a:cubicBezTo>
                        <a:pt x="55" y="107"/>
                        <a:pt x="60" y="105"/>
                        <a:pt x="65" y="108"/>
                      </a:cubicBezTo>
                      <a:cubicBezTo>
                        <a:pt x="71" y="112"/>
                        <a:pt x="72" y="119"/>
                        <a:pt x="72" y="119"/>
                      </a:cubicBezTo>
                      <a:cubicBezTo>
                        <a:pt x="72" y="119"/>
                        <a:pt x="80" y="131"/>
                        <a:pt x="87" y="131"/>
                      </a:cubicBezTo>
                      <a:cubicBezTo>
                        <a:pt x="95" y="131"/>
                        <a:pt x="101" y="127"/>
                        <a:pt x="101" y="127"/>
                      </a:cubicBezTo>
                      <a:cubicBezTo>
                        <a:pt x="110" y="132"/>
                        <a:pt x="110" y="132"/>
                        <a:pt x="110" y="132"/>
                      </a:cubicBezTo>
                      <a:cubicBezTo>
                        <a:pt x="111" y="120"/>
                        <a:pt x="111" y="120"/>
                        <a:pt x="111" y="120"/>
                      </a:cubicBezTo>
                      <a:cubicBezTo>
                        <a:pt x="115" y="119"/>
                        <a:pt x="115" y="119"/>
                        <a:pt x="115" y="119"/>
                      </a:cubicBezTo>
                      <a:cubicBezTo>
                        <a:pt x="115" y="119"/>
                        <a:pt x="122" y="106"/>
                        <a:pt x="125" y="105"/>
                      </a:cubicBezTo>
                      <a:cubicBezTo>
                        <a:pt x="129" y="104"/>
                        <a:pt x="142" y="112"/>
                        <a:pt x="142" y="112"/>
                      </a:cubicBezTo>
                      <a:cubicBezTo>
                        <a:pt x="151" y="118"/>
                        <a:pt x="151" y="118"/>
                        <a:pt x="151" y="118"/>
                      </a:cubicBezTo>
                      <a:cubicBezTo>
                        <a:pt x="158" y="113"/>
                        <a:pt x="158" y="113"/>
                        <a:pt x="158" y="113"/>
                      </a:cubicBezTo>
                      <a:cubicBezTo>
                        <a:pt x="165" y="121"/>
                        <a:pt x="165" y="121"/>
                        <a:pt x="165" y="121"/>
                      </a:cubicBezTo>
                      <a:cubicBezTo>
                        <a:pt x="173" y="120"/>
                        <a:pt x="173" y="120"/>
                        <a:pt x="173" y="120"/>
                      </a:cubicBezTo>
                      <a:cubicBezTo>
                        <a:pt x="173" y="120"/>
                        <a:pt x="177" y="113"/>
                        <a:pt x="184" y="115"/>
                      </a:cubicBezTo>
                      <a:cubicBezTo>
                        <a:pt x="192" y="118"/>
                        <a:pt x="200" y="123"/>
                        <a:pt x="200" y="123"/>
                      </a:cubicBezTo>
                      <a:cubicBezTo>
                        <a:pt x="200" y="123"/>
                        <a:pt x="205" y="119"/>
                        <a:pt x="209" y="118"/>
                      </a:cubicBezTo>
                      <a:cubicBezTo>
                        <a:pt x="212" y="117"/>
                        <a:pt x="218" y="117"/>
                        <a:pt x="221" y="116"/>
                      </a:cubicBezTo>
                      <a:cubicBezTo>
                        <a:pt x="222" y="118"/>
                        <a:pt x="228" y="120"/>
                        <a:pt x="233" y="117"/>
                      </a:cubicBezTo>
                      <a:cubicBezTo>
                        <a:pt x="240" y="112"/>
                        <a:pt x="255" y="105"/>
                        <a:pt x="255" y="105"/>
                      </a:cubicBezTo>
                      <a:cubicBezTo>
                        <a:pt x="255" y="92"/>
                        <a:pt x="255" y="92"/>
                        <a:pt x="255" y="92"/>
                      </a:cubicBezTo>
                      <a:cubicBezTo>
                        <a:pt x="269" y="86"/>
                        <a:pt x="269" y="86"/>
                        <a:pt x="269" y="86"/>
                      </a:cubicBezTo>
                      <a:cubicBezTo>
                        <a:pt x="280" y="79"/>
                        <a:pt x="280" y="79"/>
                        <a:pt x="280" y="79"/>
                      </a:cubicBezTo>
                      <a:cubicBezTo>
                        <a:pt x="277" y="76"/>
                        <a:pt x="275" y="73"/>
                        <a:pt x="275" y="73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2" name="Cyprus">
                  <a:extLst>
                    <a:ext uri="{FF2B5EF4-FFF2-40B4-BE49-F238E27FC236}">
                      <a16:creationId xmlns:a16="http://schemas.microsoft.com/office/drawing/2014/main" id="{81B24960-DB1F-916D-5DB6-6F067A43E17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35490" y="3010902"/>
                  <a:ext cx="53984" cy="33323"/>
                </a:xfrm>
                <a:custGeom>
                  <a:avLst/>
                  <a:gdLst>
                    <a:gd name="T0" fmla="*/ 1 w 98"/>
                    <a:gd name="T1" fmla="*/ 31 h 60"/>
                    <a:gd name="T2" fmla="*/ 36 w 98"/>
                    <a:gd name="T3" fmla="*/ 57 h 60"/>
                    <a:gd name="T4" fmla="*/ 61 w 98"/>
                    <a:gd name="T5" fmla="*/ 38 h 60"/>
                    <a:gd name="T6" fmla="*/ 80 w 98"/>
                    <a:gd name="T7" fmla="*/ 39 h 60"/>
                    <a:gd name="T8" fmla="*/ 77 w 98"/>
                    <a:gd name="T9" fmla="*/ 24 h 60"/>
                    <a:gd name="T10" fmla="*/ 98 w 98"/>
                    <a:gd name="T11" fmla="*/ 0 h 60"/>
                    <a:gd name="T12" fmla="*/ 71 w 98"/>
                    <a:gd name="T13" fmla="*/ 17 h 60"/>
                    <a:gd name="T14" fmla="*/ 38 w 98"/>
                    <a:gd name="T15" fmla="*/ 15 h 60"/>
                    <a:gd name="T16" fmla="*/ 32 w 98"/>
                    <a:gd name="T17" fmla="*/ 26 h 60"/>
                    <a:gd name="T18" fmla="*/ 1 w 98"/>
                    <a:gd name="T19" fmla="*/ 31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8" h="60">
                      <a:moveTo>
                        <a:pt x="1" y="31"/>
                      </a:moveTo>
                      <a:cubicBezTo>
                        <a:pt x="2" y="45"/>
                        <a:pt x="29" y="60"/>
                        <a:pt x="36" y="57"/>
                      </a:cubicBezTo>
                      <a:cubicBezTo>
                        <a:pt x="43" y="54"/>
                        <a:pt x="61" y="38"/>
                        <a:pt x="61" y="38"/>
                      </a:cubicBezTo>
                      <a:cubicBezTo>
                        <a:pt x="61" y="38"/>
                        <a:pt x="77" y="45"/>
                        <a:pt x="80" y="39"/>
                      </a:cubicBezTo>
                      <a:cubicBezTo>
                        <a:pt x="84" y="33"/>
                        <a:pt x="77" y="24"/>
                        <a:pt x="77" y="24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1" y="17"/>
                        <a:pt x="47" y="13"/>
                        <a:pt x="38" y="15"/>
                      </a:cubicBezTo>
                      <a:cubicBezTo>
                        <a:pt x="29" y="17"/>
                        <a:pt x="32" y="26"/>
                        <a:pt x="32" y="26"/>
                      </a:cubicBezTo>
                      <a:cubicBezTo>
                        <a:pt x="32" y="26"/>
                        <a:pt x="0" y="20"/>
                        <a:pt x="1" y="3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3" name="Croatia">
                  <a:extLst>
                    <a:ext uri="{FF2B5EF4-FFF2-40B4-BE49-F238E27FC236}">
                      <a16:creationId xmlns:a16="http://schemas.microsoft.com/office/drawing/2014/main" id="{6F0B3DCD-5CEC-9622-AD07-74FE5E50C95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65508" y="2687203"/>
                  <a:ext cx="136549" cy="103140"/>
                </a:xfrm>
                <a:custGeom>
                  <a:avLst/>
                  <a:gdLst>
                    <a:gd name="T0" fmla="*/ 232 w 246"/>
                    <a:gd name="T1" fmla="*/ 77 h 186"/>
                    <a:gd name="T2" fmla="*/ 228 w 246"/>
                    <a:gd name="T3" fmla="*/ 65 h 186"/>
                    <a:gd name="T4" fmla="*/ 226 w 246"/>
                    <a:gd name="T5" fmla="*/ 52 h 186"/>
                    <a:gd name="T6" fmla="*/ 217 w 246"/>
                    <a:gd name="T7" fmla="*/ 32 h 186"/>
                    <a:gd name="T8" fmla="*/ 183 w 246"/>
                    <a:gd name="T9" fmla="*/ 41 h 186"/>
                    <a:gd name="T10" fmla="*/ 168 w 246"/>
                    <a:gd name="T11" fmla="*/ 34 h 186"/>
                    <a:gd name="T12" fmla="*/ 139 w 246"/>
                    <a:gd name="T13" fmla="*/ 13 h 186"/>
                    <a:gd name="T14" fmla="*/ 112 w 246"/>
                    <a:gd name="T15" fmla="*/ 2 h 186"/>
                    <a:gd name="T16" fmla="*/ 93 w 246"/>
                    <a:gd name="T17" fmla="*/ 14 h 186"/>
                    <a:gd name="T18" fmla="*/ 87 w 246"/>
                    <a:gd name="T19" fmla="*/ 31 h 186"/>
                    <a:gd name="T20" fmla="*/ 70 w 246"/>
                    <a:gd name="T21" fmla="*/ 40 h 186"/>
                    <a:gd name="T22" fmla="*/ 59 w 246"/>
                    <a:gd name="T23" fmla="*/ 53 h 186"/>
                    <a:gd name="T24" fmla="*/ 40 w 246"/>
                    <a:gd name="T25" fmla="*/ 45 h 186"/>
                    <a:gd name="T26" fmla="*/ 22 w 246"/>
                    <a:gd name="T27" fmla="*/ 54 h 186"/>
                    <a:gd name="T28" fmla="*/ 14 w 246"/>
                    <a:gd name="T29" fmla="*/ 57 h 186"/>
                    <a:gd name="T30" fmla="*/ 1 w 246"/>
                    <a:gd name="T31" fmla="*/ 67 h 186"/>
                    <a:gd name="T32" fmla="*/ 31 w 246"/>
                    <a:gd name="T33" fmla="*/ 70 h 186"/>
                    <a:gd name="T34" fmla="*/ 54 w 246"/>
                    <a:gd name="T35" fmla="*/ 87 h 186"/>
                    <a:gd name="T36" fmla="*/ 68 w 246"/>
                    <a:gd name="T37" fmla="*/ 123 h 186"/>
                    <a:gd name="T38" fmla="*/ 98 w 246"/>
                    <a:gd name="T39" fmla="*/ 161 h 186"/>
                    <a:gd name="T40" fmla="*/ 146 w 246"/>
                    <a:gd name="T41" fmla="*/ 171 h 186"/>
                    <a:gd name="T42" fmla="*/ 165 w 246"/>
                    <a:gd name="T43" fmla="*/ 186 h 186"/>
                    <a:gd name="T44" fmla="*/ 131 w 246"/>
                    <a:gd name="T45" fmla="*/ 146 h 186"/>
                    <a:gd name="T46" fmla="*/ 110 w 246"/>
                    <a:gd name="T47" fmla="*/ 123 h 186"/>
                    <a:gd name="T48" fmla="*/ 102 w 246"/>
                    <a:gd name="T49" fmla="*/ 105 h 186"/>
                    <a:gd name="T50" fmla="*/ 91 w 246"/>
                    <a:gd name="T51" fmla="*/ 93 h 186"/>
                    <a:gd name="T52" fmla="*/ 93 w 246"/>
                    <a:gd name="T53" fmla="*/ 81 h 186"/>
                    <a:gd name="T54" fmla="*/ 112 w 246"/>
                    <a:gd name="T55" fmla="*/ 74 h 186"/>
                    <a:gd name="T56" fmla="*/ 142 w 246"/>
                    <a:gd name="T57" fmla="*/ 68 h 186"/>
                    <a:gd name="T58" fmla="*/ 164 w 246"/>
                    <a:gd name="T59" fmla="*/ 71 h 186"/>
                    <a:gd name="T60" fmla="*/ 193 w 246"/>
                    <a:gd name="T61" fmla="*/ 73 h 186"/>
                    <a:gd name="T62" fmla="*/ 220 w 246"/>
                    <a:gd name="T63" fmla="*/ 85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46" h="186">
                      <a:moveTo>
                        <a:pt x="230" y="84"/>
                      </a:moveTo>
                      <a:cubicBezTo>
                        <a:pt x="232" y="77"/>
                        <a:pt x="232" y="77"/>
                        <a:pt x="232" y="77"/>
                      </a:cubicBezTo>
                      <a:cubicBezTo>
                        <a:pt x="232" y="77"/>
                        <a:pt x="246" y="74"/>
                        <a:pt x="245" y="71"/>
                      </a:cubicBezTo>
                      <a:cubicBezTo>
                        <a:pt x="244" y="68"/>
                        <a:pt x="228" y="65"/>
                        <a:pt x="228" y="65"/>
                      </a:cubicBezTo>
                      <a:cubicBezTo>
                        <a:pt x="231" y="53"/>
                        <a:pt x="231" y="53"/>
                        <a:pt x="231" y="53"/>
                      </a:cubicBezTo>
                      <a:cubicBezTo>
                        <a:pt x="226" y="52"/>
                        <a:pt x="226" y="52"/>
                        <a:pt x="226" y="52"/>
                      </a:cubicBezTo>
                      <a:cubicBezTo>
                        <a:pt x="222" y="34"/>
                        <a:pt x="222" y="34"/>
                        <a:pt x="222" y="34"/>
                      </a:cubicBezTo>
                      <a:cubicBezTo>
                        <a:pt x="217" y="32"/>
                        <a:pt x="217" y="32"/>
                        <a:pt x="217" y="32"/>
                      </a:cubicBezTo>
                      <a:cubicBezTo>
                        <a:pt x="211" y="38"/>
                        <a:pt x="211" y="38"/>
                        <a:pt x="211" y="38"/>
                      </a:cubicBezTo>
                      <a:cubicBezTo>
                        <a:pt x="183" y="41"/>
                        <a:pt x="183" y="41"/>
                        <a:pt x="183" y="41"/>
                      </a:cubicBezTo>
                      <a:cubicBezTo>
                        <a:pt x="180" y="34"/>
                        <a:pt x="180" y="34"/>
                        <a:pt x="180" y="34"/>
                      </a:cubicBezTo>
                      <a:cubicBezTo>
                        <a:pt x="168" y="34"/>
                        <a:pt x="168" y="34"/>
                        <a:pt x="168" y="34"/>
                      </a:cubicBezTo>
                      <a:cubicBezTo>
                        <a:pt x="159" y="30"/>
                        <a:pt x="159" y="30"/>
                        <a:pt x="159" y="30"/>
                      </a:cubicBezTo>
                      <a:cubicBezTo>
                        <a:pt x="159" y="30"/>
                        <a:pt x="141" y="16"/>
                        <a:pt x="139" y="13"/>
                      </a:cubicBezTo>
                      <a:cubicBezTo>
                        <a:pt x="137" y="10"/>
                        <a:pt x="125" y="0"/>
                        <a:pt x="125" y="0"/>
                      </a:cubicBezTo>
                      <a:cubicBezTo>
                        <a:pt x="112" y="2"/>
                        <a:pt x="112" y="2"/>
                        <a:pt x="112" y="2"/>
                      </a:cubicBezTo>
                      <a:cubicBezTo>
                        <a:pt x="112" y="2"/>
                        <a:pt x="115" y="6"/>
                        <a:pt x="109" y="10"/>
                      </a:cubicBezTo>
                      <a:cubicBezTo>
                        <a:pt x="103" y="14"/>
                        <a:pt x="93" y="14"/>
                        <a:pt x="93" y="14"/>
                      </a:cubicBezTo>
                      <a:cubicBezTo>
                        <a:pt x="93" y="14"/>
                        <a:pt x="84" y="14"/>
                        <a:pt x="84" y="18"/>
                      </a:cubicBezTo>
                      <a:cubicBezTo>
                        <a:pt x="84" y="22"/>
                        <a:pt x="87" y="31"/>
                        <a:pt x="87" y="31"/>
                      </a:cubicBezTo>
                      <a:cubicBezTo>
                        <a:pt x="80" y="39"/>
                        <a:pt x="80" y="39"/>
                        <a:pt x="80" y="39"/>
                      </a:cubicBezTo>
                      <a:cubicBezTo>
                        <a:pt x="70" y="40"/>
                        <a:pt x="70" y="40"/>
                        <a:pt x="70" y="40"/>
                      </a:cubicBezTo>
                      <a:cubicBezTo>
                        <a:pt x="70" y="40"/>
                        <a:pt x="74" y="51"/>
                        <a:pt x="69" y="53"/>
                      </a:cubicBezTo>
                      <a:cubicBezTo>
                        <a:pt x="64" y="55"/>
                        <a:pt x="59" y="53"/>
                        <a:pt x="59" y="53"/>
                      </a:cubicBezTo>
                      <a:cubicBezTo>
                        <a:pt x="59" y="53"/>
                        <a:pt x="52" y="54"/>
                        <a:pt x="46" y="53"/>
                      </a:cubicBezTo>
                      <a:cubicBezTo>
                        <a:pt x="40" y="52"/>
                        <a:pt x="40" y="45"/>
                        <a:pt x="40" y="45"/>
                      </a:cubicBezTo>
                      <a:cubicBezTo>
                        <a:pt x="34" y="53"/>
                        <a:pt x="34" y="53"/>
                        <a:pt x="34" y="53"/>
                      </a:cubicBezTo>
                      <a:cubicBezTo>
                        <a:pt x="22" y="54"/>
                        <a:pt x="22" y="54"/>
                        <a:pt x="22" y="54"/>
                      </a:cubicBezTo>
                      <a:cubicBezTo>
                        <a:pt x="16" y="48"/>
                        <a:pt x="16" y="48"/>
                        <a:pt x="16" y="48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5" y="58"/>
                        <a:pt x="5" y="58"/>
                        <a:pt x="5" y="58"/>
                      </a:cubicBezTo>
                      <a:cubicBezTo>
                        <a:pt x="3" y="62"/>
                        <a:pt x="1" y="67"/>
                        <a:pt x="1" y="67"/>
                      </a:cubicBezTo>
                      <a:cubicBezTo>
                        <a:pt x="1" y="67"/>
                        <a:pt x="0" y="97"/>
                        <a:pt x="8" y="88"/>
                      </a:cubicBezTo>
                      <a:cubicBezTo>
                        <a:pt x="16" y="79"/>
                        <a:pt x="27" y="64"/>
                        <a:pt x="31" y="70"/>
                      </a:cubicBezTo>
                      <a:cubicBezTo>
                        <a:pt x="35" y="76"/>
                        <a:pt x="35" y="91"/>
                        <a:pt x="35" y="91"/>
                      </a:cubicBezTo>
                      <a:cubicBezTo>
                        <a:pt x="54" y="87"/>
                        <a:pt x="54" y="87"/>
                        <a:pt x="54" y="87"/>
                      </a:cubicBezTo>
                      <a:cubicBezTo>
                        <a:pt x="54" y="87"/>
                        <a:pt x="48" y="107"/>
                        <a:pt x="60" y="111"/>
                      </a:cubicBezTo>
                      <a:cubicBezTo>
                        <a:pt x="72" y="115"/>
                        <a:pt x="68" y="123"/>
                        <a:pt x="68" y="123"/>
                      </a:cubicBezTo>
                      <a:cubicBezTo>
                        <a:pt x="97" y="144"/>
                        <a:pt x="97" y="144"/>
                        <a:pt x="97" y="144"/>
                      </a:cubicBezTo>
                      <a:cubicBezTo>
                        <a:pt x="98" y="161"/>
                        <a:pt x="98" y="161"/>
                        <a:pt x="98" y="161"/>
                      </a:cubicBezTo>
                      <a:cubicBezTo>
                        <a:pt x="125" y="162"/>
                        <a:pt x="125" y="162"/>
                        <a:pt x="125" y="162"/>
                      </a:cubicBezTo>
                      <a:cubicBezTo>
                        <a:pt x="125" y="162"/>
                        <a:pt x="142" y="163"/>
                        <a:pt x="146" y="171"/>
                      </a:cubicBezTo>
                      <a:cubicBezTo>
                        <a:pt x="146" y="171"/>
                        <a:pt x="142" y="180"/>
                        <a:pt x="148" y="184"/>
                      </a:cubicBezTo>
                      <a:cubicBezTo>
                        <a:pt x="165" y="186"/>
                        <a:pt x="165" y="186"/>
                        <a:pt x="165" y="186"/>
                      </a:cubicBezTo>
                      <a:cubicBezTo>
                        <a:pt x="170" y="182"/>
                        <a:pt x="174" y="174"/>
                        <a:pt x="159" y="165"/>
                      </a:cubicBezTo>
                      <a:cubicBezTo>
                        <a:pt x="135" y="150"/>
                        <a:pt x="131" y="146"/>
                        <a:pt x="131" y="146"/>
                      </a:cubicBezTo>
                      <a:cubicBezTo>
                        <a:pt x="121" y="126"/>
                        <a:pt x="121" y="126"/>
                        <a:pt x="121" y="126"/>
                      </a:cubicBezTo>
                      <a:cubicBezTo>
                        <a:pt x="110" y="123"/>
                        <a:pt x="110" y="123"/>
                        <a:pt x="110" y="123"/>
                      </a:cubicBezTo>
                      <a:cubicBezTo>
                        <a:pt x="110" y="123"/>
                        <a:pt x="113" y="113"/>
                        <a:pt x="110" y="109"/>
                      </a:cubicBezTo>
                      <a:cubicBezTo>
                        <a:pt x="107" y="105"/>
                        <a:pt x="102" y="105"/>
                        <a:pt x="102" y="105"/>
                      </a:cubicBezTo>
                      <a:cubicBezTo>
                        <a:pt x="103" y="96"/>
                        <a:pt x="103" y="96"/>
                        <a:pt x="103" y="96"/>
                      </a:cubicBezTo>
                      <a:cubicBezTo>
                        <a:pt x="91" y="93"/>
                        <a:pt x="91" y="93"/>
                        <a:pt x="91" y="93"/>
                      </a:cubicBezTo>
                      <a:cubicBezTo>
                        <a:pt x="84" y="86"/>
                        <a:pt x="84" y="86"/>
                        <a:pt x="84" y="86"/>
                      </a:cubicBezTo>
                      <a:cubicBezTo>
                        <a:pt x="93" y="81"/>
                        <a:pt x="93" y="81"/>
                        <a:pt x="93" y="81"/>
                      </a:cubicBezTo>
                      <a:cubicBezTo>
                        <a:pt x="93" y="81"/>
                        <a:pt x="92" y="68"/>
                        <a:pt x="96" y="67"/>
                      </a:cubicBezTo>
                      <a:cubicBezTo>
                        <a:pt x="100" y="66"/>
                        <a:pt x="112" y="74"/>
                        <a:pt x="112" y="74"/>
                      </a:cubicBezTo>
                      <a:cubicBezTo>
                        <a:pt x="127" y="70"/>
                        <a:pt x="127" y="70"/>
                        <a:pt x="127" y="70"/>
                      </a:cubicBezTo>
                      <a:cubicBezTo>
                        <a:pt x="142" y="68"/>
                        <a:pt x="142" y="68"/>
                        <a:pt x="142" y="68"/>
                      </a:cubicBezTo>
                      <a:cubicBezTo>
                        <a:pt x="155" y="75"/>
                        <a:pt x="155" y="75"/>
                        <a:pt x="155" y="75"/>
                      </a:cubicBezTo>
                      <a:cubicBezTo>
                        <a:pt x="164" y="71"/>
                        <a:pt x="164" y="71"/>
                        <a:pt x="164" y="71"/>
                      </a:cubicBezTo>
                      <a:cubicBezTo>
                        <a:pt x="164" y="71"/>
                        <a:pt x="174" y="74"/>
                        <a:pt x="177" y="74"/>
                      </a:cubicBezTo>
                      <a:cubicBezTo>
                        <a:pt x="180" y="74"/>
                        <a:pt x="187" y="72"/>
                        <a:pt x="193" y="73"/>
                      </a:cubicBezTo>
                      <a:cubicBezTo>
                        <a:pt x="199" y="74"/>
                        <a:pt x="210" y="74"/>
                        <a:pt x="210" y="74"/>
                      </a:cubicBezTo>
                      <a:cubicBezTo>
                        <a:pt x="220" y="85"/>
                        <a:pt x="220" y="85"/>
                        <a:pt x="220" y="85"/>
                      </a:cubicBezTo>
                      <a:lnTo>
                        <a:pt x="230" y="84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4" name="Corsica">
                  <a:extLst>
                    <a:ext uri="{FF2B5EF4-FFF2-40B4-BE49-F238E27FC236}">
                      <a16:creationId xmlns:a16="http://schemas.microsoft.com/office/drawing/2014/main" id="{1C69352E-D8DF-9F38-64F8-D0B87FC31C7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43257" y="2787591"/>
                  <a:ext cx="25398" cy="50797"/>
                </a:xfrm>
                <a:custGeom>
                  <a:avLst/>
                  <a:gdLst>
                    <a:gd name="T0" fmla="*/ 8 w 8"/>
                    <a:gd name="T1" fmla="*/ 4 h 16"/>
                    <a:gd name="T2" fmla="*/ 7 w 8"/>
                    <a:gd name="T3" fmla="*/ 4 h 16"/>
                    <a:gd name="T4" fmla="*/ 7 w 8"/>
                    <a:gd name="T5" fmla="*/ 1 h 16"/>
                    <a:gd name="T6" fmla="*/ 5 w 8"/>
                    <a:gd name="T7" fmla="*/ 3 h 16"/>
                    <a:gd name="T8" fmla="*/ 1 w 8"/>
                    <a:gd name="T9" fmla="*/ 8 h 16"/>
                    <a:gd name="T10" fmla="*/ 3 w 8"/>
                    <a:gd name="T11" fmla="*/ 12 h 16"/>
                    <a:gd name="T12" fmla="*/ 2 w 8"/>
                    <a:gd name="T13" fmla="*/ 15 h 16"/>
                    <a:gd name="T14" fmla="*/ 5 w 8"/>
                    <a:gd name="T15" fmla="*/ 16 h 16"/>
                    <a:gd name="T16" fmla="*/ 7 w 8"/>
                    <a:gd name="T17" fmla="*/ 13 h 16"/>
                    <a:gd name="T18" fmla="*/ 7 w 8"/>
                    <a:gd name="T19" fmla="*/ 11 h 16"/>
                    <a:gd name="T20" fmla="*/ 8 w 8"/>
                    <a:gd name="T21" fmla="*/ 10 h 16"/>
                    <a:gd name="T22" fmla="*/ 8 w 8"/>
                    <a:gd name="T23" fmla="*/ 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16">
                      <a:moveTo>
                        <a:pt x="8" y="4"/>
                      </a:move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4"/>
                        <a:pt x="8" y="3"/>
                        <a:pt x="7" y="1"/>
                      </a:cubicBezTo>
                      <a:cubicBezTo>
                        <a:pt x="7" y="0"/>
                        <a:pt x="5" y="3"/>
                        <a:pt x="5" y="3"/>
                      </a:cubicBezTo>
                      <a:cubicBezTo>
                        <a:pt x="5" y="3"/>
                        <a:pt x="0" y="6"/>
                        <a:pt x="1" y="8"/>
                      </a:cubicBezTo>
                      <a:cubicBezTo>
                        <a:pt x="1" y="11"/>
                        <a:pt x="3" y="12"/>
                        <a:pt x="3" y="12"/>
                      </a:cubicBezTo>
                      <a:cubicBezTo>
                        <a:pt x="3" y="12"/>
                        <a:pt x="1" y="14"/>
                        <a:pt x="2" y="15"/>
                      </a:cubicBezTo>
                      <a:cubicBezTo>
                        <a:pt x="4" y="16"/>
                        <a:pt x="5" y="16"/>
                        <a:pt x="5" y="16"/>
                      </a:cubicBezTo>
                      <a:cubicBezTo>
                        <a:pt x="5" y="16"/>
                        <a:pt x="7" y="15"/>
                        <a:pt x="7" y="13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8" y="10"/>
                        <a:pt x="8" y="10"/>
                        <a:pt x="8" y="10"/>
                      </a:cubicBezTo>
                      <a:cubicBezTo>
                        <a:pt x="8" y="4"/>
                        <a:pt x="8" y="4"/>
                        <a:pt x="8" y="4"/>
                      </a:cubicBezTo>
                      <a:close/>
                    </a:path>
                  </a:pathLst>
                </a:custGeom>
                <a:grpFill/>
                <a:ln w="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5" name="Bulgaria">
                  <a:extLst>
                    <a:ext uri="{FF2B5EF4-FFF2-40B4-BE49-F238E27FC236}">
                      <a16:creationId xmlns:a16="http://schemas.microsoft.com/office/drawing/2014/main" id="{069E5340-1354-6737-99B4-10E612D6F61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176682" y="2755433"/>
                  <a:ext cx="149251" cy="87273"/>
                </a:xfrm>
                <a:custGeom>
                  <a:avLst/>
                  <a:gdLst>
                    <a:gd name="T0" fmla="*/ 225 w 267"/>
                    <a:gd name="T1" fmla="*/ 87 h 155"/>
                    <a:gd name="T2" fmla="*/ 241 w 267"/>
                    <a:gd name="T3" fmla="*/ 47 h 155"/>
                    <a:gd name="T4" fmla="*/ 264 w 267"/>
                    <a:gd name="T5" fmla="*/ 23 h 155"/>
                    <a:gd name="T6" fmla="*/ 237 w 267"/>
                    <a:gd name="T7" fmla="*/ 12 h 155"/>
                    <a:gd name="T8" fmla="*/ 194 w 267"/>
                    <a:gd name="T9" fmla="*/ 2 h 155"/>
                    <a:gd name="T10" fmla="*/ 169 w 267"/>
                    <a:gd name="T11" fmla="*/ 6 h 155"/>
                    <a:gd name="T12" fmla="*/ 157 w 267"/>
                    <a:gd name="T13" fmla="*/ 12 h 155"/>
                    <a:gd name="T14" fmla="*/ 118 w 267"/>
                    <a:gd name="T15" fmla="*/ 23 h 155"/>
                    <a:gd name="T16" fmla="*/ 92 w 267"/>
                    <a:gd name="T17" fmla="*/ 17 h 155"/>
                    <a:gd name="T18" fmla="*/ 62 w 267"/>
                    <a:gd name="T19" fmla="*/ 21 h 155"/>
                    <a:gd name="T20" fmla="*/ 39 w 267"/>
                    <a:gd name="T21" fmla="*/ 21 h 155"/>
                    <a:gd name="T22" fmla="*/ 29 w 267"/>
                    <a:gd name="T23" fmla="*/ 5 h 155"/>
                    <a:gd name="T24" fmla="*/ 10 w 267"/>
                    <a:gd name="T25" fmla="*/ 0 h 155"/>
                    <a:gd name="T26" fmla="*/ 0 w 267"/>
                    <a:gd name="T27" fmla="*/ 16 h 155"/>
                    <a:gd name="T28" fmla="*/ 12 w 267"/>
                    <a:gd name="T29" fmla="*/ 33 h 155"/>
                    <a:gd name="T30" fmla="*/ 23 w 267"/>
                    <a:gd name="T31" fmla="*/ 47 h 155"/>
                    <a:gd name="T32" fmla="*/ 20 w 267"/>
                    <a:gd name="T33" fmla="*/ 68 h 155"/>
                    <a:gd name="T34" fmla="*/ 8 w 267"/>
                    <a:gd name="T35" fmla="*/ 80 h 155"/>
                    <a:gd name="T36" fmla="*/ 2 w 267"/>
                    <a:gd name="T37" fmla="*/ 95 h 155"/>
                    <a:gd name="T38" fmla="*/ 8 w 267"/>
                    <a:gd name="T39" fmla="*/ 104 h 155"/>
                    <a:gd name="T40" fmla="*/ 13 w 267"/>
                    <a:gd name="T41" fmla="*/ 112 h 155"/>
                    <a:gd name="T42" fmla="*/ 33 w 267"/>
                    <a:gd name="T43" fmla="*/ 139 h 155"/>
                    <a:gd name="T44" fmla="*/ 41 w 267"/>
                    <a:gd name="T45" fmla="*/ 154 h 155"/>
                    <a:gd name="T46" fmla="*/ 73 w 267"/>
                    <a:gd name="T47" fmla="*/ 150 h 155"/>
                    <a:gd name="T48" fmla="*/ 97 w 267"/>
                    <a:gd name="T49" fmla="*/ 135 h 155"/>
                    <a:gd name="T50" fmla="*/ 123 w 267"/>
                    <a:gd name="T51" fmla="*/ 146 h 155"/>
                    <a:gd name="T52" fmla="*/ 145 w 267"/>
                    <a:gd name="T53" fmla="*/ 146 h 155"/>
                    <a:gd name="T54" fmla="*/ 171 w 267"/>
                    <a:gd name="T55" fmla="*/ 148 h 155"/>
                    <a:gd name="T56" fmla="*/ 179 w 267"/>
                    <a:gd name="T57" fmla="*/ 129 h 155"/>
                    <a:gd name="T58" fmla="*/ 208 w 267"/>
                    <a:gd name="T59" fmla="*/ 116 h 155"/>
                    <a:gd name="T60" fmla="*/ 226 w 267"/>
                    <a:gd name="T61" fmla="*/ 119 h 155"/>
                    <a:gd name="T62" fmla="*/ 248 w 267"/>
                    <a:gd name="T63" fmla="*/ 115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67" h="155">
                      <a:moveTo>
                        <a:pt x="248" y="115"/>
                      </a:moveTo>
                      <a:cubicBezTo>
                        <a:pt x="225" y="87"/>
                        <a:pt x="225" y="87"/>
                        <a:pt x="225" y="87"/>
                      </a:cubicBezTo>
                      <a:cubicBezTo>
                        <a:pt x="225" y="87"/>
                        <a:pt x="235" y="82"/>
                        <a:pt x="239" y="75"/>
                      </a:cubicBezTo>
                      <a:cubicBezTo>
                        <a:pt x="243" y="68"/>
                        <a:pt x="232" y="54"/>
                        <a:pt x="241" y="47"/>
                      </a:cubicBezTo>
                      <a:cubicBezTo>
                        <a:pt x="250" y="40"/>
                        <a:pt x="267" y="44"/>
                        <a:pt x="267" y="44"/>
                      </a:cubicBezTo>
                      <a:cubicBezTo>
                        <a:pt x="267" y="44"/>
                        <a:pt x="265" y="35"/>
                        <a:pt x="264" y="23"/>
                      </a:cubicBezTo>
                      <a:cubicBezTo>
                        <a:pt x="257" y="24"/>
                        <a:pt x="248" y="24"/>
                        <a:pt x="245" y="22"/>
                      </a:cubicBezTo>
                      <a:cubicBezTo>
                        <a:pt x="240" y="19"/>
                        <a:pt x="237" y="12"/>
                        <a:pt x="237" y="12"/>
                      </a:cubicBezTo>
                      <a:cubicBezTo>
                        <a:pt x="237" y="12"/>
                        <a:pt x="228" y="10"/>
                        <a:pt x="219" y="10"/>
                      </a:cubicBezTo>
                      <a:cubicBezTo>
                        <a:pt x="210" y="10"/>
                        <a:pt x="203" y="2"/>
                        <a:pt x="194" y="2"/>
                      </a:cubicBezTo>
                      <a:cubicBezTo>
                        <a:pt x="185" y="2"/>
                        <a:pt x="188" y="8"/>
                        <a:pt x="188" y="8"/>
                      </a:cubicBezTo>
                      <a:cubicBezTo>
                        <a:pt x="169" y="6"/>
                        <a:pt x="169" y="6"/>
                        <a:pt x="169" y="6"/>
                      </a:cubicBezTo>
                      <a:cubicBezTo>
                        <a:pt x="170" y="11"/>
                        <a:pt x="170" y="11"/>
                        <a:pt x="170" y="11"/>
                      </a:cubicBezTo>
                      <a:cubicBezTo>
                        <a:pt x="170" y="11"/>
                        <a:pt x="164" y="10"/>
                        <a:pt x="157" y="12"/>
                      </a:cubicBezTo>
                      <a:cubicBezTo>
                        <a:pt x="150" y="14"/>
                        <a:pt x="151" y="30"/>
                        <a:pt x="140" y="29"/>
                      </a:cubicBezTo>
                      <a:cubicBezTo>
                        <a:pt x="129" y="28"/>
                        <a:pt x="118" y="23"/>
                        <a:pt x="118" y="23"/>
                      </a:cubicBezTo>
                      <a:cubicBezTo>
                        <a:pt x="105" y="22"/>
                        <a:pt x="105" y="22"/>
                        <a:pt x="105" y="22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92" y="17"/>
                        <a:pt x="97" y="26"/>
                        <a:pt x="84" y="26"/>
                      </a:cubicBezTo>
                      <a:cubicBezTo>
                        <a:pt x="71" y="26"/>
                        <a:pt x="62" y="21"/>
                        <a:pt x="62" y="21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39" y="21"/>
                        <a:pt x="39" y="21"/>
                        <a:pt x="39" y="21"/>
                      </a:cubicBezTo>
                      <a:cubicBezTo>
                        <a:pt x="39" y="21"/>
                        <a:pt x="22" y="22"/>
                        <a:pt x="22" y="18"/>
                      </a:cubicBezTo>
                      <a:cubicBezTo>
                        <a:pt x="22" y="14"/>
                        <a:pt x="31" y="9"/>
                        <a:pt x="29" y="5"/>
                      </a:cubicBezTo>
                      <a:cubicBezTo>
                        <a:pt x="27" y="1"/>
                        <a:pt x="17" y="1"/>
                        <a:pt x="17" y="1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9" y="8"/>
                        <a:pt x="9" y="8"/>
                        <a:pt x="9" y="8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3" y="28"/>
                        <a:pt x="3" y="28"/>
                        <a:pt x="3" y="28"/>
                      </a:cubicBezTo>
                      <a:cubicBezTo>
                        <a:pt x="12" y="33"/>
                        <a:pt x="12" y="33"/>
                        <a:pt x="12" y="33"/>
                      </a:cubicBezTo>
                      <a:cubicBezTo>
                        <a:pt x="10" y="40"/>
                        <a:pt x="10" y="40"/>
                        <a:pt x="10" y="40"/>
                      </a:cubicBezTo>
                      <a:cubicBezTo>
                        <a:pt x="23" y="47"/>
                        <a:pt x="23" y="47"/>
                        <a:pt x="23" y="47"/>
                      </a:cubicBezTo>
                      <a:cubicBezTo>
                        <a:pt x="23" y="47"/>
                        <a:pt x="28" y="53"/>
                        <a:pt x="26" y="57"/>
                      </a:cubicBezTo>
                      <a:cubicBezTo>
                        <a:pt x="24" y="61"/>
                        <a:pt x="20" y="68"/>
                        <a:pt x="20" y="68"/>
                      </a:cubicBezTo>
                      <a:cubicBezTo>
                        <a:pt x="20" y="68"/>
                        <a:pt x="9" y="65"/>
                        <a:pt x="7" y="69"/>
                      </a:cubicBezTo>
                      <a:cubicBezTo>
                        <a:pt x="5" y="73"/>
                        <a:pt x="8" y="80"/>
                        <a:pt x="8" y="80"/>
                      </a:cubicBezTo>
                      <a:cubicBezTo>
                        <a:pt x="8" y="80"/>
                        <a:pt x="11" y="88"/>
                        <a:pt x="10" y="91"/>
                      </a:cubicBezTo>
                      <a:cubicBezTo>
                        <a:pt x="9" y="93"/>
                        <a:pt x="5" y="94"/>
                        <a:pt x="2" y="95"/>
                      </a:cubicBezTo>
                      <a:cubicBezTo>
                        <a:pt x="2" y="95"/>
                        <a:pt x="2" y="95"/>
                        <a:pt x="2" y="95"/>
                      </a:cubicBezTo>
                      <a:cubicBezTo>
                        <a:pt x="8" y="104"/>
                        <a:pt x="8" y="104"/>
                        <a:pt x="8" y="104"/>
                      </a:cubicBezTo>
                      <a:cubicBezTo>
                        <a:pt x="13" y="104"/>
                        <a:pt x="13" y="104"/>
                        <a:pt x="13" y="104"/>
                      </a:cubicBezTo>
                      <a:cubicBezTo>
                        <a:pt x="13" y="112"/>
                        <a:pt x="13" y="112"/>
                        <a:pt x="13" y="112"/>
                      </a:cubicBezTo>
                      <a:cubicBezTo>
                        <a:pt x="25" y="121"/>
                        <a:pt x="25" y="121"/>
                        <a:pt x="25" y="121"/>
                      </a:cubicBezTo>
                      <a:cubicBezTo>
                        <a:pt x="25" y="121"/>
                        <a:pt x="36" y="128"/>
                        <a:pt x="33" y="139"/>
                      </a:cubicBezTo>
                      <a:cubicBezTo>
                        <a:pt x="32" y="142"/>
                        <a:pt x="31" y="145"/>
                        <a:pt x="29" y="147"/>
                      </a:cubicBezTo>
                      <a:cubicBezTo>
                        <a:pt x="32" y="150"/>
                        <a:pt x="36" y="154"/>
                        <a:pt x="41" y="154"/>
                      </a:cubicBezTo>
                      <a:cubicBezTo>
                        <a:pt x="49" y="154"/>
                        <a:pt x="59" y="144"/>
                        <a:pt x="59" y="144"/>
                      </a:cubicBezTo>
                      <a:cubicBezTo>
                        <a:pt x="73" y="150"/>
                        <a:pt x="73" y="150"/>
                        <a:pt x="73" y="150"/>
                      </a:cubicBezTo>
                      <a:cubicBezTo>
                        <a:pt x="79" y="138"/>
                        <a:pt x="79" y="138"/>
                        <a:pt x="79" y="138"/>
                      </a:cubicBezTo>
                      <a:cubicBezTo>
                        <a:pt x="97" y="135"/>
                        <a:pt x="97" y="135"/>
                        <a:pt x="97" y="135"/>
                      </a:cubicBezTo>
                      <a:cubicBezTo>
                        <a:pt x="97" y="135"/>
                        <a:pt x="101" y="149"/>
                        <a:pt x="109" y="149"/>
                      </a:cubicBezTo>
                      <a:cubicBezTo>
                        <a:pt x="117" y="149"/>
                        <a:pt x="123" y="146"/>
                        <a:pt x="123" y="146"/>
                      </a:cubicBezTo>
                      <a:cubicBezTo>
                        <a:pt x="123" y="146"/>
                        <a:pt x="124" y="155"/>
                        <a:pt x="132" y="154"/>
                      </a:cubicBezTo>
                      <a:cubicBezTo>
                        <a:pt x="140" y="153"/>
                        <a:pt x="145" y="146"/>
                        <a:pt x="145" y="146"/>
                      </a:cubicBezTo>
                      <a:cubicBezTo>
                        <a:pt x="155" y="154"/>
                        <a:pt x="155" y="154"/>
                        <a:pt x="155" y="154"/>
                      </a:cubicBezTo>
                      <a:cubicBezTo>
                        <a:pt x="155" y="154"/>
                        <a:pt x="169" y="153"/>
                        <a:pt x="171" y="148"/>
                      </a:cubicBezTo>
                      <a:cubicBezTo>
                        <a:pt x="173" y="143"/>
                        <a:pt x="167" y="135"/>
                        <a:pt x="167" y="135"/>
                      </a:cubicBezTo>
                      <a:cubicBezTo>
                        <a:pt x="179" y="129"/>
                        <a:pt x="179" y="129"/>
                        <a:pt x="179" y="129"/>
                      </a:cubicBezTo>
                      <a:cubicBezTo>
                        <a:pt x="188" y="114"/>
                        <a:pt x="188" y="114"/>
                        <a:pt x="188" y="114"/>
                      </a:cubicBezTo>
                      <a:cubicBezTo>
                        <a:pt x="208" y="116"/>
                        <a:pt x="208" y="116"/>
                        <a:pt x="208" y="116"/>
                      </a:cubicBezTo>
                      <a:cubicBezTo>
                        <a:pt x="216" y="106"/>
                        <a:pt x="216" y="106"/>
                        <a:pt x="216" y="106"/>
                      </a:cubicBezTo>
                      <a:cubicBezTo>
                        <a:pt x="226" y="119"/>
                        <a:pt x="226" y="119"/>
                        <a:pt x="226" y="119"/>
                      </a:cubicBezTo>
                      <a:cubicBezTo>
                        <a:pt x="226" y="119"/>
                        <a:pt x="240" y="121"/>
                        <a:pt x="249" y="120"/>
                      </a:cubicBezTo>
                      <a:cubicBezTo>
                        <a:pt x="248" y="117"/>
                        <a:pt x="248" y="115"/>
                        <a:pt x="248" y="115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6" name="Belgium">
                  <a:extLst>
                    <a:ext uri="{FF2B5EF4-FFF2-40B4-BE49-F238E27FC236}">
                      <a16:creationId xmlns:a16="http://schemas.microsoft.com/office/drawing/2014/main" id="{5363E8D9-32B4-B522-E457-2E2C09D1187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13051" y="2542806"/>
                  <a:ext cx="84152" cy="57124"/>
                </a:xfrm>
                <a:custGeom>
                  <a:avLst/>
                  <a:gdLst>
                    <a:gd name="T0" fmla="*/ 0 w 149"/>
                    <a:gd name="T1" fmla="*/ 29 h 102"/>
                    <a:gd name="T2" fmla="*/ 6 w 149"/>
                    <a:gd name="T3" fmla="*/ 43 h 102"/>
                    <a:gd name="T4" fmla="*/ 22 w 149"/>
                    <a:gd name="T5" fmla="*/ 47 h 102"/>
                    <a:gd name="T6" fmla="*/ 29 w 149"/>
                    <a:gd name="T7" fmla="*/ 54 h 102"/>
                    <a:gd name="T8" fmla="*/ 52 w 149"/>
                    <a:gd name="T9" fmla="*/ 59 h 102"/>
                    <a:gd name="T10" fmla="*/ 57 w 149"/>
                    <a:gd name="T11" fmla="*/ 78 h 102"/>
                    <a:gd name="T12" fmla="*/ 72 w 149"/>
                    <a:gd name="T13" fmla="*/ 78 h 102"/>
                    <a:gd name="T14" fmla="*/ 82 w 149"/>
                    <a:gd name="T15" fmla="*/ 71 h 102"/>
                    <a:gd name="T16" fmla="*/ 82 w 149"/>
                    <a:gd name="T17" fmla="*/ 87 h 102"/>
                    <a:gd name="T18" fmla="*/ 106 w 149"/>
                    <a:gd name="T19" fmla="*/ 94 h 102"/>
                    <a:gd name="T20" fmla="*/ 109 w 149"/>
                    <a:gd name="T21" fmla="*/ 98 h 102"/>
                    <a:gd name="T22" fmla="*/ 123 w 149"/>
                    <a:gd name="T23" fmla="*/ 98 h 102"/>
                    <a:gd name="T24" fmla="*/ 128 w 149"/>
                    <a:gd name="T25" fmla="*/ 102 h 102"/>
                    <a:gd name="T26" fmla="*/ 131 w 149"/>
                    <a:gd name="T27" fmla="*/ 100 h 102"/>
                    <a:gd name="T28" fmla="*/ 120 w 149"/>
                    <a:gd name="T29" fmla="*/ 86 h 102"/>
                    <a:gd name="T30" fmla="*/ 130 w 149"/>
                    <a:gd name="T31" fmla="*/ 72 h 102"/>
                    <a:gd name="T32" fmla="*/ 138 w 149"/>
                    <a:gd name="T33" fmla="*/ 68 h 102"/>
                    <a:gd name="T34" fmla="*/ 138 w 149"/>
                    <a:gd name="T35" fmla="*/ 68 h 102"/>
                    <a:gd name="T36" fmla="*/ 140 w 149"/>
                    <a:gd name="T37" fmla="*/ 62 h 102"/>
                    <a:gd name="T38" fmla="*/ 149 w 149"/>
                    <a:gd name="T39" fmla="*/ 61 h 102"/>
                    <a:gd name="T40" fmla="*/ 146 w 149"/>
                    <a:gd name="T41" fmla="*/ 48 h 102"/>
                    <a:gd name="T42" fmla="*/ 136 w 149"/>
                    <a:gd name="T43" fmla="*/ 39 h 102"/>
                    <a:gd name="T44" fmla="*/ 131 w 149"/>
                    <a:gd name="T45" fmla="*/ 38 h 102"/>
                    <a:gd name="T46" fmla="*/ 120 w 149"/>
                    <a:gd name="T47" fmla="*/ 38 h 102"/>
                    <a:gd name="T48" fmla="*/ 122 w 149"/>
                    <a:gd name="T49" fmla="*/ 28 h 102"/>
                    <a:gd name="T50" fmla="*/ 127 w 149"/>
                    <a:gd name="T51" fmla="*/ 19 h 102"/>
                    <a:gd name="T52" fmla="*/ 116 w 149"/>
                    <a:gd name="T53" fmla="*/ 12 h 102"/>
                    <a:gd name="T54" fmla="*/ 102 w 149"/>
                    <a:gd name="T55" fmla="*/ 12 h 102"/>
                    <a:gd name="T56" fmla="*/ 98 w 149"/>
                    <a:gd name="T57" fmla="*/ 2 h 102"/>
                    <a:gd name="T58" fmla="*/ 79 w 149"/>
                    <a:gd name="T59" fmla="*/ 2 h 102"/>
                    <a:gd name="T60" fmla="*/ 73 w 149"/>
                    <a:gd name="T61" fmla="*/ 6 h 102"/>
                    <a:gd name="T62" fmla="*/ 64 w 149"/>
                    <a:gd name="T63" fmla="*/ 4 h 102"/>
                    <a:gd name="T64" fmla="*/ 64 w 149"/>
                    <a:gd name="T65" fmla="*/ 10 h 102"/>
                    <a:gd name="T66" fmla="*/ 54 w 149"/>
                    <a:gd name="T67" fmla="*/ 8 h 102"/>
                    <a:gd name="T68" fmla="*/ 51 w 149"/>
                    <a:gd name="T69" fmla="*/ 15 h 102"/>
                    <a:gd name="T70" fmla="*/ 42 w 149"/>
                    <a:gd name="T71" fmla="*/ 10 h 102"/>
                    <a:gd name="T72" fmla="*/ 30 w 149"/>
                    <a:gd name="T73" fmla="*/ 12 h 102"/>
                    <a:gd name="T74" fmla="*/ 26 w 149"/>
                    <a:gd name="T75" fmla="*/ 6 h 102"/>
                    <a:gd name="T76" fmla="*/ 18 w 149"/>
                    <a:gd name="T77" fmla="*/ 8 h 102"/>
                    <a:gd name="T78" fmla="*/ 17 w 149"/>
                    <a:gd name="T79" fmla="*/ 6 h 102"/>
                    <a:gd name="T80" fmla="*/ 1 w 149"/>
                    <a:gd name="T81" fmla="*/ 20 h 102"/>
                    <a:gd name="T82" fmla="*/ 0 w 149"/>
                    <a:gd name="T83" fmla="*/ 29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49" h="102">
                      <a:moveTo>
                        <a:pt x="0" y="29"/>
                      </a:moveTo>
                      <a:cubicBezTo>
                        <a:pt x="6" y="43"/>
                        <a:pt x="6" y="43"/>
                        <a:pt x="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9" y="54"/>
                        <a:pt x="29" y="54"/>
                        <a:pt x="29" y="54"/>
                      </a:cubicBezTo>
                      <a:cubicBezTo>
                        <a:pt x="29" y="54"/>
                        <a:pt x="47" y="56"/>
                        <a:pt x="52" y="59"/>
                      </a:cubicBezTo>
                      <a:cubicBezTo>
                        <a:pt x="57" y="62"/>
                        <a:pt x="57" y="78"/>
                        <a:pt x="57" y="78"/>
                      </a:cubicBezTo>
                      <a:cubicBezTo>
                        <a:pt x="72" y="78"/>
                        <a:pt x="72" y="78"/>
                        <a:pt x="72" y="78"/>
                      </a:cubicBezTo>
                      <a:cubicBezTo>
                        <a:pt x="82" y="71"/>
                        <a:pt x="82" y="71"/>
                        <a:pt x="82" y="71"/>
                      </a:cubicBezTo>
                      <a:cubicBezTo>
                        <a:pt x="82" y="87"/>
                        <a:pt x="82" y="87"/>
                        <a:pt x="82" y="87"/>
                      </a:cubicBezTo>
                      <a:cubicBezTo>
                        <a:pt x="82" y="87"/>
                        <a:pt x="104" y="91"/>
                        <a:pt x="106" y="94"/>
                      </a:cubicBezTo>
                      <a:cubicBezTo>
                        <a:pt x="108" y="97"/>
                        <a:pt x="109" y="98"/>
                        <a:pt x="109" y="98"/>
                      </a:cubicBezTo>
                      <a:cubicBezTo>
                        <a:pt x="123" y="98"/>
                        <a:pt x="123" y="98"/>
                        <a:pt x="123" y="98"/>
                      </a:cubicBezTo>
                      <a:cubicBezTo>
                        <a:pt x="128" y="102"/>
                        <a:pt x="128" y="102"/>
                        <a:pt x="128" y="102"/>
                      </a:cubicBezTo>
                      <a:cubicBezTo>
                        <a:pt x="131" y="100"/>
                        <a:pt x="131" y="100"/>
                        <a:pt x="131" y="100"/>
                      </a:cubicBezTo>
                      <a:cubicBezTo>
                        <a:pt x="127" y="95"/>
                        <a:pt x="121" y="88"/>
                        <a:pt x="120" y="86"/>
                      </a:cubicBezTo>
                      <a:cubicBezTo>
                        <a:pt x="118" y="84"/>
                        <a:pt x="119" y="78"/>
                        <a:pt x="130" y="72"/>
                      </a:cubicBezTo>
                      <a:cubicBezTo>
                        <a:pt x="134" y="70"/>
                        <a:pt x="137" y="69"/>
                        <a:pt x="138" y="68"/>
                      </a:cubicBezTo>
                      <a:cubicBezTo>
                        <a:pt x="138" y="68"/>
                        <a:pt x="138" y="68"/>
                        <a:pt x="138" y="68"/>
                      </a:cubicBezTo>
                      <a:cubicBezTo>
                        <a:pt x="139" y="65"/>
                        <a:pt x="140" y="62"/>
                        <a:pt x="140" y="62"/>
                      </a:cubicBezTo>
                      <a:cubicBezTo>
                        <a:pt x="149" y="61"/>
                        <a:pt x="149" y="61"/>
                        <a:pt x="149" y="61"/>
                      </a:cubicBezTo>
                      <a:cubicBezTo>
                        <a:pt x="149" y="61"/>
                        <a:pt x="146" y="54"/>
                        <a:pt x="146" y="48"/>
                      </a:cubicBezTo>
                      <a:cubicBezTo>
                        <a:pt x="145" y="42"/>
                        <a:pt x="136" y="39"/>
                        <a:pt x="136" y="39"/>
                      </a:cubicBezTo>
                      <a:cubicBezTo>
                        <a:pt x="131" y="38"/>
                        <a:pt x="131" y="38"/>
                        <a:pt x="131" y="38"/>
                      </a:cubicBezTo>
                      <a:cubicBezTo>
                        <a:pt x="131" y="38"/>
                        <a:pt x="122" y="43"/>
                        <a:pt x="120" y="38"/>
                      </a:cubicBezTo>
                      <a:cubicBezTo>
                        <a:pt x="118" y="32"/>
                        <a:pt x="122" y="28"/>
                        <a:pt x="122" y="28"/>
                      </a:cubicBezTo>
                      <a:cubicBezTo>
                        <a:pt x="122" y="28"/>
                        <a:pt x="128" y="28"/>
                        <a:pt x="127" y="19"/>
                      </a:cubicBezTo>
                      <a:cubicBezTo>
                        <a:pt x="126" y="10"/>
                        <a:pt x="116" y="12"/>
                        <a:pt x="116" y="12"/>
                      </a:cubicBezTo>
                      <a:cubicBezTo>
                        <a:pt x="116" y="12"/>
                        <a:pt x="104" y="16"/>
                        <a:pt x="102" y="12"/>
                      </a:cubicBezTo>
                      <a:cubicBezTo>
                        <a:pt x="99" y="8"/>
                        <a:pt x="98" y="2"/>
                        <a:pt x="98" y="2"/>
                      </a:cubicBezTo>
                      <a:cubicBezTo>
                        <a:pt x="98" y="2"/>
                        <a:pt x="84" y="0"/>
                        <a:pt x="79" y="2"/>
                      </a:cubicBezTo>
                      <a:cubicBezTo>
                        <a:pt x="74" y="3"/>
                        <a:pt x="73" y="6"/>
                        <a:pt x="73" y="6"/>
                      </a:cubicBezTo>
                      <a:cubicBezTo>
                        <a:pt x="64" y="4"/>
                        <a:pt x="64" y="4"/>
                        <a:pt x="64" y="4"/>
                      </a:cubicBezTo>
                      <a:cubicBezTo>
                        <a:pt x="64" y="10"/>
                        <a:pt x="64" y="10"/>
                        <a:pt x="64" y="10"/>
                      </a:cubicBez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1" y="15"/>
                        <a:pt x="51" y="15"/>
                        <a:pt x="51" y="15"/>
                      </a:cubicBezTo>
                      <a:cubicBezTo>
                        <a:pt x="51" y="15"/>
                        <a:pt x="47" y="10"/>
                        <a:pt x="42" y="10"/>
                      </a:cubicBezTo>
                      <a:cubicBezTo>
                        <a:pt x="38" y="11"/>
                        <a:pt x="30" y="12"/>
                        <a:pt x="30" y="12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6"/>
                        <a:pt x="17" y="6"/>
                        <a:pt x="17" y="6"/>
                      </a:cubicBezTo>
                      <a:cubicBezTo>
                        <a:pt x="1" y="20"/>
                        <a:pt x="1" y="20"/>
                        <a:pt x="1" y="20"/>
                      </a:cubicBezTo>
                      <a:lnTo>
                        <a:pt x="0" y="29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7" name="Belarus">
                  <a:extLst>
                    <a:ext uri="{FF2B5EF4-FFF2-40B4-BE49-F238E27FC236}">
                      <a16:creationId xmlns:a16="http://schemas.microsoft.com/office/drawing/2014/main" id="{B16A63A5-DA40-49B9-1611-1922B3894A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176682" y="2409517"/>
                  <a:ext cx="214349" cy="139635"/>
                </a:xfrm>
                <a:custGeom>
                  <a:avLst/>
                  <a:gdLst>
                    <a:gd name="T0" fmla="*/ 19 w 382"/>
                    <a:gd name="T1" fmla="*/ 225 h 250"/>
                    <a:gd name="T2" fmla="*/ 42 w 382"/>
                    <a:gd name="T3" fmla="*/ 236 h 250"/>
                    <a:gd name="T4" fmla="*/ 77 w 382"/>
                    <a:gd name="T5" fmla="*/ 221 h 250"/>
                    <a:gd name="T6" fmla="*/ 121 w 382"/>
                    <a:gd name="T7" fmla="*/ 214 h 250"/>
                    <a:gd name="T8" fmla="*/ 146 w 382"/>
                    <a:gd name="T9" fmla="*/ 222 h 250"/>
                    <a:gd name="T10" fmla="*/ 176 w 382"/>
                    <a:gd name="T11" fmla="*/ 234 h 250"/>
                    <a:gd name="T12" fmla="*/ 193 w 382"/>
                    <a:gd name="T13" fmla="*/ 239 h 250"/>
                    <a:gd name="T14" fmla="*/ 205 w 382"/>
                    <a:gd name="T15" fmla="*/ 237 h 250"/>
                    <a:gd name="T16" fmla="*/ 221 w 382"/>
                    <a:gd name="T17" fmla="*/ 240 h 250"/>
                    <a:gd name="T18" fmla="*/ 236 w 382"/>
                    <a:gd name="T19" fmla="*/ 242 h 250"/>
                    <a:gd name="T20" fmla="*/ 259 w 382"/>
                    <a:gd name="T21" fmla="*/ 245 h 250"/>
                    <a:gd name="T22" fmla="*/ 301 w 382"/>
                    <a:gd name="T23" fmla="*/ 247 h 250"/>
                    <a:gd name="T24" fmla="*/ 323 w 382"/>
                    <a:gd name="T25" fmla="*/ 206 h 250"/>
                    <a:gd name="T26" fmla="*/ 344 w 382"/>
                    <a:gd name="T27" fmla="*/ 191 h 250"/>
                    <a:gd name="T28" fmla="*/ 328 w 382"/>
                    <a:gd name="T29" fmla="*/ 151 h 250"/>
                    <a:gd name="T30" fmla="*/ 365 w 382"/>
                    <a:gd name="T31" fmla="*/ 155 h 250"/>
                    <a:gd name="T32" fmla="*/ 368 w 382"/>
                    <a:gd name="T33" fmla="*/ 131 h 250"/>
                    <a:gd name="T34" fmla="*/ 340 w 382"/>
                    <a:gd name="T35" fmla="*/ 118 h 250"/>
                    <a:gd name="T36" fmla="*/ 318 w 382"/>
                    <a:gd name="T37" fmla="*/ 96 h 250"/>
                    <a:gd name="T38" fmla="*/ 294 w 382"/>
                    <a:gd name="T39" fmla="*/ 66 h 250"/>
                    <a:gd name="T40" fmla="*/ 290 w 382"/>
                    <a:gd name="T41" fmla="*/ 44 h 250"/>
                    <a:gd name="T42" fmla="*/ 260 w 382"/>
                    <a:gd name="T43" fmla="*/ 9 h 250"/>
                    <a:gd name="T44" fmla="*/ 236 w 382"/>
                    <a:gd name="T45" fmla="*/ 11 h 250"/>
                    <a:gd name="T46" fmla="*/ 204 w 382"/>
                    <a:gd name="T47" fmla="*/ 11 h 250"/>
                    <a:gd name="T48" fmla="*/ 176 w 382"/>
                    <a:gd name="T49" fmla="*/ 0 h 250"/>
                    <a:gd name="T50" fmla="*/ 157 w 382"/>
                    <a:gd name="T51" fmla="*/ 19 h 250"/>
                    <a:gd name="T52" fmla="*/ 119 w 382"/>
                    <a:gd name="T53" fmla="*/ 31 h 250"/>
                    <a:gd name="T54" fmla="*/ 120 w 382"/>
                    <a:gd name="T55" fmla="*/ 52 h 250"/>
                    <a:gd name="T56" fmla="*/ 111 w 382"/>
                    <a:gd name="T57" fmla="*/ 60 h 250"/>
                    <a:gd name="T58" fmla="*/ 98 w 382"/>
                    <a:gd name="T59" fmla="*/ 77 h 250"/>
                    <a:gd name="T60" fmla="*/ 96 w 382"/>
                    <a:gd name="T61" fmla="*/ 104 h 250"/>
                    <a:gd name="T62" fmla="*/ 72 w 382"/>
                    <a:gd name="T63" fmla="*/ 103 h 250"/>
                    <a:gd name="T64" fmla="*/ 60 w 382"/>
                    <a:gd name="T65" fmla="*/ 103 h 250"/>
                    <a:gd name="T66" fmla="*/ 40 w 382"/>
                    <a:gd name="T67" fmla="*/ 113 h 250"/>
                    <a:gd name="T68" fmla="*/ 6 w 382"/>
                    <a:gd name="T69" fmla="*/ 113 h 250"/>
                    <a:gd name="T70" fmla="*/ 25 w 382"/>
                    <a:gd name="T71" fmla="*/ 145 h 250"/>
                    <a:gd name="T72" fmla="*/ 27 w 382"/>
                    <a:gd name="T73" fmla="*/ 173 h 250"/>
                    <a:gd name="T74" fmla="*/ 12 w 382"/>
                    <a:gd name="T75" fmla="*/ 190 h 250"/>
                    <a:gd name="T76" fmla="*/ 20 w 382"/>
                    <a:gd name="T77" fmla="*/ 207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82" h="250">
                      <a:moveTo>
                        <a:pt x="20" y="207"/>
                      </a:moveTo>
                      <a:cubicBezTo>
                        <a:pt x="22" y="211"/>
                        <a:pt x="19" y="225"/>
                        <a:pt x="19" y="225"/>
                      </a:cubicBezTo>
                      <a:cubicBezTo>
                        <a:pt x="22" y="234"/>
                        <a:pt x="22" y="234"/>
                        <a:pt x="22" y="234"/>
                      </a:cubicBezTo>
                      <a:cubicBezTo>
                        <a:pt x="26" y="236"/>
                        <a:pt x="35" y="240"/>
                        <a:pt x="42" y="236"/>
                      </a:cubicBezTo>
                      <a:cubicBezTo>
                        <a:pt x="50" y="231"/>
                        <a:pt x="51" y="221"/>
                        <a:pt x="51" y="221"/>
                      </a:cubicBezTo>
                      <a:cubicBezTo>
                        <a:pt x="77" y="221"/>
                        <a:pt x="77" y="221"/>
                        <a:pt x="77" y="221"/>
                      </a:cubicBezTo>
                      <a:cubicBezTo>
                        <a:pt x="77" y="221"/>
                        <a:pt x="88" y="215"/>
                        <a:pt x="91" y="214"/>
                      </a:cubicBezTo>
                      <a:cubicBezTo>
                        <a:pt x="94" y="213"/>
                        <a:pt x="121" y="214"/>
                        <a:pt x="121" y="214"/>
                      </a:cubicBezTo>
                      <a:cubicBezTo>
                        <a:pt x="121" y="214"/>
                        <a:pt x="121" y="222"/>
                        <a:pt x="131" y="222"/>
                      </a:cubicBezTo>
                      <a:cubicBezTo>
                        <a:pt x="141" y="222"/>
                        <a:pt x="146" y="222"/>
                        <a:pt x="146" y="222"/>
                      </a:cubicBezTo>
                      <a:cubicBezTo>
                        <a:pt x="165" y="225"/>
                        <a:pt x="165" y="225"/>
                        <a:pt x="165" y="225"/>
                      </a:cubicBezTo>
                      <a:cubicBezTo>
                        <a:pt x="176" y="234"/>
                        <a:pt x="176" y="234"/>
                        <a:pt x="176" y="234"/>
                      </a:cubicBezTo>
                      <a:cubicBezTo>
                        <a:pt x="181" y="231"/>
                        <a:pt x="181" y="231"/>
                        <a:pt x="181" y="231"/>
                      </a:cubicBezTo>
                      <a:cubicBezTo>
                        <a:pt x="193" y="239"/>
                        <a:pt x="193" y="239"/>
                        <a:pt x="193" y="239"/>
                      </a:cubicBezTo>
                      <a:cubicBezTo>
                        <a:pt x="198" y="232"/>
                        <a:pt x="198" y="232"/>
                        <a:pt x="198" y="232"/>
                      </a:cubicBezTo>
                      <a:cubicBezTo>
                        <a:pt x="205" y="237"/>
                        <a:pt x="205" y="237"/>
                        <a:pt x="205" y="237"/>
                      </a:cubicBezTo>
                      <a:cubicBezTo>
                        <a:pt x="215" y="235"/>
                        <a:pt x="215" y="235"/>
                        <a:pt x="215" y="235"/>
                      </a:cubicBezTo>
                      <a:cubicBezTo>
                        <a:pt x="221" y="240"/>
                        <a:pt x="221" y="240"/>
                        <a:pt x="221" y="240"/>
                      </a:cubicBezTo>
                      <a:cubicBezTo>
                        <a:pt x="226" y="234"/>
                        <a:pt x="226" y="234"/>
                        <a:pt x="226" y="234"/>
                      </a:cubicBezTo>
                      <a:cubicBezTo>
                        <a:pt x="236" y="242"/>
                        <a:pt x="236" y="242"/>
                        <a:pt x="236" y="242"/>
                      </a:cubicBezTo>
                      <a:cubicBezTo>
                        <a:pt x="236" y="242"/>
                        <a:pt x="235" y="232"/>
                        <a:pt x="247" y="233"/>
                      </a:cubicBezTo>
                      <a:cubicBezTo>
                        <a:pt x="259" y="234"/>
                        <a:pt x="251" y="246"/>
                        <a:pt x="259" y="245"/>
                      </a:cubicBezTo>
                      <a:cubicBezTo>
                        <a:pt x="267" y="244"/>
                        <a:pt x="278" y="241"/>
                        <a:pt x="278" y="241"/>
                      </a:cubicBezTo>
                      <a:cubicBezTo>
                        <a:pt x="278" y="241"/>
                        <a:pt x="292" y="250"/>
                        <a:pt x="301" y="247"/>
                      </a:cubicBezTo>
                      <a:cubicBezTo>
                        <a:pt x="310" y="244"/>
                        <a:pt x="300" y="231"/>
                        <a:pt x="300" y="231"/>
                      </a:cubicBezTo>
                      <a:cubicBezTo>
                        <a:pt x="300" y="231"/>
                        <a:pt x="316" y="206"/>
                        <a:pt x="323" y="206"/>
                      </a:cubicBezTo>
                      <a:cubicBezTo>
                        <a:pt x="326" y="206"/>
                        <a:pt x="336" y="208"/>
                        <a:pt x="347" y="209"/>
                      </a:cubicBezTo>
                      <a:cubicBezTo>
                        <a:pt x="346" y="201"/>
                        <a:pt x="346" y="191"/>
                        <a:pt x="344" y="191"/>
                      </a:cubicBezTo>
                      <a:cubicBezTo>
                        <a:pt x="341" y="190"/>
                        <a:pt x="341" y="176"/>
                        <a:pt x="341" y="176"/>
                      </a:cubicBezTo>
                      <a:cubicBezTo>
                        <a:pt x="341" y="176"/>
                        <a:pt x="314" y="154"/>
                        <a:pt x="328" y="151"/>
                      </a:cubicBezTo>
                      <a:cubicBezTo>
                        <a:pt x="342" y="148"/>
                        <a:pt x="344" y="154"/>
                        <a:pt x="344" y="154"/>
                      </a:cubicBezTo>
                      <a:cubicBezTo>
                        <a:pt x="344" y="154"/>
                        <a:pt x="357" y="162"/>
                        <a:pt x="365" y="155"/>
                      </a:cubicBezTo>
                      <a:cubicBezTo>
                        <a:pt x="373" y="148"/>
                        <a:pt x="382" y="139"/>
                        <a:pt x="382" y="139"/>
                      </a:cubicBezTo>
                      <a:cubicBezTo>
                        <a:pt x="368" y="131"/>
                        <a:pt x="368" y="131"/>
                        <a:pt x="368" y="131"/>
                      </a:cubicBezTo>
                      <a:cubicBezTo>
                        <a:pt x="368" y="131"/>
                        <a:pt x="376" y="122"/>
                        <a:pt x="363" y="119"/>
                      </a:cubicBezTo>
                      <a:cubicBezTo>
                        <a:pt x="350" y="116"/>
                        <a:pt x="340" y="118"/>
                        <a:pt x="340" y="118"/>
                      </a:cubicBezTo>
                      <a:cubicBezTo>
                        <a:pt x="338" y="103"/>
                        <a:pt x="338" y="103"/>
                        <a:pt x="338" y="103"/>
                      </a:cubicBezTo>
                      <a:cubicBezTo>
                        <a:pt x="318" y="96"/>
                        <a:pt x="318" y="96"/>
                        <a:pt x="318" y="96"/>
                      </a:cubicBezTo>
                      <a:cubicBezTo>
                        <a:pt x="318" y="96"/>
                        <a:pt x="315" y="75"/>
                        <a:pt x="307" y="73"/>
                      </a:cubicBezTo>
                      <a:cubicBezTo>
                        <a:pt x="299" y="71"/>
                        <a:pt x="294" y="66"/>
                        <a:pt x="294" y="66"/>
                      </a:cubicBezTo>
                      <a:cubicBezTo>
                        <a:pt x="298" y="54"/>
                        <a:pt x="298" y="54"/>
                        <a:pt x="298" y="54"/>
                      </a:cubicBezTo>
                      <a:cubicBezTo>
                        <a:pt x="290" y="44"/>
                        <a:pt x="290" y="44"/>
                        <a:pt x="290" y="44"/>
                      </a:cubicBezTo>
                      <a:cubicBezTo>
                        <a:pt x="290" y="44"/>
                        <a:pt x="304" y="30"/>
                        <a:pt x="293" y="25"/>
                      </a:cubicBezTo>
                      <a:cubicBezTo>
                        <a:pt x="282" y="20"/>
                        <a:pt x="260" y="9"/>
                        <a:pt x="260" y="9"/>
                      </a:cubicBezTo>
                      <a:cubicBezTo>
                        <a:pt x="238" y="21"/>
                        <a:pt x="238" y="21"/>
                        <a:pt x="238" y="21"/>
                      </a:cubicBezTo>
                      <a:cubicBezTo>
                        <a:pt x="236" y="11"/>
                        <a:pt x="236" y="11"/>
                        <a:pt x="236" y="11"/>
                      </a:cubicBezTo>
                      <a:cubicBezTo>
                        <a:pt x="210" y="5"/>
                        <a:pt x="210" y="5"/>
                        <a:pt x="210" y="5"/>
                      </a:cubicBezTo>
                      <a:cubicBezTo>
                        <a:pt x="204" y="11"/>
                        <a:pt x="204" y="11"/>
                        <a:pt x="204" y="11"/>
                      </a:cubicBezTo>
                      <a:cubicBezTo>
                        <a:pt x="204" y="11"/>
                        <a:pt x="203" y="4"/>
                        <a:pt x="195" y="3"/>
                      </a:cubicBezTo>
                      <a:cubicBezTo>
                        <a:pt x="187" y="2"/>
                        <a:pt x="176" y="0"/>
                        <a:pt x="176" y="0"/>
                      </a:cubicBezTo>
                      <a:cubicBezTo>
                        <a:pt x="176" y="0"/>
                        <a:pt x="162" y="16"/>
                        <a:pt x="162" y="13"/>
                      </a:cubicBezTo>
                      <a:cubicBezTo>
                        <a:pt x="162" y="10"/>
                        <a:pt x="157" y="19"/>
                        <a:pt x="157" y="19"/>
                      </a:cubicBezTo>
                      <a:cubicBezTo>
                        <a:pt x="157" y="19"/>
                        <a:pt x="146" y="13"/>
                        <a:pt x="141" y="13"/>
                      </a:cubicBezTo>
                      <a:cubicBezTo>
                        <a:pt x="136" y="13"/>
                        <a:pt x="121" y="26"/>
                        <a:pt x="119" y="31"/>
                      </a:cubicBezTo>
                      <a:cubicBezTo>
                        <a:pt x="117" y="36"/>
                        <a:pt x="133" y="46"/>
                        <a:pt x="133" y="46"/>
                      </a:cubicBezTo>
                      <a:cubicBezTo>
                        <a:pt x="133" y="46"/>
                        <a:pt x="126" y="52"/>
                        <a:pt x="120" y="52"/>
                      </a:cubicBezTo>
                      <a:cubicBezTo>
                        <a:pt x="114" y="52"/>
                        <a:pt x="107" y="47"/>
                        <a:pt x="107" y="47"/>
                      </a:cubicBezTo>
                      <a:cubicBezTo>
                        <a:pt x="111" y="60"/>
                        <a:pt x="111" y="60"/>
                        <a:pt x="111" y="60"/>
                      </a:cubicBezTo>
                      <a:cubicBezTo>
                        <a:pt x="111" y="60"/>
                        <a:pt x="98" y="55"/>
                        <a:pt x="96" y="62"/>
                      </a:cubicBezTo>
                      <a:cubicBezTo>
                        <a:pt x="94" y="69"/>
                        <a:pt x="98" y="77"/>
                        <a:pt x="98" y="77"/>
                      </a:cubicBezTo>
                      <a:cubicBezTo>
                        <a:pt x="98" y="77"/>
                        <a:pt x="86" y="76"/>
                        <a:pt x="91" y="84"/>
                      </a:cubicBezTo>
                      <a:cubicBezTo>
                        <a:pt x="96" y="92"/>
                        <a:pt x="103" y="103"/>
                        <a:pt x="96" y="104"/>
                      </a:cubicBezTo>
                      <a:cubicBezTo>
                        <a:pt x="89" y="105"/>
                        <a:pt x="100" y="96"/>
                        <a:pt x="90" y="96"/>
                      </a:cubicBezTo>
                      <a:cubicBezTo>
                        <a:pt x="80" y="96"/>
                        <a:pt x="72" y="103"/>
                        <a:pt x="72" y="103"/>
                      </a:cubicBezTo>
                      <a:cubicBezTo>
                        <a:pt x="68" y="111"/>
                        <a:pt x="68" y="111"/>
                        <a:pt x="68" y="111"/>
                      </a:cubicBezTo>
                      <a:cubicBezTo>
                        <a:pt x="60" y="103"/>
                        <a:pt x="60" y="103"/>
                        <a:pt x="60" y="103"/>
                      </a:cubicBezTo>
                      <a:cubicBezTo>
                        <a:pt x="58" y="113"/>
                        <a:pt x="58" y="113"/>
                        <a:pt x="58" y="113"/>
                      </a:cubicBezTo>
                      <a:cubicBezTo>
                        <a:pt x="40" y="113"/>
                        <a:pt x="40" y="113"/>
                        <a:pt x="40" y="113"/>
                      </a:cubicBezTo>
                      <a:cubicBezTo>
                        <a:pt x="40" y="113"/>
                        <a:pt x="38" y="107"/>
                        <a:pt x="30" y="108"/>
                      </a:cubicBezTo>
                      <a:cubicBezTo>
                        <a:pt x="22" y="109"/>
                        <a:pt x="6" y="113"/>
                        <a:pt x="6" y="113"/>
                      </a:cubicBezTo>
                      <a:cubicBezTo>
                        <a:pt x="6" y="113"/>
                        <a:pt x="14" y="126"/>
                        <a:pt x="14" y="131"/>
                      </a:cubicBezTo>
                      <a:cubicBezTo>
                        <a:pt x="14" y="136"/>
                        <a:pt x="25" y="145"/>
                        <a:pt x="25" y="145"/>
                      </a:cubicBezTo>
                      <a:cubicBezTo>
                        <a:pt x="25" y="145"/>
                        <a:pt x="33" y="157"/>
                        <a:pt x="31" y="161"/>
                      </a:cubicBezTo>
                      <a:cubicBezTo>
                        <a:pt x="29" y="165"/>
                        <a:pt x="27" y="173"/>
                        <a:pt x="27" y="173"/>
                      </a:cubicBezTo>
                      <a:cubicBezTo>
                        <a:pt x="13" y="178"/>
                        <a:pt x="13" y="178"/>
                        <a:pt x="13" y="178"/>
                      </a:cubicBezTo>
                      <a:cubicBezTo>
                        <a:pt x="13" y="178"/>
                        <a:pt x="15" y="190"/>
                        <a:pt x="12" y="190"/>
                      </a:cubicBezTo>
                      <a:cubicBezTo>
                        <a:pt x="9" y="190"/>
                        <a:pt x="0" y="188"/>
                        <a:pt x="2" y="194"/>
                      </a:cubicBezTo>
                      <a:cubicBezTo>
                        <a:pt x="4" y="200"/>
                        <a:pt x="18" y="203"/>
                        <a:pt x="20" y="207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8" name="Bosnia and Herzegovina">
                  <a:extLst>
                    <a:ext uri="{FF2B5EF4-FFF2-40B4-BE49-F238E27FC236}">
                      <a16:creationId xmlns:a16="http://schemas.microsoft.com/office/drawing/2014/main" id="{EDC09FDC-2F97-04FB-131B-59C0222181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11553" y="2723698"/>
                  <a:ext cx="96854" cy="85685"/>
                </a:xfrm>
                <a:custGeom>
                  <a:avLst/>
                  <a:gdLst>
                    <a:gd name="T0" fmla="*/ 162 w 173"/>
                    <a:gd name="T1" fmla="*/ 51 h 153"/>
                    <a:gd name="T2" fmla="*/ 151 w 173"/>
                    <a:gd name="T3" fmla="*/ 52 h 153"/>
                    <a:gd name="T4" fmla="*/ 151 w 173"/>
                    <a:gd name="T5" fmla="*/ 41 h 153"/>
                    <a:gd name="T6" fmla="*/ 163 w 173"/>
                    <a:gd name="T7" fmla="*/ 22 h 153"/>
                    <a:gd name="T8" fmla="*/ 144 w 173"/>
                    <a:gd name="T9" fmla="*/ 23 h 153"/>
                    <a:gd name="T10" fmla="*/ 141 w 173"/>
                    <a:gd name="T11" fmla="*/ 18 h 153"/>
                    <a:gd name="T12" fmla="*/ 136 w 173"/>
                    <a:gd name="T13" fmla="*/ 19 h 153"/>
                    <a:gd name="T14" fmla="*/ 126 w 173"/>
                    <a:gd name="T15" fmla="*/ 8 h 153"/>
                    <a:gd name="T16" fmla="*/ 109 w 173"/>
                    <a:gd name="T17" fmla="*/ 7 h 153"/>
                    <a:gd name="T18" fmla="*/ 93 w 173"/>
                    <a:gd name="T19" fmla="*/ 8 h 153"/>
                    <a:gd name="T20" fmla="*/ 80 w 173"/>
                    <a:gd name="T21" fmla="*/ 5 h 153"/>
                    <a:gd name="T22" fmla="*/ 71 w 173"/>
                    <a:gd name="T23" fmla="*/ 9 h 153"/>
                    <a:gd name="T24" fmla="*/ 58 w 173"/>
                    <a:gd name="T25" fmla="*/ 2 h 153"/>
                    <a:gd name="T26" fmla="*/ 43 w 173"/>
                    <a:gd name="T27" fmla="*/ 4 h 153"/>
                    <a:gd name="T28" fmla="*/ 28 w 173"/>
                    <a:gd name="T29" fmla="*/ 8 h 153"/>
                    <a:gd name="T30" fmla="*/ 12 w 173"/>
                    <a:gd name="T31" fmla="*/ 1 h 153"/>
                    <a:gd name="T32" fmla="*/ 9 w 173"/>
                    <a:gd name="T33" fmla="*/ 15 h 153"/>
                    <a:gd name="T34" fmla="*/ 0 w 173"/>
                    <a:gd name="T35" fmla="*/ 20 h 153"/>
                    <a:gd name="T36" fmla="*/ 7 w 173"/>
                    <a:gd name="T37" fmla="*/ 27 h 153"/>
                    <a:gd name="T38" fmla="*/ 19 w 173"/>
                    <a:gd name="T39" fmla="*/ 30 h 153"/>
                    <a:gd name="T40" fmla="*/ 18 w 173"/>
                    <a:gd name="T41" fmla="*/ 39 h 153"/>
                    <a:gd name="T42" fmla="*/ 26 w 173"/>
                    <a:gd name="T43" fmla="*/ 43 h 153"/>
                    <a:gd name="T44" fmla="*/ 26 w 173"/>
                    <a:gd name="T45" fmla="*/ 57 h 153"/>
                    <a:gd name="T46" fmla="*/ 37 w 173"/>
                    <a:gd name="T47" fmla="*/ 60 h 153"/>
                    <a:gd name="T48" fmla="*/ 47 w 173"/>
                    <a:gd name="T49" fmla="*/ 80 h 153"/>
                    <a:gd name="T50" fmla="*/ 75 w 173"/>
                    <a:gd name="T51" fmla="*/ 99 h 153"/>
                    <a:gd name="T52" fmla="*/ 81 w 173"/>
                    <a:gd name="T53" fmla="*/ 120 h 153"/>
                    <a:gd name="T54" fmla="*/ 89 w 173"/>
                    <a:gd name="T55" fmla="*/ 121 h 153"/>
                    <a:gd name="T56" fmla="*/ 125 w 173"/>
                    <a:gd name="T57" fmla="*/ 153 h 153"/>
                    <a:gd name="T58" fmla="*/ 138 w 173"/>
                    <a:gd name="T59" fmla="*/ 137 h 153"/>
                    <a:gd name="T60" fmla="*/ 124 w 173"/>
                    <a:gd name="T61" fmla="*/ 128 h 153"/>
                    <a:gd name="T62" fmla="*/ 125 w 173"/>
                    <a:gd name="T63" fmla="*/ 118 h 153"/>
                    <a:gd name="T64" fmla="*/ 130 w 173"/>
                    <a:gd name="T65" fmla="*/ 118 h 153"/>
                    <a:gd name="T66" fmla="*/ 139 w 173"/>
                    <a:gd name="T67" fmla="*/ 103 h 153"/>
                    <a:gd name="T68" fmla="*/ 150 w 173"/>
                    <a:gd name="T69" fmla="*/ 104 h 153"/>
                    <a:gd name="T70" fmla="*/ 150 w 173"/>
                    <a:gd name="T71" fmla="*/ 89 h 153"/>
                    <a:gd name="T72" fmla="*/ 171 w 173"/>
                    <a:gd name="T73" fmla="*/ 86 h 153"/>
                    <a:gd name="T74" fmla="*/ 159 w 173"/>
                    <a:gd name="T75" fmla="*/ 66 h 153"/>
                    <a:gd name="T76" fmla="*/ 173 w 173"/>
                    <a:gd name="T77" fmla="*/ 64 h 153"/>
                    <a:gd name="T78" fmla="*/ 162 w 173"/>
                    <a:gd name="T79" fmla="*/ 51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73" h="153">
                      <a:moveTo>
                        <a:pt x="162" y="51"/>
                      </a:moveTo>
                      <a:cubicBezTo>
                        <a:pt x="155" y="49"/>
                        <a:pt x="151" y="52"/>
                        <a:pt x="151" y="52"/>
                      </a:cubicBezTo>
                      <a:cubicBezTo>
                        <a:pt x="151" y="41"/>
                        <a:pt x="151" y="41"/>
                        <a:pt x="151" y="41"/>
                      </a:cubicBezTo>
                      <a:cubicBezTo>
                        <a:pt x="151" y="41"/>
                        <a:pt x="163" y="27"/>
                        <a:pt x="163" y="22"/>
                      </a:cubicBezTo>
                      <a:cubicBezTo>
                        <a:pt x="163" y="17"/>
                        <a:pt x="144" y="23"/>
                        <a:pt x="144" y="23"/>
                      </a:cubicBezTo>
                      <a:cubicBezTo>
                        <a:pt x="141" y="18"/>
                        <a:pt x="141" y="18"/>
                        <a:pt x="141" y="18"/>
                      </a:cubicBezTo>
                      <a:cubicBezTo>
                        <a:pt x="136" y="19"/>
                        <a:pt x="136" y="19"/>
                        <a:pt x="136" y="19"/>
                      </a:cubicBezTo>
                      <a:cubicBezTo>
                        <a:pt x="126" y="8"/>
                        <a:pt x="126" y="8"/>
                        <a:pt x="126" y="8"/>
                      </a:cubicBezTo>
                      <a:cubicBezTo>
                        <a:pt x="126" y="8"/>
                        <a:pt x="115" y="8"/>
                        <a:pt x="109" y="7"/>
                      </a:cubicBezTo>
                      <a:cubicBezTo>
                        <a:pt x="103" y="6"/>
                        <a:pt x="96" y="8"/>
                        <a:pt x="93" y="8"/>
                      </a:cubicBezTo>
                      <a:cubicBezTo>
                        <a:pt x="90" y="8"/>
                        <a:pt x="80" y="5"/>
                        <a:pt x="80" y="5"/>
                      </a:cubicBezTo>
                      <a:cubicBezTo>
                        <a:pt x="71" y="9"/>
                        <a:pt x="71" y="9"/>
                        <a:pt x="71" y="9"/>
                      </a:cubicBezTo>
                      <a:cubicBezTo>
                        <a:pt x="58" y="2"/>
                        <a:pt x="58" y="2"/>
                        <a:pt x="58" y="2"/>
                      </a:cubicBezTo>
                      <a:cubicBezTo>
                        <a:pt x="43" y="4"/>
                        <a:pt x="43" y="4"/>
                        <a:pt x="43" y="4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28" y="8"/>
                        <a:pt x="16" y="0"/>
                        <a:pt x="12" y="1"/>
                      </a:cubicBezTo>
                      <a:cubicBezTo>
                        <a:pt x="8" y="2"/>
                        <a:pt x="9" y="15"/>
                        <a:pt x="9" y="15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7" y="27"/>
                        <a:pt x="7" y="27"/>
                        <a:pt x="7" y="27"/>
                      </a:cubicBezTo>
                      <a:cubicBezTo>
                        <a:pt x="19" y="30"/>
                        <a:pt x="19" y="30"/>
                        <a:pt x="19" y="30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23" y="39"/>
                        <a:pt x="26" y="43"/>
                      </a:cubicBezTo>
                      <a:cubicBezTo>
                        <a:pt x="29" y="47"/>
                        <a:pt x="26" y="57"/>
                        <a:pt x="26" y="57"/>
                      </a:cubicBezTo>
                      <a:cubicBezTo>
                        <a:pt x="37" y="60"/>
                        <a:pt x="37" y="60"/>
                        <a:pt x="37" y="60"/>
                      </a:cubicBezTo>
                      <a:cubicBezTo>
                        <a:pt x="47" y="80"/>
                        <a:pt x="47" y="80"/>
                        <a:pt x="47" y="80"/>
                      </a:cubicBezTo>
                      <a:cubicBezTo>
                        <a:pt x="47" y="80"/>
                        <a:pt x="51" y="84"/>
                        <a:pt x="75" y="99"/>
                      </a:cubicBezTo>
                      <a:cubicBezTo>
                        <a:pt x="90" y="108"/>
                        <a:pt x="86" y="116"/>
                        <a:pt x="81" y="120"/>
                      </a:cubicBezTo>
                      <a:cubicBezTo>
                        <a:pt x="89" y="121"/>
                        <a:pt x="89" y="121"/>
                        <a:pt x="89" y="121"/>
                      </a:cubicBezTo>
                      <a:cubicBezTo>
                        <a:pt x="89" y="121"/>
                        <a:pt x="116" y="148"/>
                        <a:pt x="125" y="153"/>
                      </a:cubicBezTo>
                      <a:cubicBezTo>
                        <a:pt x="138" y="137"/>
                        <a:pt x="138" y="137"/>
                        <a:pt x="138" y="137"/>
                      </a:cubicBezTo>
                      <a:cubicBezTo>
                        <a:pt x="138" y="137"/>
                        <a:pt x="127" y="131"/>
                        <a:pt x="124" y="128"/>
                      </a:cubicBezTo>
                      <a:cubicBezTo>
                        <a:pt x="121" y="125"/>
                        <a:pt x="125" y="118"/>
                        <a:pt x="125" y="118"/>
                      </a:cubicBezTo>
                      <a:cubicBezTo>
                        <a:pt x="130" y="118"/>
                        <a:pt x="130" y="118"/>
                        <a:pt x="130" y="118"/>
                      </a:cubicBezTo>
                      <a:cubicBezTo>
                        <a:pt x="130" y="118"/>
                        <a:pt x="136" y="107"/>
                        <a:pt x="139" y="103"/>
                      </a:cubicBezTo>
                      <a:cubicBezTo>
                        <a:pt x="142" y="99"/>
                        <a:pt x="150" y="104"/>
                        <a:pt x="150" y="104"/>
                      </a:cubicBezTo>
                      <a:cubicBezTo>
                        <a:pt x="150" y="89"/>
                        <a:pt x="150" y="89"/>
                        <a:pt x="150" y="89"/>
                      </a:cubicBezTo>
                      <a:cubicBezTo>
                        <a:pt x="150" y="89"/>
                        <a:pt x="169" y="93"/>
                        <a:pt x="171" y="86"/>
                      </a:cubicBezTo>
                      <a:cubicBezTo>
                        <a:pt x="173" y="79"/>
                        <a:pt x="159" y="66"/>
                        <a:pt x="159" y="66"/>
                      </a:cubicBezTo>
                      <a:cubicBezTo>
                        <a:pt x="173" y="64"/>
                        <a:pt x="173" y="64"/>
                        <a:pt x="173" y="64"/>
                      </a:cubicBezTo>
                      <a:cubicBezTo>
                        <a:pt x="173" y="64"/>
                        <a:pt x="169" y="53"/>
                        <a:pt x="162" y="5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59" name="Austria">
                  <a:extLst>
                    <a:ext uri="{FF2B5EF4-FFF2-40B4-BE49-F238E27FC236}">
                      <a16:creationId xmlns:a16="http://schemas.microsoft.com/office/drawing/2014/main" id="{20A50E15-D3FD-DE22-5CEB-86CC7E459FF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70241" y="2612624"/>
                  <a:ext cx="171480" cy="77752"/>
                </a:xfrm>
                <a:custGeom>
                  <a:avLst/>
                  <a:gdLst>
                    <a:gd name="T0" fmla="*/ 307 w 308"/>
                    <a:gd name="T1" fmla="*/ 48 h 138"/>
                    <a:gd name="T2" fmla="*/ 301 w 308"/>
                    <a:gd name="T3" fmla="*/ 33 h 138"/>
                    <a:gd name="T4" fmla="*/ 287 w 308"/>
                    <a:gd name="T5" fmla="*/ 11 h 138"/>
                    <a:gd name="T6" fmla="*/ 268 w 308"/>
                    <a:gd name="T7" fmla="*/ 17 h 138"/>
                    <a:gd name="T8" fmla="*/ 254 w 308"/>
                    <a:gd name="T9" fmla="*/ 14 h 138"/>
                    <a:gd name="T10" fmla="*/ 228 w 308"/>
                    <a:gd name="T11" fmla="*/ 1 h 138"/>
                    <a:gd name="T12" fmla="*/ 214 w 308"/>
                    <a:gd name="T13" fmla="*/ 16 h 138"/>
                    <a:gd name="T14" fmla="*/ 204 w 308"/>
                    <a:gd name="T15" fmla="*/ 23 h 138"/>
                    <a:gd name="T16" fmla="*/ 175 w 308"/>
                    <a:gd name="T17" fmla="*/ 15 h 138"/>
                    <a:gd name="T18" fmla="*/ 156 w 308"/>
                    <a:gd name="T19" fmla="*/ 27 h 138"/>
                    <a:gd name="T20" fmla="*/ 160 w 308"/>
                    <a:gd name="T21" fmla="*/ 45 h 138"/>
                    <a:gd name="T22" fmla="*/ 133 w 308"/>
                    <a:gd name="T23" fmla="*/ 57 h 138"/>
                    <a:gd name="T24" fmla="*/ 141 w 308"/>
                    <a:gd name="T25" fmla="*/ 68 h 138"/>
                    <a:gd name="T26" fmla="*/ 131 w 308"/>
                    <a:gd name="T27" fmla="*/ 77 h 138"/>
                    <a:gd name="T28" fmla="*/ 109 w 308"/>
                    <a:gd name="T29" fmla="*/ 71 h 138"/>
                    <a:gd name="T30" fmla="*/ 84 w 308"/>
                    <a:gd name="T31" fmla="*/ 78 h 138"/>
                    <a:gd name="T32" fmla="*/ 63 w 308"/>
                    <a:gd name="T33" fmla="*/ 88 h 138"/>
                    <a:gd name="T34" fmla="*/ 33 w 308"/>
                    <a:gd name="T35" fmla="*/ 76 h 138"/>
                    <a:gd name="T36" fmla="*/ 26 w 308"/>
                    <a:gd name="T37" fmla="*/ 91 h 138"/>
                    <a:gd name="T38" fmla="*/ 0 w 308"/>
                    <a:gd name="T39" fmla="*/ 84 h 138"/>
                    <a:gd name="T40" fmla="*/ 2 w 308"/>
                    <a:gd name="T41" fmla="*/ 97 h 138"/>
                    <a:gd name="T42" fmla="*/ 11 w 308"/>
                    <a:gd name="T43" fmla="*/ 106 h 138"/>
                    <a:gd name="T44" fmla="*/ 32 w 308"/>
                    <a:gd name="T45" fmla="*/ 106 h 138"/>
                    <a:gd name="T46" fmla="*/ 50 w 308"/>
                    <a:gd name="T47" fmla="*/ 117 h 138"/>
                    <a:gd name="T48" fmla="*/ 66 w 308"/>
                    <a:gd name="T49" fmla="*/ 109 h 138"/>
                    <a:gd name="T50" fmla="*/ 104 w 308"/>
                    <a:gd name="T51" fmla="*/ 103 h 138"/>
                    <a:gd name="T52" fmla="*/ 119 w 308"/>
                    <a:gd name="T53" fmla="*/ 118 h 138"/>
                    <a:gd name="T54" fmla="*/ 136 w 308"/>
                    <a:gd name="T55" fmla="*/ 131 h 138"/>
                    <a:gd name="T56" fmla="*/ 162 w 308"/>
                    <a:gd name="T57" fmla="*/ 136 h 138"/>
                    <a:gd name="T58" fmla="*/ 183 w 308"/>
                    <a:gd name="T59" fmla="*/ 132 h 138"/>
                    <a:gd name="T60" fmla="*/ 207 w 308"/>
                    <a:gd name="T61" fmla="*/ 138 h 138"/>
                    <a:gd name="T62" fmla="*/ 247 w 308"/>
                    <a:gd name="T63" fmla="*/ 130 h 138"/>
                    <a:gd name="T64" fmla="*/ 270 w 308"/>
                    <a:gd name="T65" fmla="*/ 131 h 138"/>
                    <a:gd name="T66" fmla="*/ 277 w 308"/>
                    <a:gd name="T67" fmla="*/ 107 h 138"/>
                    <a:gd name="T68" fmla="*/ 290 w 308"/>
                    <a:gd name="T69" fmla="*/ 91 h 138"/>
                    <a:gd name="T70" fmla="*/ 290 w 308"/>
                    <a:gd name="T71" fmla="*/ 78 h 138"/>
                    <a:gd name="T72" fmla="*/ 306 w 308"/>
                    <a:gd name="T73" fmla="*/ 69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08" h="138">
                      <a:moveTo>
                        <a:pt x="306" y="69"/>
                      </a:moveTo>
                      <a:cubicBezTo>
                        <a:pt x="306" y="69"/>
                        <a:pt x="308" y="55"/>
                        <a:pt x="307" y="48"/>
                      </a:cubicBezTo>
                      <a:cubicBezTo>
                        <a:pt x="306" y="42"/>
                        <a:pt x="300" y="43"/>
                        <a:pt x="300" y="43"/>
                      </a:cubicBezTo>
                      <a:cubicBezTo>
                        <a:pt x="301" y="33"/>
                        <a:pt x="301" y="33"/>
                        <a:pt x="301" y="33"/>
                      </a:cubicBezTo>
                      <a:cubicBezTo>
                        <a:pt x="303" y="19"/>
                        <a:pt x="303" y="19"/>
                        <a:pt x="303" y="19"/>
                      </a:cubicBezTo>
                      <a:cubicBezTo>
                        <a:pt x="303" y="19"/>
                        <a:pt x="295" y="14"/>
                        <a:pt x="287" y="11"/>
                      </a:cubicBezTo>
                      <a:cubicBezTo>
                        <a:pt x="280" y="9"/>
                        <a:pt x="276" y="16"/>
                        <a:pt x="276" y="16"/>
                      </a:cubicBezTo>
                      <a:cubicBezTo>
                        <a:pt x="268" y="17"/>
                        <a:pt x="268" y="17"/>
                        <a:pt x="268" y="17"/>
                      </a:cubicBezTo>
                      <a:cubicBezTo>
                        <a:pt x="261" y="9"/>
                        <a:pt x="261" y="9"/>
                        <a:pt x="261" y="9"/>
                      </a:cubicBezTo>
                      <a:cubicBezTo>
                        <a:pt x="254" y="14"/>
                        <a:pt x="254" y="14"/>
                        <a:pt x="254" y="14"/>
                      </a:cubicBezTo>
                      <a:cubicBezTo>
                        <a:pt x="245" y="8"/>
                        <a:pt x="245" y="8"/>
                        <a:pt x="245" y="8"/>
                      </a:cubicBezTo>
                      <a:cubicBezTo>
                        <a:pt x="245" y="8"/>
                        <a:pt x="232" y="0"/>
                        <a:pt x="228" y="1"/>
                      </a:cubicBezTo>
                      <a:cubicBezTo>
                        <a:pt x="225" y="2"/>
                        <a:pt x="218" y="15"/>
                        <a:pt x="218" y="15"/>
                      </a:cubicBezTo>
                      <a:cubicBezTo>
                        <a:pt x="214" y="16"/>
                        <a:pt x="214" y="16"/>
                        <a:pt x="214" y="16"/>
                      </a:cubicBezTo>
                      <a:cubicBezTo>
                        <a:pt x="213" y="28"/>
                        <a:pt x="213" y="28"/>
                        <a:pt x="213" y="28"/>
                      </a:cubicBezTo>
                      <a:cubicBezTo>
                        <a:pt x="204" y="23"/>
                        <a:pt x="204" y="23"/>
                        <a:pt x="204" y="23"/>
                      </a:cubicBezTo>
                      <a:cubicBezTo>
                        <a:pt x="204" y="23"/>
                        <a:pt x="198" y="27"/>
                        <a:pt x="190" y="27"/>
                      </a:cubicBezTo>
                      <a:cubicBezTo>
                        <a:pt x="183" y="27"/>
                        <a:pt x="175" y="15"/>
                        <a:pt x="175" y="15"/>
                      </a:cubicBezTo>
                      <a:cubicBezTo>
                        <a:pt x="168" y="26"/>
                        <a:pt x="168" y="26"/>
                        <a:pt x="168" y="26"/>
                      </a:cubicBezTo>
                      <a:cubicBezTo>
                        <a:pt x="156" y="27"/>
                        <a:pt x="156" y="27"/>
                        <a:pt x="156" y="27"/>
                      </a:cubicBezTo>
                      <a:cubicBezTo>
                        <a:pt x="160" y="34"/>
                        <a:pt x="160" y="34"/>
                        <a:pt x="160" y="34"/>
                      </a:cubicBezTo>
                      <a:cubicBezTo>
                        <a:pt x="160" y="45"/>
                        <a:pt x="160" y="45"/>
                        <a:pt x="160" y="45"/>
                      </a:cubicBezTo>
                      <a:cubicBezTo>
                        <a:pt x="160" y="45"/>
                        <a:pt x="147" y="42"/>
                        <a:pt x="142" y="43"/>
                      </a:cubicBezTo>
                      <a:cubicBezTo>
                        <a:pt x="138" y="44"/>
                        <a:pt x="133" y="57"/>
                        <a:pt x="133" y="57"/>
                      </a:cubicBezTo>
                      <a:cubicBezTo>
                        <a:pt x="141" y="59"/>
                        <a:pt x="141" y="59"/>
                        <a:pt x="141" y="59"/>
                      </a:cubicBezTo>
                      <a:cubicBezTo>
                        <a:pt x="141" y="68"/>
                        <a:pt x="141" y="68"/>
                        <a:pt x="141" y="68"/>
                      </a:cubicBezTo>
                      <a:cubicBezTo>
                        <a:pt x="141" y="68"/>
                        <a:pt x="142" y="78"/>
                        <a:pt x="141" y="84"/>
                      </a:cubicBezTo>
                      <a:cubicBezTo>
                        <a:pt x="139" y="91"/>
                        <a:pt x="131" y="77"/>
                        <a:pt x="131" y="77"/>
                      </a:cubicBezTo>
                      <a:cubicBezTo>
                        <a:pt x="118" y="72"/>
                        <a:pt x="118" y="72"/>
                        <a:pt x="118" y="72"/>
                      </a:cubicBezTo>
                      <a:cubicBezTo>
                        <a:pt x="109" y="71"/>
                        <a:pt x="109" y="71"/>
                        <a:pt x="109" y="71"/>
                      </a:cubicBezTo>
                      <a:cubicBezTo>
                        <a:pt x="98" y="77"/>
                        <a:pt x="98" y="77"/>
                        <a:pt x="98" y="77"/>
                      </a:cubicBezTo>
                      <a:cubicBezTo>
                        <a:pt x="84" y="78"/>
                        <a:pt x="84" y="78"/>
                        <a:pt x="84" y="78"/>
                      </a:cubicBezTo>
                      <a:cubicBezTo>
                        <a:pt x="75" y="86"/>
                        <a:pt x="75" y="86"/>
                        <a:pt x="75" y="86"/>
                      </a:cubicBezTo>
                      <a:cubicBezTo>
                        <a:pt x="75" y="86"/>
                        <a:pt x="69" y="88"/>
                        <a:pt x="63" y="88"/>
                      </a:cubicBezTo>
                      <a:cubicBezTo>
                        <a:pt x="56" y="88"/>
                        <a:pt x="46" y="77"/>
                        <a:pt x="46" y="77"/>
                      </a:cubicBezTo>
                      <a:cubicBezTo>
                        <a:pt x="33" y="76"/>
                        <a:pt x="33" y="76"/>
                        <a:pt x="33" y="76"/>
                      </a:cubicBezTo>
                      <a:cubicBezTo>
                        <a:pt x="33" y="85"/>
                        <a:pt x="33" y="85"/>
                        <a:pt x="33" y="85"/>
                      </a:cubicBezTo>
                      <a:cubicBezTo>
                        <a:pt x="33" y="85"/>
                        <a:pt x="30" y="90"/>
                        <a:pt x="26" y="91"/>
                      </a:cubicBezTo>
                      <a:cubicBezTo>
                        <a:pt x="22" y="92"/>
                        <a:pt x="21" y="82"/>
                        <a:pt x="12" y="81"/>
                      </a:cubicBezTo>
                      <a:cubicBezTo>
                        <a:pt x="6" y="79"/>
                        <a:pt x="2" y="82"/>
                        <a:pt x="0" y="84"/>
                      </a:cubicBezTo>
                      <a:cubicBezTo>
                        <a:pt x="1" y="86"/>
                        <a:pt x="2" y="89"/>
                        <a:pt x="0" y="91"/>
                      </a:cubicBezTo>
                      <a:cubicBezTo>
                        <a:pt x="1" y="93"/>
                        <a:pt x="2" y="95"/>
                        <a:pt x="2" y="97"/>
                      </a:cubicBezTo>
                      <a:cubicBezTo>
                        <a:pt x="2" y="100"/>
                        <a:pt x="2" y="105"/>
                        <a:pt x="2" y="107"/>
                      </a:cubicBezTo>
                      <a:cubicBezTo>
                        <a:pt x="11" y="106"/>
                        <a:pt x="11" y="106"/>
                        <a:pt x="11" y="106"/>
                      </a:cubicBezTo>
                      <a:cubicBezTo>
                        <a:pt x="11" y="106"/>
                        <a:pt x="8" y="120"/>
                        <a:pt x="16" y="118"/>
                      </a:cubicBezTo>
                      <a:cubicBezTo>
                        <a:pt x="23" y="115"/>
                        <a:pt x="21" y="106"/>
                        <a:pt x="32" y="106"/>
                      </a:cubicBezTo>
                      <a:cubicBezTo>
                        <a:pt x="37" y="107"/>
                        <a:pt x="40" y="113"/>
                        <a:pt x="41" y="117"/>
                      </a:cubicBezTo>
                      <a:cubicBezTo>
                        <a:pt x="50" y="117"/>
                        <a:pt x="50" y="117"/>
                        <a:pt x="50" y="117"/>
                      </a:cubicBezTo>
                      <a:cubicBezTo>
                        <a:pt x="56" y="121"/>
                        <a:pt x="56" y="121"/>
                        <a:pt x="56" y="121"/>
                      </a:cubicBezTo>
                      <a:cubicBezTo>
                        <a:pt x="66" y="109"/>
                        <a:pt x="66" y="109"/>
                        <a:pt x="66" y="109"/>
                      </a:cubicBezTo>
                      <a:cubicBezTo>
                        <a:pt x="92" y="111"/>
                        <a:pt x="92" y="111"/>
                        <a:pt x="92" y="111"/>
                      </a:cubicBezTo>
                      <a:cubicBezTo>
                        <a:pt x="92" y="111"/>
                        <a:pt x="94" y="102"/>
                        <a:pt x="104" y="103"/>
                      </a:cubicBezTo>
                      <a:cubicBezTo>
                        <a:pt x="113" y="104"/>
                        <a:pt x="114" y="118"/>
                        <a:pt x="114" y="118"/>
                      </a:cubicBezTo>
                      <a:cubicBezTo>
                        <a:pt x="119" y="118"/>
                        <a:pt x="119" y="118"/>
                        <a:pt x="119" y="118"/>
                      </a:cubicBezTo>
                      <a:cubicBezTo>
                        <a:pt x="124" y="131"/>
                        <a:pt x="124" y="131"/>
                        <a:pt x="124" y="131"/>
                      </a:cubicBezTo>
                      <a:cubicBezTo>
                        <a:pt x="136" y="131"/>
                        <a:pt x="136" y="131"/>
                        <a:pt x="136" y="131"/>
                      </a:cubicBezTo>
                      <a:cubicBezTo>
                        <a:pt x="136" y="131"/>
                        <a:pt x="159" y="127"/>
                        <a:pt x="162" y="132"/>
                      </a:cubicBezTo>
                      <a:cubicBezTo>
                        <a:pt x="162" y="134"/>
                        <a:pt x="162" y="135"/>
                        <a:pt x="162" y="136"/>
                      </a:cubicBezTo>
                      <a:cubicBezTo>
                        <a:pt x="171" y="136"/>
                        <a:pt x="171" y="136"/>
                        <a:pt x="171" y="136"/>
                      </a:cubicBezTo>
                      <a:cubicBezTo>
                        <a:pt x="171" y="136"/>
                        <a:pt x="180" y="132"/>
                        <a:pt x="183" y="132"/>
                      </a:cubicBezTo>
                      <a:cubicBezTo>
                        <a:pt x="186" y="132"/>
                        <a:pt x="192" y="136"/>
                        <a:pt x="192" y="136"/>
                      </a:cubicBezTo>
                      <a:cubicBezTo>
                        <a:pt x="192" y="136"/>
                        <a:pt x="200" y="138"/>
                        <a:pt x="207" y="138"/>
                      </a:cubicBezTo>
                      <a:cubicBezTo>
                        <a:pt x="214" y="138"/>
                        <a:pt x="214" y="129"/>
                        <a:pt x="214" y="129"/>
                      </a:cubicBezTo>
                      <a:cubicBezTo>
                        <a:pt x="247" y="130"/>
                        <a:pt x="247" y="130"/>
                        <a:pt x="247" y="130"/>
                      </a:cubicBezTo>
                      <a:cubicBezTo>
                        <a:pt x="254" y="126"/>
                        <a:pt x="254" y="126"/>
                        <a:pt x="254" y="126"/>
                      </a:cubicBezTo>
                      <a:cubicBezTo>
                        <a:pt x="270" y="131"/>
                        <a:pt x="270" y="131"/>
                        <a:pt x="270" y="131"/>
                      </a:cubicBezTo>
                      <a:cubicBezTo>
                        <a:pt x="272" y="119"/>
                        <a:pt x="272" y="119"/>
                        <a:pt x="272" y="119"/>
                      </a:cubicBezTo>
                      <a:cubicBezTo>
                        <a:pt x="277" y="107"/>
                        <a:pt x="277" y="107"/>
                        <a:pt x="277" y="107"/>
                      </a:cubicBezTo>
                      <a:cubicBezTo>
                        <a:pt x="290" y="105"/>
                        <a:pt x="290" y="105"/>
                        <a:pt x="290" y="105"/>
                      </a:cubicBezTo>
                      <a:cubicBezTo>
                        <a:pt x="290" y="91"/>
                        <a:pt x="290" y="91"/>
                        <a:pt x="290" y="91"/>
                      </a:cubicBezTo>
                      <a:cubicBezTo>
                        <a:pt x="298" y="79"/>
                        <a:pt x="298" y="79"/>
                        <a:pt x="298" y="79"/>
                      </a:cubicBezTo>
                      <a:cubicBezTo>
                        <a:pt x="290" y="78"/>
                        <a:pt x="290" y="78"/>
                        <a:pt x="290" y="78"/>
                      </a:cubicBezTo>
                      <a:cubicBezTo>
                        <a:pt x="291" y="69"/>
                        <a:pt x="291" y="69"/>
                        <a:pt x="291" y="69"/>
                      </a:cubicBezTo>
                      <a:lnTo>
                        <a:pt x="306" y="69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0" name="Andorra">
                  <a:extLst>
                    <a:ext uri="{FF2B5EF4-FFF2-40B4-BE49-F238E27FC236}">
                      <a16:creationId xmlns:a16="http://schemas.microsoft.com/office/drawing/2014/main" id="{250EB0DD-A2F8-6375-6D4C-452F64B9767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71769" y="2801450"/>
                  <a:ext cx="11114" cy="6347"/>
                </a:xfrm>
                <a:custGeom>
                  <a:avLst/>
                  <a:gdLst>
                    <a:gd name="T0" fmla="*/ 5 w 20"/>
                    <a:gd name="T1" fmla="*/ 13 h 13"/>
                    <a:gd name="T2" fmla="*/ 18 w 20"/>
                    <a:gd name="T3" fmla="*/ 10 h 13"/>
                    <a:gd name="T4" fmla="*/ 20 w 20"/>
                    <a:gd name="T5" fmla="*/ 10 h 13"/>
                    <a:gd name="T6" fmla="*/ 19 w 20"/>
                    <a:gd name="T7" fmla="*/ 1 h 13"/>
                    <a:gd name="T8" fmla="*/ 5 w 20"/>
                    <a:gd name="T9" fmla="*/ 1 h 13"/>
                    <a:gd name="T10" fmla="*/ 0 w 20"/>
                    <a:gd name="T11" fmla="*/ 2 h 13"/>
                    <a:gd name="T12" fmla="*/ 5 w 20"/>
                    <a:gd name="T13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13">
                      <a:moveTo>
                        <a:pt x="5" y="13"/>
                      </a:moveTo>
                      <a:cubicBezTo>
                        <a:pt x="5" y="13"/>
                        <a:pt x="14" y="11"/>
                        <a:pt x="18" y="10"/>
                      </a:cubicBezTo>
                      <a:cubicBezTo>
                        <a:pt x="19" y="10"/>
                        <a:pt x="20" y="10"/>
                        <a:pt x="20" y="10"/>
                      </a:cubicBezTo>
                      <a:cubicBezTo>
                        <a:pt x="19" y="1"/>
                        <a:pt x="19" y="1"/>
                        <a:pt x="19" y="1"/>
                      </a:cubicBezTo>
                      <a:cubicBezTo>
                        <a:pt x="19" y="1"/>
                        <a:pt x="15" y="0"/>
                        <a:pt x="5" y="1"/>
                      </a:cubicBezTo>
                      <a:cubicBezTo>
                        <a:pt x="3" y="1"/>
                        <a:pt x="1" y="1"/>
                        <a:pt x="0" y="2"/>
                      </a:cubicBezTo>
                      <a:lnTo>
                        <a:pt x="5" y="13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1" name="Albania">
                  <a:extLst>
                    <a:ext uri="{FF2B5EF4-FFF2-40B4-BE49-F238E27FC236}">
                      <a16:creationId xmlns:a16="http://schemas.microsoft.com/office/drawing/2014/main" id="{87EE5E29-262C-B1C7-5B5C-50A8D84F6AA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97293" y="2801450"/>
                  <a:ext cx="55572" cy="92032"/>
                </a:xfrm>
                <a:custGeom>
                  <a:avLst/>
                  <a:gdLst>
                    <a:gd name="T0" fmla="*/ 62 w 100"/>
                    <a:gd name="T1" fmla="*/ 142 h 165"/>
                    <a:gd name="T2" fmla="*/ 72 w 100"/>
                    <a:gd name="T3" fmla="*/ 138 h 165"/>
                    <a:gd name="T4" fmla="*/ 80 w 100"/>
                    <a:gd name="T5" fmla="*/ 133 h 165"/>
                    <a:gd name="T6" fmla="*/ 80 w 100"/>
                    <a:gd name="T7" fmla="*/ 119 h 165"/>
                    <a:gd name="T8" fmla="*/ 95 w 100"/>
                    <a:gd name="T9" fmla="*/ 113 h 165"/>
                    <a:gd name="T10" fmla="*/ 95 w 100"/>
                    <a:gd name="T11" fmla="*/ 92 h 165"/>
                    <a:gd name="T12" fmla="*/ 77 w 100"/>
                    <a:gd name="T13" fmla="*/ 99 h 165"/>
                    <a:gd name="T14" fmla="*/ 77 w 100"/>
                    <a:gd name="T15" fmla="*/ 85 h 165"/>
                    <a:gd name="T16" fmla="*/ 69 w 100"/>
                    <a:gd name="T17" fmla="*/ 79 h 165"/>
                    <a:gd name="T18" fmla="*/ 71 w 100"/>
                    <a:gd name="T19" fmla="*/ 67 h 165"/>
                    <a:gd name="T20" fmla="*/ 66 w 100"/>
                    <a:gd name="T21" fmla="*/ 56 h 165"/>
                    <a:gd name="T22" fmla="*/ 68 w 100"/>
                    <a:gd name="T23" fmla="*/ 41 h 165"/>
                    <a:gd name="T24" fmla="*/ 68 w 100"/>
                    <a:gd name="T25" fmla="*/ 29 h 165"/>
                    <a:gd name="T26" fmla="*/ 64 w 100"/>
                    <a:gd name="T27" fmla="*/ 19 h 165"/>
                    <a:gd name="T28" fmla="*/ 55 w 100"/>
                    <a:gd name="T29" fmla="*/ 19 h 165"/>
                    <a:gd name="T30" fmla="*/ 47 w 100"/>
                    <a:gd name="T31" fmla="*/ 4 h 165"/>
                    <a:gd name="T32" fmla="*/ 41 w 100"/>
                    <a:gd name="T33" fmla="*/ 10 h 165"/>
                    <a:gd name="T34" fmla="*/ 23 w 100"/>
                    <a:gd name="T35" fmla="*/ 0 h 165"/>
                    <a:gd name="T36" fmla="*/ 21 w 100"/>
                    <a:gd name="T37" fmla="*/ 14 h 165"/>
                    <a:gd name="T38" fmla="*/ 15 w 100"/>
                    <a:gd name="T39" fmla="*/ 19 h 165"/>
                    <a:gd name="T40" fmla="*/ 0 w 100"/>
                    <a:gd name="T41" fmla="*/ 19 h 165"/>
                    <a:gd name="T42" fmla="*/ 9 w 100"/>
                    <a:gd name="T43" fmla="*/ 25 h 165"/>
                    <a:gd name="T44" fmla="*/ 15 w 100"/>
                    <a:gd name="T45" fmla="*/ 22 h 165"/>
                    <a:gd name="T46" fmla="*/ 17 w 100"/>
                    <a:gd name="T47" fmla="*/ 32 h 165"/>
                    <a:gd name="T48" fmla="*/ 10 w 100"/>
                    <a:gd name="T49" fmla="*/ 41 h 165"/>
                    <a:gd name="T50" fmla="*/ 14 w 100"/>
                    <a:gd name="T51" fmla="*/ 45 h 165"/>
                    <a:gd name="T52" fmla="*/ 30 w 100"/>
                    <a:gd name="T53" fmla="*/ 45 h 165"/>
                    <a:gd name="T54" fmla="*/ 24 w 100"/>
                    <a:gd name="T55" fmla="*/ 96 h 165"/>
                    <a:gd name="T56" fmla="*/ 17 w 100"/>
                    <a:gd name="T57" fmla="*/ 129 h 165"/>
                    <a:gd name="T58" fmla="*/ 40 w 100"/>
                    <a:gd name="T59" fmla="*/ 144 h 165"/>
                    <a:gd name="T60" fmla="*/ 41 w 100"/>
                    <a:gd name="T61" fmla="*/ 163 h 165"/>
                    <a:gd name="T62" fmla="*/ 64 w 100"/>
                    <a:gd name="T63" fmla="*/ 165 h 165"/>
                    <a:gd name="T64" fmla="*/ 62 w 100"/>
                    <a:gd name="T65" fmla="*/ 158 h 165"/>
                    <a:gd name="T66" fmla="*/ 62 w 100"/>
                    <a:gd name="T67" fmla="*/ 142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00" h="165">
                      <a:moveTo>
                        <a:pt x="62" y="142"/>
                      </a:moveTo>
                      <a:cubicBezTo>
                        <a:pt x="63" y="135"/>
                        <a:pt x="72" y="138"/>
                        <a:pt x="72" y="138"/>
                      </a:cubicBezTo>
                      <a:cubicBezTo>
                        <a:pt x="80" y="133"/>
                        <a:pt x="80" y="133"/>
                        <a:pt x="80" y="133"/>
                      </a:cubicBezTo>
                      <a:cubicBezTo>
                        <a:pt x="80" y="119"/>
                        <a:pt x="80" y="119"/>
                        <a:pt x="80" y="119"/>
                      </a:cubicBezTo>
                      <a:cubicBezTo>
                        <a:pt x="80" y="119"/>
                        <a:pt x="90" y="117"/>
                        <a:pt x="95" y="113"/>
                      </a:cubicBezTo>
                      <a:cubicBezTo>
                        <a:pt x="100" y="109"/>
                        <a:pt x="95" y="92"/>
                        <a:pt x="95" y="92"/>
                      </a:cubicBezTo>
                      <a:cubicBezTo>
                        <a:pt x="77" y="99"/>
                        <a:pt x="77" y="99"/>
                        <a:pt x="77" y="99"/>
                      </a:cubicBezTo>
                      <a:cubicBezTo>
                        <a:pt x="77" y="85"/>
                        <a:pt x="77" y="85"/>
                        <a:pt x="77" y="85"/>
                      </a:cubicBezTo>
                      <a:cubicBezTo>
                        <a:pt x="77" y="85"/>
                        <a:pt x="69" y="84"/>
                        <a:pt x="69" y="79"/>
                      </a:cubicBezTo>
                      <a:cubicBezTo>
                        <a:pt x="69" y="74"/>
                        <a:pt x="71" y="67"/>
                        <a:pt x="71" y="67"/>
                      </a:cubicBezTo>
                      <a:cubicBezTo>
                        <a:pt x="66" y="56"/>
                        <a:pt x="66" y="56"/>
                        <a:pt x="66" y="56"/>
                      </a:cubicBezTo>
                      <a:cubicBezTo>
                        <a:pt x="68" y="41"/>
                        <a:pt x="68" y="41"/>
                        <a:pt x="68" y="41"/>
                      </a:cubicBezTo>
                      <a:cubicBezTo>
                        <a:pt x="68" y="29"/>
                        <a:pt x="68" y="29"/>
                        <a:pt x="68" y="29"/>
                      </a:cubicBezTo>
                      <a:cubicBezTo>
                        <a:pt x="64" y="19"/>
                        <a:pt x="64" y="19"/>
                        <a:pt x="64" y="19"/>
                      </a:cubicBezTo>
                      <a:cubicBezTo>
                        <a:pt x="55" y="19"/>
                        <a:pt x="55" y="19"/>
                        <a:pt x="55" y="19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1" y="14"/>
                        <a:pt x="21" y="14"/>
                        <a:pt x="21" y="14"/>
                      </a:cubicBezTo>
                      <a:cubicBezTo>
                        <a:pt x="15" y="19"/>
                        <a:pt x="15" y="19"/>
                        <a:pt x="15" y="1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9" y="25"/>
                        <a:pt x="9" y="25"/>
                        <a:pt x="9" y="25"/>
                      </a:cubicBezTo>
                      <a:cubicBezTo>
                        <a:pt x="15" y="22"/>
                        <a:pt x="15" y="22"/>
                        <a:pt x="15" y="22"/>
                      </a:cubicBezTo>
                      <a:cubicBezTo>
                        <a:pt x="17" y="32"/>
                        <a:pt x="17" y="32"/>
                        <a:pt x="17" y="32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30" y="45"/>
                        <a:pt x="30" y="45"/>
                        <a:pt x="30" y="45"/>
                      </a:cubicBezTo>
                      <a:cubicBezTo>
                        <a:pt x="30" y="45"/>
                        <a:pt x="25" y="84"/>
                        <a:pt x="24" y="96"/>
                      </a:cubicBezTo>
                      <a:cubicBezTo>
                        <a:pt x="23" y="108"/>
                        <a:pt x="12" y="124"/>
                        <a:pt x="17" y="129"/>
                      </a:cubicBezTo>
                      <a:cubicBezTo>
                        <a:pt x="22" y="134"/>
                        <a:pt x="40" y="144"/>
                        <a:pt x="40" y="144"/>
                      </a:cubicBezTo>
                      <a:cubicBezTo>
                        <a:pt x="40" y="144"/>
                        <a:pt x="37" y="164"/>
                        <a:pt x="41" y="163"/>
                      </a:cubicBezTo>
                      <a:cubicBezTo>
                        <a:pt x="45" y="162"/>
                        <a:pt x="64" y="165"/>
                        <a:pt x="64" y="165"/>
                      </a:cubicBezTo>
                      <a:cubicBezTo>
                        <a:pt x="62" y="158"/>
                        <a:pt x="62" y="158"/>
                        <a:pt x="62" y="158"/>
                      </a:cubicBezTo>
                      <a:cubicBezTo>
                        <a:pt x="62" y="158"/>
                        <a:pt x="61" y="149"/>
                        <a:pt x="62" y="14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12" name="Australia">
                <a:extLst>
                  <a:ext uri="{FF2B5EF4-FFF2-40B4-BE49-F238E27FC236}">
                    <a16:creationId xmlns:a16="http://schemas.microsoft.com/office/drawing/2014/main" id="{11D181C1-E574-700A-C827-9BDE8F3BBCB0}"/>
                  </a:ext>
                </a:extLst>
              </p:cNvPr>
              <p:cNvGrpSpPr/>
              <p:nvPr/>
            </p:nvGrpSpPr>
            <p:grpSpPr bwMode="gray">
              <a:xfrm>
                <a:off x="9381341" y="4816308"/>
                <a:ext cx="1995565" cy="1387862"/>
                <a:chOff x="8502775" y="4402489"/>
                <a:chExt cx="1551258" cy="1079000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118" name="New Zealand">
                  <a:extLst>
                    <a:ext uri="{FF2B5EF4-FFF2-40B4-BE49-F238E27FC236}">
                      <a16:creationId xmlns:a16="http://schemas.microsoft.com/office/drawing/2014/main" id="{3CF1208A-F439-2276-41C3-08D223732A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577700" y="5113360"/>
                  <a:ext cx="476333" cy="368129"/>
                </a:xfrm>
                <a:custGeom>
                  <a:avLst/>
                  <a:gdLst>
                    <a:gd name="T0" fmla="*/ 489 w 851"/>
                    <a:gd name="T1" fmla="*/ 375 h 656"/>
                    <a:gd name="T2" fmla="*/ 477 w 851"/>
                    <a:gd name="T3" fmla="*/ 361 h 656"/>
                    <a:gd name="T4" fmla="*/ 456 w 851"/>
                    <a:gd name="T5" fmla="*/ 351 h 656"/>
                    <a:gd name="T6" fmla="*/ 425 w 851"/>
                    <a:gd name="T7" fmla="*/ 380 h 656"/>
                    <a:gd name="T8" fmla="*/ 360 w 851"/>
                    <a:gd name="T9" fmla="*/ 432 h 656"/>
                    <a:gd name="T10" fmla="*/ 261 w 851"/>
                    <a:gd name="T11" fmla="*/ 484 h 656"/>
                    <a:gd name="T12" fmla="*/ 177 w 851"/>
                    <a:gd name="T13" fmla="*/ 513 h 656"/>
                    <a:gd name="T14" fmla="*/ 112 w 851"/>
                    <a:gd name="T15" fmla="*/ 564 h 656"/>
                    <a:gd name="T16" fmla="*/ 56 w 851"/>
                    <a:gd name="T17" fmla="*/ 583 h 656"/>
                    <a:gd name="T18" fmla="*/ 0 w 851"/>
                    <a:gd name="T19" fmla="*/ 608 h 656"/>
                    <a:gd name="T20" fmla="*/ 12 w 851"/>
                    <a:gd name="T21" fmla="*/ 629 h 656"/>
                    <a:gd name="T22" fmla="*/ 47 w 851"/>
                    <a:gd name="T23" fmla="*/ 631 h 656"/>
                    <a:gd name="T24" fmla="*/ 65 w 851"/>
                    <a:gd name="T25" fmla="*/ 637 h 656"/>
                    <a:gd name="T26" fmla="*/ 96 w 851"/>
                    <a:gd name="T27" fmla="*/ 648 h 656"/>
                    <a:gd name="T28" fmla="*/ 152 w 851"/>
                    <a:gd name="T29" fmla="*/ 653 h 656"/>
                    <a:gd name="T30" fmla="*/ 215 w 851"/>
                    <a:gd name="T31" fmla="*/ 620 h 656"/>
                    <a:gd name="T32" fmla="*/ 265 w 851"/>
                    <a:gd name="T33" fmla="*/ 574 h 656"/>
                    <a:gd name="T34" fmla="*/ 279 w 851"/>
                    <a:gd name="T35" fmla="*/ 557 h 656"/>
                    <a:gd name="T36" fmla="*/ 306 w 851"/>
                    <a:gd name="T37" fmla="*/ 517 h 656"/>
                    <a:gd name="T38" fmla="*/ 343 w 851"/>
                    <a:gd name="T39" fmla="*/ 510 h 656"/>
                    <a:gd name="T40" fmla="*/ 388 w 851"/>
                    <a:gd name="T41" fmla="*/ 503 h 656"/>
                    <a:gd name="T42" fmla="*/ 395 w 851"/>
                    <a:gd name="T43" fmla="*/ 480 h 656"/>
                    <a:gd name="T44" fmla="*/ 430 w 851"/>
                    <a:gd name="T45" fmla="*/ 456 h 656"/>
                    <a:gd name="T46" fmla="*/ 468 w 851"/>
                    <a:gd name="T47" fmla="*/ 430 h 656"/>
                    <a:gd name="T48" fmla="*/ 518 w 851"/>
                    <a:gd name="T49" fmla="*/ 389 h 656"/>
                    <a:gd name="T50" fmla="*/ 498 w 851"/>
                    <a:gd name="T51" fmla="*/ 375 h 656"/>
                    <a:gd name="T52" fmla="*/ 841 w 851"/>
                    <a:gd name="T53" fmla="*/ 205 h 656"/>
                    <a:gd name="T54" fmla="*/ 821 w 851"/>
                    <a:gd name="T55" fmla="*/ 186 h 656"/>
                    <a:gd name="T56" fmla="*/ 768 w 851"/>
                    <a:gd name="T57" fmla="*/ 192 h 656"/>
                    <a:gd name="T58" fmla="*/ 777 w 851"/>
                    <a:gd name="T59" fmla="*/ 120 h 656"/>
                    <a:gd name="T60" fmla="*/ 756 w 851"/>
                    <a:gd name="T61" fmla="*/ 129 h 656"/>
                    <a:gd name="T62" fmla="*/ 740 w 851"/>
                    <a:gd name="T63" fmla="*/ 126 h 656"/>
                    <a:gd name="T64" fmla="*/ 750 w 851"/>
                    <a:gd name="T65" fmla="*/ 62 h 656"/>
                    <a:gd name="T66" fmla="*/ 720 w 851"/>
                    <a:gd name="T67" fmla="*/ 27 h 656"/>
                    <a:gd name="T68" fmla="*/ 692 w 851"/>
                    <a:gd name="T69" fmla="*/ 11 h 656"/>
                    <a:gd name="T70" fmla="*/ 679 w 851"/>
                    <a:gd name="T71" fmla="*/ 12 h 656"/>
                    <a:gd name="T72" fmla="*/ 686 w 851"/>
                    <a:gd name="T73" fmla="*/ 60 h 656"/>
                    <a:gd name="T74" fmla="*/ 692 w 851"/>
                    <a:gd name="T75" fmla="*/ 70 h 656"/>
                    <a:gd name="T76" fmla="*/ 712 w 851"/>
                    <a:gd name="T77" fmla="*/ 89 h 656"/>
                    <a:gd name="T78" fmla="*/ 705 w 851"/>
                    <a:gd name="T79" fmla="*/ 102 h 656"/>
                    <a:gd name="T80" fmla="*/ 715 w 851"/>
                    <a:gd name="T81" fmla="*/ 136 h 656"/>
                    <a:gd name="T82" fmla="*/ 694 w 851"/>
                    <a:gd name="T83" fmla="*/ 148 h 656"/>
                    <a:gd name="T84" fmla="*/ 682 w 851"/>
                    <a:gd name="T85" fmla="*/ 185 h 656"/>
                    <a:gd name="T86" fmla="*/ 656 w 851"/>
                    <a:gd name="T87" fmla="*/ 209 h 656"/>
                    <a:gd name="T88" fmla="*/ 578 w 851"/>
                    <a:gd name="T89" fmla="*/ 255 h 656"/>
                    <a:gd name="T90" fmla="*/ 609 w 851"/>
                    <a:gd name="T91" fmla="*/ 302 h 656"/>
                    <a:gd name="T92" fmla="*/ 576 w 851"/>
                    <a:gd name="T93" fmla="*/ 359 h 656"/>
                    <a:gd name="T94" fmla="*/ 557 w 851"/>
                    <a:gd name="T95" fmla="*/ 381 h 656"/>
                    <a:gd name="T96" fmla="*/ 644 w 851"/>
                    <a:gd name="T97" fmla="*/ 340 h 656"/>
                    <a:gd name="T98" fmla="*/ 697 w 851"/>
                    <a:gd name="T99" fmla="*/ 308 h 656"/>
                    <a:gd name="T100" fmla="*/ 715 w 851"/>
                    <a:gd name="T101" fmla="*/ 277 h 656"/>
                    <a:gd name="T102" fmla="*/ 774 w 851"/>
                    <a:gd name="T103" fmla="*/ 266 h 656"/>
                    <a:gd name="T104" fmla="*/ 805 w 851"/>
                    <a:gd name="T105" fmla="*/ 236 h 6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851" h="656">
                      <a:moveTo>
                        <a:pt x="498" y="375"/>
                      </a:moveTo>
                      <a:cubicBezTo>
                        <a:pt x="489" y="375"/>
                        <a:pt x="489" y="375"/>
                        <a:pt x="489" y="375"/>
                      </a:cubicBezTo>
                      <a:cubicBezTo>
                        <a:pt x="495" y="350"/>
                        <a:pt x="495" y="350"/>
                        <a:pt x="495" y="350"/>
                      </a:cubicBezTo>
                      <a:cubicBezTo>
                        <a:pt x="477" y="361"/>
                        <a:pt x="477" y="361"/>
                        <a:pt x="477" y="361"/>
                      </a:cubicBezTo>
                      <a:cubicBezTo>
                        <a:pt x="477" y="361"/>
                        <a:pt x="490" y="335"/>
                        <a:pt x="478" y="335"/>
                      </a:cubicBezTo>
                      <a:cubicBezTo>
                        <a:pt x="466" y="334"/>
                        <a:pt x="456" y="351"/>
                        <a:pt x="456" y="351"/>
                      </a:cubicBezTo>
                      <a:cubicBezTo>
                        <a:pt x="445" y="358"/>
                        <a:pt x="445" y="358"/>
                        <a:pt x="445" y="358"/>
                      </a:cubicBezTo>
                      <a:cubicBezTo>
                        <a:pt x="445" y="358"/>
                        <a:pt x="434" y="369"/>
                        <a:pt x="425" y="380"/>
                      </a:cubicBezTo>
                      <a:cubicBezTo>
                        <a:pt x="417" y="391"/>
                        <a:pt x="396" y="393"/>
                        <a:pt x="381" y="403"/>
                      </a:cubicBezTo>
                      <a:cubicBezTo>
                        <a:pt x="366" y="414"/>
                        <a:pt x="360" y="432"/>
                        <a:pt x="360" y="432"/>
                      </a:cubicBezTo>
                      <a:cubicBezTo>
                        <a:pt x="360" y="432"/>
                        <a:pt x="313" y="446"/>
                        <a:pt x="300" y="455"/>
                      </a:cubicBezTo>
                      <a:cubicBezTo>
                        <a:pt x="285" y="464"/>
                        <a:pt x="261" y="484"/>
                        <a:pt x="261" y="484"/>
                      </a:cubicBezTo>
                      <a:cubicBezTo>
                        <a:pt x="261" y="484"/>
                        <a:pt x="234" y="488"/>
                        <a:pt x="217" y="495"/>
                      </a:cubicBezTo>
                      <a:cubicBezTo>
                        <a:pt x="201" y="503"/>
                        <a:pt x="192" y="505"/>
                        <a:pt x="177" y="513"/>
                      </a:cubicBezTo>
                      <a:cubicBezTo>
                        <a:pt x="161" y="522"/>
                        <a:pt x="131" y="533"/>
                        <a:pt x="119" y="539"/>
                      </a:cubicBezTo>
                      <a:cubicBezTo>
                        <a:pt x="106" y="545"/>
                        <a:pt x="112" y="564"/>
                        <a:pt x="112" y="564"/>
                      </a:cubicBezTo>
                      <a:cubicBezTo>
                        <a:pt x="102" y="555"/>
                        <a:pt x="102" y="555"/>
                        <a:pt x="102" y="555"/>
                      </a:cubicBezTo>
                      <a:cubicBezTo>
                        <a:pt x="102" y="555"/>
                        <a:pt x="67" y="577"/>
                        <a:pt x="56" y="583"/>
                      </a:cubicBezTo>
                      <a:cubicBezTo>
                        <a:pt x="44" y="590"/>
                        <a:pt x="39" y="587"/>
                        <a:pt x="23" y="593"/>
                      </a:cubicBezTo>
                      <a:cubicBezTo>
                        <a:pt x="7" y="599"/>
                        <a:pt x="0" y="608"/>
                        <a:pt x="0" y="608"/>
                      </a:cubicBezTo>
                      <a:cubicBezTo>
                        <a:pt x="0" y="608"/>
                        <a:pt x="20" y="607"/>
                        <a:pt x="18" y="611"/>
                      </a:cubicBezTo>
                      <a:cubicBezTo>
                        <a:pt x="16" y="615"/>
                        <a:pt x="8" y="620"/>
                        <a:pt x="12" y="629"/>
                      </a:cubicBezTo>
                      <a:cubicBezTo>
                        <a:pt x="17" y="638"/>
                        <a:pt x="40" y="624"/>
                        <a:pt x="40" y="624"/>
                      </a:cubicBezTo>
                      <a:cubicBezTo>
                        <a:pt x="47" y="631"/>
                        <a:pt x="47" y="631"/>
                        <a:pt x="47" y="631"/>
                      </a:cubicBezTo>
                      <a:cubicBezTo>
                        <a:pt x="63" y="631"/>
                        <a:pt x="63" y="631"/>
                        <a:pt x="63" y="631"/>
                      </a:cubicBezTo>
                      <a:cubicBezTo>
                        <a:pt x="65" y="637"/>
                        <a:pt x="65" y="637"/>
                        <a:pt x="65" y="637"/>
                      </a:cubicBezTo>
                      <a:cubicBezTo>
                        <a:pt x="87" y="634"/>
                        <a:pt x="87" y="634"/>
                        <a:pt x="87" y="634"/>
                      </a:cubicBezTo>
                      <a:cubicBezTo>
                        <a:pt x="96" y="648"/>
                        <a:pt x="96" y="648"/>
                        <a:pt x="96" y="648"/>
                      </a:cubicBezTo>
                      <a:cubicBezTo>
                        <a:pt x="118" y="645"/>
                        <a:pt x="118" y="645"/>
                        <a:pt x="118" y="645"/>
                      </a:cubicBezTo>
                      <a:cubicBezTo>
                        <a:pt x="118" y="645"/>
                        <a:pt x="136" y="656"/>
                        <a:pt x="152" y="653"/>
                      </a:cubicBezTo>
                      <a:cubicBezTo>
                        <a:pt x="167" y="650"/>
                        <a:pt x="172" y="634"/>
                        <a:pt x="182" y="627"/>
                      </a:cubicBezTo>
                      <a:cubicBezTo>
                        <a:pt x="192" y="620"/>
                        <a:pt x="200" y="630"/>
                        <a:pt x="215" y="620"/>
                      </a:cubicBezTo>
                      <a:cubicBezTo>
                        <a:pt x="230" y="610"/>
                        <a:pt x="220" y="597"/>
                        <a:pt x="232" y="586"/>
                      </a:cubicBezTo>
                      <a:cubicBezTo>
                        <a:pt x="243" y="574"/>
                        <a:pt x="257" y="582"/>
                        <a:pt x="265" y="574"/>
                      </a:cubicBezTo>
                      <a:cubicBezTo>
                        <a:pt x="273" y="567"/>
                        <a:pt x="265" y="558"/>
                        <a:pt x="265" y="558"/>
                      </a:cubicBezTo>
                      <a:cubicBezTo>
                        <a:pt x="279" y="557"/>
                        <a:pt x="279" y="557"/>
                        <a:pt x="279" y="557"/>
                      </a:cubicBezTo>
                      <a:cubicBezTo>
                        <a:pt x="318" y="527"/>
                        <a:pt x="318" y="527"/>
                        <a:pt x="318" y="527"/>
                      </a:cubicBezTo>
                      <a:cubicBezTo>
                        <a:pt x="306" y="517"/>
                        <a:pt x="306" y="517"/>
                        <a:pt x="306" y="517"/>
                      </a:cubicBezTo>
                      <a:cubicBezTo>
                        <a:pt x="333" y="527"/>
                        <a:pt x="333" y="527"/>
                        <a:pt x="333" y="527"/>
                      </a:cubicBezTo>
                      <a:cubicBezTo>
                        <a:pt x="333" y="527"/>
                        <a:pt x="334" y="511"/>
                        <a:pt x="343" y="510"/>
                      </a:cubicBezTo>
                      <a:cubicBezTo>
                        <a:pt x="352" y="509"/>
                        <a:pt x="360" y="517"/>
                        <a:pt x="372" y="520"/>
                      </a:cubicBezTo>
                      <a:cubicBezTo>
                        <a:pt x="383" y="522"/>
                        <a:pt x="388" y="503"/>
                        <a:pt x="388" y="503"/>
                      </a:cubicBezTo>
                      <a:cubicBezTo>
                        <a:pt x="378" y="495"/>
                        <a:pt x="378" y="495"/>
                        <a:pt x="378" y="495"/>
                      </a:cubicBezTo>
                      <a:cubicBezTo>
                        <a:pt x="395" y="480"/>
                        <a:pt x="395" y="480"/>
                        <a:pt x="395" y="480"/>
                      </a:cubicBezTo>
                      <a:cubicBezTo>
                        <a:pt x="407" y="466"/>
                        <a:pt x="407" y="466"/>
                        <a:pt x="407" y="466"/>
                      </a:cubicBezTo>
                      <a:cubicBezTo>
                        <a:pt x="407" y="466"/>
                        <a:pt x="418" y="459"/>
                        <a:pt x="430" y="456"/>
                      </a:cubicBezTo>
                      <a:cubicBezTo>
                        <a:pt x="442" y="453"/>
                        <a:pt x="447" y="436"/>
                        <a:pt x="447" y="436"/>
                      </a:cubicBezTo>
                      <a:cubicBezTo>
                        <a:pt x="447" y="436"/>
                        <a:pt x="458" y="434"/>
                        <a:pt x="468" y="430"/>
                      </a:cubicBezTo>
                      <a:cubicBezTo>
                        <a:pt x="479" y="426"/>
                        <a:pt x="488" y="408"/>
                        <a:pt x="488" y="408"/>
                      </a:cubicBezTo>
                      <a:cubicBezTo>
                        <a:pt x="488" y="408"/>
                        <a:pt x="508" y="401"/>
                        <a:pt x="518" y="389"/>
                      </a:cubicBezTo>
                      <a:cubicBezTo>
                        <a:pt x="529" y="376"/>
                        <a:pt x="516" y="353"/>
                        <a:pt x="516" y="353"/>
                      </a:cubicBezTo>
                      <a:lnTo>
                        <a:pt x="498" y="375"/>
                      </a:lnTo>
                      <a:close/>
                      <a:moveTo>
                        <a:pt x="815" y="215"/>
                      </a:moveTo>
                      <a:cubicBezTo>
                        <a:pt x="823" y="210"/>
                        <a:pt x="831" y="213"/>
                        <a:pt x="841" y="205"/>
                      </a:cubicBezTo>
                      <a:cubicBezTo>
                        <a:pt x="851" y="197"/>
                        <a:pt x="847" y="183"/>
                        <a:pt x="839" y="176"/>
                      </a:cubicBezTo>
                      <a:cubicBezTo>
                        <a:pt x="831" y="168"/>
                        <a:pt x="821" y="186"/>
                        <a:pt x="821" y="186"/>
                      </a:cubicBezTo>
                      <a:cubicBezTo>
                        <a:pt x="821" y="186"/>
                        <a:pt x="815" y="186"/>
                        <a:pt x="806" y="184"/>
                      </a:cubicBezTo>
                      <a:cubicBezTo>
                        <a:pt x="798" y="181"/>
                        <a:pt x="780" y="195"/>
                        <a:pt x="768" y="192"/>
                      </a:cubicBezTo>
                      <a:cubicBezTo>
                        <a:pt x="756" y="189"/>
                        <a:pt x="761" y="145"/>
                        <a:pt x="761" y="145"/>
                      </a:cubicBezTo>
                      <a:cubicBezTo>
                        <a:pt x="777" y="120"/>
                        <a:pt x="777" y="120"/>
                        <a:pt x="777" y="120"/>
                      </a:cubicBezTo>
                      <a:cubicBezTo>
                        <a:pt x="777" y="120"/>
                        <a:pt x="777" y="102"/>
                        <a:pt x="767" y="103"/>
                      </a:cubicBezTo>
                      <a:cubicBezTo>
                        <a:pt x="756" y="103"/>
                        <a:pt x="756" y="119"/>
                        <a:pt x="756" y="129"/>
                      </a:cubicBezTo>
                      <a:cubicBezTo>
                        <a:pt x="755" y="138"/>
                        <a:pt x="743" y="146"/>
                        <a:pt x="743" y="146"/>
                      </a:cubicBezTo>
                      <a:cubicBezTo>
                        <a:pt x="740" y="126"/>
                        <a:pt x="740" y="126"/>
                        <a:pt x="740" y="126"/>
                      </a:cubicBezTo>
                      <a:cubicBezTo>
                        <a:pt x="726" y="113"/>
                        <a:pt x="726" y="113"/>
                        <a:pt x="726" y="113"/>
                      </a:cubicBezTo>
                      <a:cubicBezTo>
                        <a:pt x="726" y="113"/>
                        <a:pt x="750" y="82"/>
                        <a:pt x="750" y="62"/>
                      </a:cubicBezTo>
                      <a:cubicBezTo>
                        <a:pt x="751" y="42"/>
                        <a:pt x="717" y="41"/>
                        <a:pt x="717" y="41"/>
                      </a:cubicBezTo>
                      <a:cubicBezTo>
                        <a:pt x="720" y="27"/>
                        <a:pt x="720" y="27"/>
                        <a:pt x="720" y="27"/>
                      </a:cubicBezTo>
                      <a:cubicBezTo>
                        <a:pt x="707" y="25"/>
                        <a:pt x="707" y="25"/>
                        <a:pt x="707" y="25"/>
                      </a:cubicBezTo>
                      <a:cubicBezTo>
                        <a:pt x="692" y="11"/>
                        <a:pt x="692" y="11"/>
                        <a:pt x="692" y="11"/>
                      </a:cubicBezTo>
                      <a:cubicBezTo>
                        <a:pt x="699" y="0"/>
                        <a:pt x="699" y="0"/>
                        <a:pt x="699" y="0"/>
                      </a:cubicBezTo>
                      <a:cubicBezTo>
                        <a:pt x="679" y="12"/>
                        <a:pt x="679" y="12"/>
                        <a:pt x="679" y="12"/>
                      </a:cubicBezTo>
                      <a:cubicBezTo>
                        <a:pt x="692" y="35"/>
                        <a:pt x="692" y="35"/>
                        <a:pt x="692" y="35"/>
                      </a:cubicBezTo>
                      <a:cubicBezTo>
                        <a:pt x="686" y="60"/>
                        <a:pt x="686" y="60"/>
                        <a:pt x="686" y="60"/>
                      </a:cubicBezTo>
                      <a:cubicBezTo>
                        <a:pt x="701" y="66"/>
                        <a:pt x="701" y="66"/>
                        <a:pt x="701" y="66"/>
                      </a:cubicBezTo>
                      <a:cubicBezTo>
                        <a:pt x="692" y="70"/>
                        <a:pt x="692" y="70"/>
                        <a:pt x="692" y="70"/>
                      </a:cubicBezTo>
                      <a:cubicBezTo>
                        <a:pt x="696" y="84"/>
                        <a:pt x="696" y="84"/>
                        <a:pt x="696" y="84"/>
                      </a:cubicBezTo>
                      <a:cubicBezTo>
                        <a:pt x="712" y="89"/>
                        <a:pt x="712" y="89"/>
                        <a:pt x="712" y="89"/>
                      </a:cubicBezTo>
                      <a:cubicBezTo>
                        <a:pt x="696" y="97"/>
                        <a:pt x="696" y="97"/>
                        <a:pt x="696" y="97"/>
                      </a:cubicBezTo>
                      <a:cubicBezTo>
                        <a:pt x="705" y="102"/>
                        <a:pt x="705" y="102"/>
                        <a:pt x="705" y="102"/>
                      </a:cubicBezTo>
                      <a:cubicBezTo>
                        <a:pt x="705" y="102"/>
                        <a:pt x="702" y="116"/>
                        <a:pt x="702" y="122"/>
                      </a:cubicBezTo>
                      <a:cubicBezTo>
                        <a:pt x="702" y="129"/>
                        <a:pt x="715" y="136"/>
                        <a:pt x="715" y="136"/>
                      </a:cubicBezTo>
                      <a:cubicBezTo>
                        <a:pt x="702" y="138"/>
                        <a:pt x="702" y="138"/>
                        <a:pt x="702" y="138"/>
                      </a:cubicBezTo>
                      <a:cubicBezTo>
                        <a:pt x="694" y="148"/>
                        <a:pt x="694" y="148"/>
                        <a:pt x="694" y="148"/>
                      </a:cubicBezTo>
                      <a:cubicBezTo>
                        <a:pt x="705" y="154"/>
                        <a:pt x="705" y="154"/>
                        <a:pt x="705" y="154"/>
                      </a:cubicBezTo>
                      <a:cubicBezTo>
                        <a:pt x="705" y="154"/>
                        <a:pt x="684" y="174"/>
                        <a:pt x="682" y="185"/>
                      </a:cubicBezTo>
                      <a:cubicBezTo>
                        <a:pt x="681" y="196"/>
                        <a:pt x="691" y="199"/>
                        <a:pt x="691" y="199"/>
                      </a:cubicBezTo>
                      <a:cubicBezTo>
                        <a:pt x="691" y="199"/>
                        <a:pt x="669" y="203"/>
                        <a:pt x="656" y="209"/>
                      </a:cubicBezTo>
                      <a:cubicBezTo>
                        <a:pt x="643" y="214"/>
                        <a:pt x="646" y="217"/>
                        <a:pt x="630" y="229"/>
                      </a:cubicBezTo>
                      <a:cubicBezTo>
                        <a:pt x="613" y="242"/>
                        <a:pt x="599" y="243"/>
                        <a:pt x="578" y="255"/>
                      </a:cubicBezTo>
                      <a:cubicBezTo>
                        <a:pt x="557" y="268"/>
                        <a:pt x="576" y="302"/>
                        <a:pt x="576" y="302"/>
                      </a:cubicBezTo>
                      <a:cubicBezTo>
                        <a:pt x="576" y="302"/>
                        <a:pt x="599" y="300"/>
                        <a:pt x="609" y="302"/>
                      </a:cubicBezTo>
                      <a:cubicBezTo>
                        <a:pt x="619" y="304"/>
                        <a:pt x="609" y="323"/>
                        <a:pt x="609" y="338"/>
                      </a:cubicBezTo>
                      <a:cubicBezTo>
                        <a:pt x="610" y="354"/>
                        <a:pt x="593" y="353"/>
                        <a:pt x="576" y="359"/>
                      </a:cubicBezTo>
                      <a:cubicBezTo>
                        <a:pt x="559" y="365"/>
                        <a:pt x="567" y="370"/>
                        <a:pt x="567" y="370"/>
                      </a:cubicBezTo>
                      <a:cubicBezTo>
                        <a:pt x="557" y="381"/>
                        <a:pt x="557" y="381"/>
                        <a:pt x="557" y="381"/>
                      </a:cubicBezTo>
                      <a:cubicBezTo>
                        <a:pt x="557" y="381"/>
                        <a:pt x="575" y="394"/>
                        <a:pt x="589" y="390"/>
                      </a:cubicBezTo>
                      <a:cubicBezTo>
                        <a:pt x="602" y="385"/>
                        <a:pt x="633" y="351"/>
                        <a:pt x="644" y="340"/>
                      </a:cubicBezTo>
                      <a:cubicBezTo>
                        <a:pt x="655" y="329"/>
                        <a:pt x="682" y="321"/>
                        <a:pt x="687" y="321"/>
                      </a:cubicBezTo>
                      <a:cubicBezTo>
                        <a:pt x="692" y="320"/>
                        <a:pt x="697" y="308"/>
                        <a:pt x="697" y="308"/>
                      </a:cubicBezTo>
                      <a:cubicBezTo>
                        <a:pt x="697" y="308"/>
                        <a:pt x="704" y="305"/>
                        <a:pt x="715" y="301"/>
                      </a:cubicBezTo>
                      <a:cubicBezTo>
                        <a:pt x="726" y="296"/>
                        <a:pt x="715" y="277"/>
                        <a:pt x="715" y="277"/>
                      </a:cubicBezTo>
                      <a:cubicBezTo>
                        <a:pt x="715" y="277"/>
                        <a:pt x="725" y="269"/>
                        <a:pt x="738" y="263"/>
                      </a:cubicBezTo>
                      <a:cubicBezTo>
                        <a:pt x="752" y="257"/>
                        <a:pt x="762" y="269"/>
                        <a:pt x="774" y="266"/>
                      </a:cubicBezTo>
                      <a:cubicBezTo>
                        <a:pt x="786" y="264"/>
                        <a:pt x="782" y="240"/>
                        <a:pt x="782" y="240"/>
                      </a:cubicBezTo>
                      <a:cubicBezTo>
                        <a:pt x="782" y="240"/>
                        <a:pt x="793" y="237"/>
                        <a:pt x="805" y="236"/>
                      </a:cubicBezTo>
                      <a:cubicBezTo>
                        <a:pt x="816" y="235"/>
                        <a:pt x="808" y="221"/>
                        <a:pt x="815" y="215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9" name="Australia">
                  <a:extLst>
                    <a:ext uri="{FF2B5EF4-FFF2-40B4-BE49-F238E27FC236}">
                      <a16:creationId xmlns:a16="http://schemas.microsoft.com/office/drawing/2014/main" id="{17CEE1A8-D9C6-A527-8D56-D1D2DDAAF4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8502775" y="4402489"/>
                  <a:ext cx="1062221" cy="993314"/>
                </a:xfrm>
                <a:custGeom>
                  <a:avLst/>
                  <a:gdLst>
                    <a:gd name="T0" fmla="*/ 971 w 1898"/>
                    <a:gd name="T1" fmla="*/ 1367 h 1774"/>
                    <a:gd name="T2" fmla="*/ 1008 w 1898"/>
                    <a:gd name="T3" fmla="*/ 1349 h 1774"/>
                    <a:gd name="T4" fmla="*/ 1830 w 1898"/>
                    <a:gd name="T5" fmla="*/ 698 h 1774"/>
                    <a:gd name="T6" fmla="*/ 1797 w 1898"/>
                    <a:gd name="T7" fmla="*/ 622 h 1774"/>
                    <a:gd name="T8" fmla="*/ 1707 w 1898"/>
                    <a:gd name="T9" fmla="*/ 471 h 1774"/>
                    <a:gd name="T10" fmla="*/ 1649 w 1898"/>
                    <a:gd name="T11" fmla="*/ 192 h 1774"/>
                    <a:gd name="T12" fmla="*/ 1596 w 1898"/>
                    <a:gd name="T13" fmla="*/ 64 h 1774"/>
                    <a:gd name="T14" fmla="*/ 1541 w 1898"/>
                    <a:gd name="T15" fmla="*/ 18 h 1774"/>
                    <a:gd name="T16" fmla="*/ 1494 w 1898"/>
                    <a:gd name="T17" fmla="*/ 189 h 1774"/>
                    <a:gd name="T18" fmla="*/ 1283 w 1898"/>
                    <a:gd name="T19" fmla="*/ 306 h 1774"/>
                    <a:gd name="T20" fmla="*/ 1239 w 1898"/>
                    <a:gd name="T21" fmla="*/ 181 h 1774"/>
                    <a:gd name="T22" fmla="*/ 1269 w 1898"/>
                    <a:gd name="T23" fmla="*/ 69 h 1774"/>
                    <a:gd name="T24" fmla="*/ 1170 w 1898"/>
                    <a:gd name="T25" fmla="*/ 75 h 1774"/>
                    <a:gd name="T26" fmla="*/ 1050 w 1898"/>
                    <a:gd name="T27" fmla="*/ 42 h 1774"/>
                    <a:gd name="T28" fmla="*/ 1012 w 1898"/>
                    <a:gd name="T29" fmla="*/ 86 h 1774"/>
                    <a:gd name="T30" fmla="*/ 910 w 1898"/>
                    <a:gd name="T31" fmla="*/ 212 h 1774"/>
                    <a:gd name="T32" fmla="*/ 872 w 1898"/>
                    <a:gd name="T33" fmla="*/ 235 h 1774"/>
                    <a:gd name="T34" fmla="*/ 848 w 1898"/>
                    <a:gd name="T35" fmla="*/ 215 h 1774"/>
                    <a:gd name="T36" fmla="*/ 788 w 1898"/>
                    <a:gd name="T37" fmla="*/ 185 h 1774"/>
                    <a:gd name="T38" fmla="*/ 731 w 1898"/>
                    <a:gd name="T39" fmla="*/ 238 h 1774"/>
                    <a:gd name="T40" fmla="*/ 676 w 1898"/>
                    <a:gd name="T41" fmla="*/ 279 h 1774"/>
                    <a:gd name="T42" fmla="*/ 614 w 1898"/>
                    <a:gd name="T43" fmla="*/ 310 h 1774"/>
                    <a:gd name="T44" fmla="*/ 606 w 1898"/>
                    <a:gd name="T45" fmla="*/ 348 h 1774"/>
                    <a:gd name="T46" fmla="*/ 531 w 1898"/>
                    <a:gd name="T47" fmla="*/ 409 h 1774"/>
                    <a:gd name="T48" fmla="*/ 359 w 1898"/>
                    <a:gd name="T49" fmla="*/ 505 h 1774"/>
                    <a:gd name="T50" fmla="*/ 218 w 1898"/>
                    <a:gd name="T51" fmla="*/ 554 h 1774"/>
                    <a:gd name="T52" fmla="*/ 83 w 1898"/>
                    <a:gd name="T53" fmla="*/ 649 h 1774"/>
                    <a:gd name="T54" fmla="*/ 48 w 1898"/>
                    <a:gd name="T55" fmla="*/ 813 h 1774"/>
                    <a:gd name="T56" fmla="*/ 35 w 1898"/>
                    <a:gd name="T57" fmla="*/ 937 h 1774"/>
                    <a:gd name="T58" fmla="*/ 87 w 1898"/>
                    <a:gd name="T59" fmla="*/ 1141 h 1774"/>
                    <a:gd name="T60" fmla="*/ 56 w 1898"/>
                    <a:gd name="T61" fmla="*/ 1305 h 1774"/>
                    <a:gd name="T62" fmla="*/ 186 w 1898"/>
                    <a:gd name="T63" fmla="*/ 1285 h 1774"/>
                    <a:gd name="T64" fmla="*/ 384 w 1898"/>
                    <a:gd name="T65" fmla="*/ 1244 h 1774"/>
                    <a:gd name="T66" fmla="*/ 594 w 1898"/>
                    <a:gd name="T67" fmla="*/ 1153 h 1774"/>
                    <a:gd name="T68" fmla="*/ 896 w 1898"/>
                    <a:gd name="T69" fmla="*/ 1136 h 1774"/>
                    <a:gd name="T70" fmla="*/ 932 w 1898"/>
                    <a:gd name="T71" fmla="*/ 1225 h 1774"/>
                    <a:gd name="T72" fmla="*/ 962 w 1898"/>
                    <a:gd name="T73" fmla="*/ 1304 h 1774"/>
                    <a:gd name="T74" fmla="*/ 1060 w 1898"/>
                    <a:gd name="T75" fmla="*/ 1224 h 1774"/>
                    <a:gd name="T76" fmla="*/ 1083 w 1898"/>
                    <a:gd name="T77" fmla="*/ 1210 h 1774"/>
                    <a:gd name="T78" fmla="*/ 1011 w 1898"/>
                    <a:gd name="T79" fmla="*/ 1319 h 1774"/>
                    <a:gd name="T80" fmla="*/ 1072 w 1898"/>
                    <a:gd name="T81" fmla="*/ 1339 h 1774"/>
                    <a:gd name="T82" fmla="*/ 1118 w 1898"/>
                    <a:gd name="T83" fmla="*/ 1477 h 1774"/>
                    <a:gd name="T84" fmla="*/ 1319 w 1898"/>
                    <a:gd name="T85" fmla="*/ 1502 h 1774"/>
                    <a:gd name="T86" fmla="*/ 1360 w 1898"/>
                    <a:gd name="T87" fmla="*/ 1532 h 1774"/>
                    <a:gd name="T88" fmla="*/ 1533 w 1898"/>
                    <a:gd name="T89" fmla="*/ 1461 h 1774"/>
                    <a:gd name="T90" fmla="*/ 1641 w 1898"/>
                    <a:gd name="T91" fmla="*/ 1275 h 1774"/>
                    <a:gd name="T92" fmla="*/ 1874 w 1898"/>
                    <a:gd name="T93" fmla="*/ 952 h 1774"/>
                    <a:gd name="T94" fmla="*/ 1364 w 1898"/>
                    <a:gd name="T95" fmla="*/ 1612 h 1774"/>
                    <a:gd name="T96" fmla="*/ 1274 w 1898"/>
                    <a:gd name="T97" fmla="*/ 1651 h 1774"/>
                    <a:gd name="T98" fmla="*/ 1184 w 1898"/>
                    <a:gd name="T99" fmla="*/ 1616 h 1774"/>
                    <a:gd name="T100" fmla="*/ 1155 w 1898"/>
                    <a:gd name="T101" fmla="*/ 1713 h 1774"/>
                    <a:gd name="T102" fmla="*/ 1214 w 1898"/>
                    <a:gd name="T103" fmla="*/ 1769 h 1774"/>
                    <a:gd name="T104" fmla="*/ 1282 w 1898"/>
                    <a:gd name="T105" fmla="*/ 1706 h 1774"/>
                    <a:gd name="T106" fmla="*/ 1290 w 1898"/>
                    <a:gd name="T107" fmla="*/ 195 h 1774"/>
                    <a:gd name="T108" fmla="*/ 1209 w 1898"/>
                    <a:gd name="T109" fmla="*/ 1549 h 1774"/>
                    <a:gd name="T110" fmla="*/ 1357 w 1898"/>
                    <a:gd name="T111" fmla="*/ 1597 h 17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898" h="1774">
                      <a:moveTo>
                        <a:pt x="1024" y="43"/>
                      </a:moveTo>
                      <a:cubicBezTo>
                        <a:pt x="1014" y="29"/>
                        <a:pt x="990" y="54"/>
                        <a:pt x="999" y="65"/>
                      </a:cubicBezTo>
                      <a:cubicBezTo>
                        <a:pt x="1008" y="75"/>
                        <a:pt x="1024" y="43"/>
                        <a:pt x="1024" y="43"/>
                      </a:cubicBezTo>
                      <a:close/>
                      <a:moveTo>
                        <a:pt x="986" y="1341"/>
                      </a:moveTo>
                      <a:cubicBezTo>
                        <a:pt x="972" y="1343"/>
                        <a:pt x="954" y="1348"/>
                        <a:pt x="961" y="1354"/>
                      </a:cubicBezTo>
                      <a:cubicBezTo>
                        <a:pt x="968" y="1360"/>
                        <a:pt x="971" y="1367"/>
                        <a:pt x="971" y="1367"/>
                      </a:cubicBezTo>
                      <a:cubicBezTo>
                        <a:pt x="985" y="1367"/>
                        <a:pt x="999" y="1359"/>
                        <a:pt x="999" y="1359"/>
                      </a:cubicBezTo>
                      <a:cubicBezTo>
                        <a:pt x="1007" y="1359"/>
                        <a:pt x="1007" y="1359"/>
                        <a:pt x="1007" y="1359"/>
                      </a:cubicBezTo>
                      <a:cubicBezTo>
                        <a:pt x="1011" y="1356"/>
                        <a:pt x="1011" y="1356"/>
                        <a:pt x="1011" y="1356"/>
                      </a:cubicBezTo>
                      <a:cubicBezTo>
                        <a:pt x="1022" y="1356"/>
                        <a:pt x="1022" y="1356"/>
                        <a:pt x="1022" y="1356"/>
                      </a:cubicBezTo>
                      <a:cubicBezTo>
                        <a:pt x="1026" y="1351"/>
                        <a:pt x="1026" y="1351"/>
                        <a:pt x="1026" y="1351"/>
                      </a:cubicBezTo>
                      <a:cubicBezTo>
                        <a:pt x="1008" y="1349"/>
                        <a:pt x="1008" y="1349"/>
                        <a:pt x="1008" y="1349"/>
                      </a:cubicBezTo>
                      <a:cubicBezTo>
                        <a:pt x="1008" y="1349"/>
                        <a:pt x="1000" y="1340"/>
                        <a:pt x="986" y="1341"/>
                      </a:cubicBezTo>
                      <a:close/>
                      <a:moveTo>
                        <a:pt x="1869" y="774"/>
                      </a:moveTo>
                      <a:cubicBezTo>
                        <a:pt x="1869" y="774"/>
                        <a:pt x="1866" y="733"/>
                        <a:pt x="1865" y="727"/>
                      </a:cubicBezTo>
                      <a:cubicBezTo>
                        <a:pt x="1863" y="721"/>
                        <a:pt x="1843" y="720"/>
                        <a:pt x="1843" y="720"/>
                      </a:cubicBezTo>
                      <a:cubicBezTo>
                        <a:pt x="1843" y="706"/>
                        <a:pt x="1843" y="706"/>
                        <a:pt x="1843" y="706"/>
                      </a:cubicBezTo>
                      <a:cubicBezTo>
                        <a:pt x="1830" y="698"/>
                        <a:pt x="1830" y="698"/>
                        <a:pt x="1830" y="698"/>
                      </a:cubicBezTo>
                      <a:cubicBezTo>
                        <a:pt x="1830" y="698"/>
                        <a:pt x="1835" y="681"/>
                        <a:pt x="1830" y="674"/>
                      </a:cubicBezTo>
                      <a:cubicBezTo>
                        <a:pt x="1825" y="667"/>
                        <a:pt x="1805" y="660"/>
                        <a:pt x="1805" y="660"/>
                      </a:cubicBezTo>
                      <a:cubicBezTo>
                        <a:pt x="1805" y="660"/>
                        <a:pt x="1840" y="654"/>
                        <a:pt x="1842" y="641"/>
                      </a:cubicBezTo>
                      <a:cubicBezTo>
                        <a:pt x="1844" y="627"/>
                        <a:pt x="1822" y="623"/>
                        <a:pt x="1822" y="623"/>
                      </a:cubicBezTo>
                      <a:cubicBezTo>
                        <a:pt x="1822" y="623"/>
                        <a:pt x="1815" y="602"/>
                        <a:pt x="1804" y="603"/>
                      </a:cubicBezTo>
                      <a:cubicBezTo>
                        <a:pt x="1792" y="604"/>
                        <a:pt x="1797" y="622"/>
                        <a:pt x="1797" y="622"/>
                      </a:cubicBezTo>
                      <a:cubicBezTo>
                        <a:pt x="1783" y="619"/>
                        <a:pt x="1783" y="619"/>
                        <a:pt x="1783" y="619"/>
                      </a:cubicBezTo>
                      <a:cubicBezTo>
                        <a:pt x="1783" y="619"/>
                        <a:pt x="1796" y="578"/>
                        <a:pt x="1796" y="568"/>
                      </a:cubicBezTo>
                      <a:cubicBezTo>
                        <a:pt x="1795" y="559"/>
                        <a:pt x="1775" y="557"/>
                        <a:pt x="1771" y="547"/>
                      </a:cubicBezTo>
                      <a:cubicBezTo>
                        <a:pt x="1768" y="538"/>
                        <a:pt x="1781" y="521"/>
                        <a:pt x="1777" y="507"/>
                      </a:cubicBezTo>
                      <a:cubicBezTo>
                        <a:pt x="1773" y="494"/>
                        <a:pt x="1713" y="465"/>
                        <a:pt x="1713" y="465"/>
                      </a:cubicBezTo>
                      <a:cubicBezTo>
                        <a:pt x="1707" y="471"/>
                        <a:pt x="1707" y="471"/>
                        <a:pt x="1707" y="471"/>
                      </a:cubicBezTo>
                      <a:cubicBezTo>
                        <a:pt x="1707" y="471"/>
                        <a:pt x="1679" y="439"/>
                        <a:pt x="1677" y="417"/>
                      </a:cubicBezTo>
                      <a:cubicBezTo>
                        <a:pt x="1676" y="394"/>
                        <a:pt x="1685" y="381"/>
                        <a:pt x="1685" y="361"/>
                      </a:cubicBezTo>
                      <a:cubicBezTo>
                        <a:pt x="1685" y="341"/>
                        <a:pt x="1666" y="298"/>
                        <a:pt x="1662" y="282"/>
                      </a:cubicBezTo>
                      <a:cubicBezTo>
                        <a:pt x="1658" y="266"/>
                        <a:pt x="1669" y="256"/>
                        <a:pt x="1671" y="247"/>
                      </a:cubicBezTo>
                      <a:cubicBezTo>
                        <a:pt x="1673" y="238"/>
                        <a:pt x="1666" y="200"/>
                        <a:pt x="1666" y="200"/>
                      </a:cubicBezTo>
                      <a:cubicBezTo>
                        <a:pt x="1649" y="192"/>
                        <a:pt x="1649" y="192"/>
                        <a:pt x="1649" y="192"/>
                      </a:cubicBezTo>
                      <a:cubicBezTo>
                        <a:pt x="1649" y="192"/>
                        <a:pt x="1635" y="177"/>
                        <a:pt x="1625" y="177"/>
                      </a:cubicBezTo>
                      <a:cubicBezTo>
                        <a:pt x="1615" y="176"/>
                        <a:pt x="1609" y="191"/>
                        <a:pt x="1609" y="191"/>
                      </a:cubicBezTo>
                      <a:cubicBezTo>
                        <a:pt x="1609" y="191"/>
                        <a:pt x="1602" y="176"/>
                        <a:pt x="1601" y="167"/>
                      </a:cubicBezTo>
                      <a:cubicBezTo>
                        <a:pt x="1600" y="159"/>
                        <a:pt x="1607" y="135"/>
                        <a:pt x="1607" y="135"/>
                      </a:cubicBezTo>
                      <a:cubicBezTo>
                        <a:pt x="1596" y="120"/>
                        <a:pt x="1596" y="120"/>
                        <a:pt x="1596" y="120"/>
                      </a:cubicBezTo>
                      <a:cubicBezTo>
                        <a:pt x="1596" y="64"/>
                        <a:pt x="1596" y="64"/>
                        <a:pt x="1596" y="64"/>
                      </a:cubicBezTo>
                      <a:cubicBezTo>
                        <a:pt x="1596" y="64"/>
                        <a:pt x="1575" y="50"/>
                        <a:pt x="1578" y="41"/>
                      </a:cubicBezTo>
                      <a:cubicBezTo>
                        <a:pt x="1582" y="32"/>
                        <a:pt x="1586" y="20"/>
                        <a:pt x="1581" y="15"/>
                      </a:cubicBezTo>
                      <a:cubicBezTo>
                        <a:pt x="1576" y="11"/>
                        <a:pt x="1564" y="9"/>
                        <a:pt x="1564" y="9"/>
                      </a:cubicBezTo>
                      <a:cubicBezTo>
                        <a:pt x="1565" y="0"/>
                        <a:pt x="1565" y="0"/>
                        <a:pt x="1565" y="0"/>
                      </a:cubicBezTo>
                      <a:cubicBezTo>
                        <a:pt x="1545" y="5"/>
                        <a:pt x="1545" y="5"/>
                        <a:pt x="1545" y="5"/>
                      </a:cubicBezTo>
                      <a:cubicBezTo>
                        <a:pt x="1541" y="18"/>
                        <a:pt x="1541" y="18"/>
                        <a:pt x="1541" y="18"/>
                      </a:cubicBezTo>
                      <a:cubicBezTo>
                        <a:pt x="1541" y="18"/>
                        <a:pt x="1529" y="26"/>
                        <a:pt x="1523" y="30"/>
                      </a:cubicBezTo>
                      <a:cubicBezTo>
                        <a:pt x="1518" y="34"/>
                        <a:pt x="1531" y="60"/>
                        <a:pt x="1531" y="70"/>
                      </a:cubicBezTo>
                      <a:cubicBezTo>
                        <a:pt x="1530" y="81"/>
                        <a:pt x="1496" y="118"/>
                        <a:pt x="1496" y="118"/>
                      </a:cubicBezTo>
                      <a:cubicBezTo>
                        <a:pt x="1507" y="127"/>
                        <a:pt x="1507" y="127"/>
                        <a:pt x="1507" y="127"/>
                      </a:cubicBezTo>
                      <a:cubicBezTo>
                        <a:pt x="1507" y="127"/>
                        <a:pt x="1492" y="147"/>
                        <a:pt x="1490" y="155"/>
                      </a:cubicBezTo>
                      <a:cubicBezTo>
                        <a:pt x="1488" y="163"/>
                        <a:pt x="1494" y="189"/>
                        <a:pt x="1494" y="189"/>
                      </a:cubicBezTo>
                      <a:cubicBezTo>
                        <a:pt x="1494" y="189"/>
                        <a:pt x="1473" y="273"/>
                        <a:pt x="1472" y="285"/>
                      </a:cubicBezTo>
                      <a:cubicBezTo>
                        <a:pt x="1471" y="296"/>
                        <a:pt x="1444" y="325"/>
                        <a:pt x="1444" y="325"/>
                      </a:cubicBezTo>
                      <a:cubicBezTo>
                        <a:pt x="1444" y="325"/>
                        <a:pt x="1445" y="358"/>
                        <a:pt x="1428" y="366"/>
                      </a:cubicBezTo>
                      <a:cubicBezTo>
                        <a:pt x="1411" y="373"/>
                        <a:pt x="1375" y="381"/>
                        <a:pt x="1375" y="381"/>
                      </a:cubicBezTo>
                      <a:cubicBezTo>
                        <a:pt x="1375" y="381"/>
                        <a:pt x="1354" y="347"/>
                        <a:pt x="1349" y="337"/>
                      </a:cubicBezTo>
                      <a:cubicBezTo>
                        <a:pt x="1344" y="328"/>
                        <a:pt x="1303" y="314"/>
                        <a:pt x="1283" y="306"/>
                      </a:cubicBezTo>
                      <a:cubicBezTo>
                        <a:pt x="1262" y="299"/>
                        <a:pt x="1249" y="266"/>
                        <a:pt x="1246" y="262"/>
                      </a:cubicBezTo>
                      <a:cubicBezTo>
                        <a:pt x="1243" y="259"/>
                        <a:pt x="1223" y="261"/>
                        <a:pt x="1223" y="261"/>
                      </a:cubicBezTo>
                      <a:cubicBezTo>
                        <a:pt x="1207" y="231"/>
                        <a:pt x="1207" y="231"/>
                        <a:pt x="1207" y="231"/>
                      </a:cubicBezTo>
                      <a:cubicBezTo>
                        <a:pt x="1220" y="217"/>
                        <a:pt x="1220" y="217"/>
                        <a:pt x="1220" y="217"/>
                      </a:cubicBezTo>
                      <a:cubicBezTo>
                        <a:pt x="1220" y="217"/>
                        <a:pt x="1213" y="206"/>
                        <a:pt x="1221" y="195"/>
                      </a:cubicBezTo>
                      <a:cubicBezTo>
                        <a:pt x="1229" y="184"/>
                        <a:pt x="1239" y="181"/>
                        <a:pt x="1239" y="181"/>
                      </a:cubicBezTo>
                      <a:cubicBezTo>
                        <a:pt x="1235" y="151"/>
                        <a:pt x="1235" y="151"/>
                        <a:pt x="1235" y="151"/>
                      </a:cubicBezTo>
                      <a:cubicBezTo>
                        <a:pt x="1248" y="139"/>
                        <a:pt x="1248" y="139"/>
                        <a:pt x="1248" y="139"/>
                      </a:cubicBezTo>
                      <a:cubicBezTo>
                        <a:pt x="1248" y="139"/>
                        <a:pt x="1262" y="146"/>
                        <a:pt x="1267" y="144"/>
                      </a:cubicBezTo>
                      <a:cubicBezTo>
                        <a:pt x="1273" y="142"/>
                        <a:pt x="1274" y="119"/>
                        <a:pt x="1274" y="119"/>
                      </a:cubicBezTo>
                      <a:cubicBezTo>
                        <a:pt x="1299" y="95"/>
                        <a:pt x="1299" y="95"/>
                        <a:pt x="1299" y="95"/>
                      </a:cubicBezTo>
                      <a:cubicBezTo>
                        <a:pt x="1299" y="95"/>
                        <a:pt x="1285" y="72"/>
                        <a:pt x="1269" y="69"/>
                      </a:cubicBezTo>
                      <a:cubicBezTo>
                        <a:pt x="1252" y="67"/>
                        <a:pt x="1231" y="92"/>
                        <a:pt x="1231" y="92"/>
                      </a:cubicBezTo>
                      <a:cubicBezTo>
                        <a:pt x="1229" y="78"/>
                        <a:pt x="1229" y="78"/>
                        <a:pt x="1229" y="78"/>
                      </a:cubicBezTo>
                      <a:cubicBezTo>
                        <a:pt x="1209" y="80"/>
                        <a:pt x="1209" y="80"/>
                        <a:pt x="1209" y="80"/>
                      </a:cubicBezTo>
                      <a:cubicBezTo>
                        <a:pt x="1200" y="89"/>
                        <a:pt x="1200" y="89"/>
                        <a:pt x="1200" y="89"/>
                      </a:cubicBezTo>
                      <a:cubicBezTo>
                        <a:pt x="1194" y="78"/>
                        <a:pt x="1194" y="78"/>
                        <a:pt x="1194" y="78"/>
                      </a:cubicBezTo>
                      <a:cubicBezTo>
                        <a:pt x="1170" y="75"/>
                        <a:pt x="1170" y="75"/>
                        <a:pt x="1170" y="75"/>
                      </a:cubicBezTo>
                      <a:cubicBezTo>
                        <a:pt x="1170" y="75"/>
                        <a:pt x="1144" y="56"/>
                        <a:pt x="1139" y="56"/>
                      </a:cubicBezTo>
                      <a:cubicBezTo>
                        <a:pt x="1135" y="57"/>
                        <a:pt x="1101" y="53"/>
                        <a:pt x="1101" y="53"/>
                      </a:cubicBezTo>
                      <a:cubicBezTo>
                        <a:pt x="1101" y="53"/>
                        <a:pt x="1093" y="31"/>
                        <a:pt x="1086" y="28"/>
                      </a:cubicBezTo>
                      <a:cubicBezTo>
                        <a:pt x="1080" y="24"/>
                        <a:pt x="1078" y="38"/>
                        <a:pt x="1078" y="38"/>
                      </a:cubicBezTo>
                      <a:cubicBezTo>
                        <a:pt x="1078" y="38"/>
                        <a:pt x="1053" y="25"/>
                        <a:pt x="1047" y="30"/>
                      </a:cubicBezTo>
                      <a:cubicBezTo>
                        <a:pt x="1041" y="34"/>
                        <a:pt x="1050" y="42"/>
                        <a:pt x="1050" y="42"/>
                      </a:cubicBezTo>
                      <a:cubicBezTo>
                        <a:pt x="1050" y="42"/>
                        <a:pt x="1037" y="41"/>
                        <a:pt x="1035" y="46"/>
                      </a:cubicBezTo>
                      <a:cubicBezTo>
                        <a:pt x="1032" y="52"/>
                        <a:pt x="1049" y="58"/>
                        <a:pt x="1060" y="61"/>
                      </a:cubicBezTo>
                      <a:cubicBezTo>
                        <a:pt x="1071" y="64"/>
                        <a:pt x="1077" y="56"/>
                        <a:pt x="1077" y="56"/>
                      </a:cubicBezTo>
                      <a:cubicBezTo>
                        <a:pt x="1099" y="65"/>
                        <a:pt x="1099" y="65"/>
                        <a:pt x="1099" y="65"/>
                      </a:cubicBezTo>
                      <a:cubicBezTo>
                        <a:pt x="1099" y="65"/>
                        <a:pt x="1077" y="78"/>
                        <a:pt x="1065" y="83"/>
                      </a:cubicBezTo>
                      <a:cubicBezTo>
                        <a:pt x="1054" y="88"/>
                        <a:pt x="1020" y="84"/>
                        <a:pt x="1012" y="86"/>
                      </a:cubicBezTo>
                      <a:cubicBezTo>
                        <a:pt x="1005" y="88"/>
                        <a:pt x="955" y="114"/>
                        <a:pt x="955" y="114"/>
                      </a:cubicBezTo>
                      <a:cubicBezTo>
                        <a:pt x="955" y="114"/>
                        <a:pt x="949" y="131"/>
                        <a:pt x="948" y="142"/>
                      </a:cubicBezTo>
                      <a:cubicBezTo>
                        <a:pt x="947" y="152"/>
                        <a:pt x="968" y="161"/>
                        <a:pt x="968" y="161"/>
                      </a:cubicBezTo>
                      <a:cubicBezTo>
                        <a:pt x="935" y="163"/>
                        <a:pt x="935" y="163"/>
                        <a:pt x="935" y="163"/>
                      </a:cubicBezTo>
                      <a:cubicBezTo>
                        <a:pt x="912" y="185"/>
                        <a:pt x="912" y="185"/>
                        <a:pt x="912" y="185"/>
                      </a:cubicBezTo>
                      <a:cubicBezTo>
                        <a:pt x="912" y="185"/>
                        <a:pt x="916" y="205"/>
                        <a:pt x="910" y="212"/>
                      </a:cubicBezTo>
                      <a:cubicBezTo>
                        <a:pt x="904" y="219"/>
                        <a:pt x="927" y="226"/>
                        <a:pt x="936" y="231"/>
                      </a:cubicBezTo>
                      <a:cubicBezTo>
                        <a:pt x="946" y="235"/>
                        <a:pt x="942" y="256"/>
                        <a:pt x="942" y="256"/>
                      </a:cubicBezTo>
                      <a:cubicBezTo>
                        <a:pt x="927" y="242"/>
                        <a:pt x="927" y="242"/>
                        <a:pt x="927" y="242"/>
                      </a:cubicBezTo>
                      <a:cubicBezTo>
                        <a:pt x="907" y="244"/>
                        <a:pt x="907" y="244"/>
                        <a:pt x="907" y="244"/>
                      </a:cubicBezTo>
                      <a:cubicBezTo>
                        <a:pt x="899" y="256"/>
                        <a:pt x="899" y="256"/>
                        <a:pt x="899" y="256"/>
                      </a:cubicBezTo>
                      <a:cubicBezTo>
                        <a:pt x="872" y="235"/>
                        <a:pt x="872" y="235"/>
                        <a:pt x="872" y="235"/>
                      </a:cubicBezTo>
                      <a:cubicBezTo>
                        <a:pt x="869" y="256"/>
                        <a:pt x="869" y="256"/>
                        <a:pt x="869" y="256"/>
                      </a:cubicBezTo>
                      <a:cubicBezTo>
                        <a:pt x="853" y="261"/>
                        <a:pt x="853" y="261"/>
                        <a:pt x="853" y="261"/>
                      </a:cubicBezTo>
                      <a:cubicBezTo>
                        <a:pt x="856" y="279"/>
                        <a:pt x="856" y="279"/>
                        <a:pt x="856" y="279"/>
                      </a:cubicBezTo>
                      <a:cubicBezTo>
                        <a:pt x="837" y="276"/>
                        <a:pt x="837" y="276"/>
                        <a:pt x="837" y="276"/>
                      </a:cubicBezTo>
                      <a:cubicBezTo>
                        <a:pt x="856" y="232"/>
                        <a:pt x="856" y="232"/>
                        <a:pt x="856" y="232"/>
                      </a:cubicBezTo>
                      <a:cubicBezTo>
                        <a:pt x="856" y="232"/>
                        <a:pt x="851" y="226"/>
                        <a:pt x="848" y="215"/>
                      </a:cubicBezTo>
                      <a:cubicBezTo>
                        <a:pt x="846" y="203"/>
                        <a:pt x="827" y="205"/>
                        <a:pt x="827" y="205"/>
                      </a:cubicBezTo>
                      <a:cubicBezTo>
                        <a:pt x="816" y="187"/>
                        <a:pt x="816" y="187"/>
                        <a:pt x="816" y="187"/>
                      </a:cubicBezTo>
                      <a:cubicBezTo>
                        <a:pt x="816" y="187"/>
                        <a:pt x="825" y="167"/>
                        <a:pt x="814" y="159"/>
                      </a:cubicBezTo>
                      <a:cubicBezTo>
                        <a:pt x="802" y="151"/>
                        <a:pt x="787" y="162"/>
                        <a:pt x="787" y="169"/>
                      </a:cubicBezTo>
                      <a:cubicBezTo>
                        <a:pt x="786" y="176"/>
                        <a:pt x="792" y="176"/>
                        <a:pt x="792" y="176"/>
                      </a:cubicBezTo>
                      <a:cubicBezTo>
                        <a:pt x="788" y="185"/>
                        <a:pt x="788" y="185"/>
                        <a:pt x="788" y="185"/>
                      </a:cubicBezTo>
                      <a:cubicBezTo>
                        <a:pt x="768" y="184"/>
                        <a:pt x="768" y="184"/>
                        <a:pt x="768" y="184"/>
                      </a:cubicBezTo>
                      <a:cubicBezTo>
                        <a:pt x="771" y="202"/>
                        <a:pt x="771" y="202"/>
                        <a:pt x="771" y="202"/>
                      </a:cubicBezTo>
                      <a:cubicBezTo>
                        <a:pt x="758" y="196"/>
                        <a:pt x="758" y="196"/>
                        <a:pt x="758" y="196"/>
                      </a:cubicBezTo>
                      <a:cubicBezTo>
                        <a:pt x="746" y="201"/>
                        <a:pt x="746" y="201"/>
                        <a:pt x="746" y="201"/>
                      </a:cubicBezTo>
                      <a:cubicBezTo>
                        <a:pt x="746" y="201"/>
                        <a:pt x="751" y="209"/>
                        <a:pt x="749" y="219"/>
                      </a:cubicBezTo>
                      <a:cubicBezTo>
                        <a:pt x="747" y="230"/>
                        <a:pt x="731" y="238"/>
                        <a:pt x="731" y="238"/>
                      </a:cubicBezTo>
                      <a:cubicBezTo>
                        <a:pt x="736" y="214"/>
                        <a:pt x="736" y="214"/>
                        <a:pt x="736" y="214"/>
                      </a:cubicBezTo>
                      <a:cubicBezTo>
                        <a:pt x="724" y="229"/>
                        <a:pt x="724" y="229"/>
                        <a:pt x="724" y="229"/>
                      </a:cubicBezTo>
                      <a:cubicBezTo>
                        <a:pt x="724" y="229"/>
                        <a:pt x="713" y="227"/>
                        <a:pt x="706" y="237"/>
                      </a:cubicBezTo>
                      <a:cubicBezTo>
                        <a:pt x="699" y="247"/>
                        <a:pt x="710" y="268"/>
                        <a:pt x="710" y="268"/>
                      </a:cubicBezTo>
                      <a:cubicBezTo>
                        <a:pt x="679" y="255"/>
                        <a:pt x="679" y="255"/>
                        <a:pt x="679" y="255"/>
                      </a:cubicBezTo>
                      <a:cubicBezTo>
                        <a:pt x="676" y="279"/>
                        <a:pt x="676" y="279"/>
                        <a:pt x="676" y="279"/>
                      </a:cubicBezTo>
                      <a:cubicBezTo>
                        <a:pt x="665" y="281"/>
                        <a:pt x="665" y="281"/>
                        <a:pt x="665" y="281"/>
                      </a:cubicBezTo>
                      <a:cubicBezTo>
                        <a:pt x="676" y="298"/>
                        <a:pt x="676" y="298"/>
                        <a:pt x="676" y="298"/>
                      </a:cubicBezTo>
                      <a:cubicBezTo>
                        <a:pt x="688" y="297"/>
                        <a:pt x="688" y="297"/>
                        <a:pt x="688" y="297"/>
                      </a:cubicBezTo>
                      <a:cubicBezTo>
                        <a:pt x="685" y="308"/>
                        <a:pt x="685" y="308"/>
                        <a:pt x="685" y="308"/>
                      </a:cubicBezTo>
                      <a:cubicBezTo>
                        <a:pt x="638" y="312"/>
                        <a:pt x="638" y="312"/>
                        <a:pt x="638" y="312"/>
                      </a:cubicBezTo>
                      <a:cubicBezTo>
                        <a:pt x="638" y="312"/>
                        <a:pt x="624" y="302"/>
                        <a:pt x="614" y="310"/>
                      </a:cubicBezTo>
                      <a:cubicBezTo>
                        <a:pt x="604" y="319"/>
                        <a:pt x="620" y="337"/>
                        <a:pt x="620" y="337"/>
                      </a:cubicBezTo>
                      <a:cubicBezTo>
                        <a:pt x="622" y="359"/>
                        <a:pt x="622" y="359"/>
                        <a:pt x="622" y="359"/>
                      </a:cubicBezTo>
                      <a:cubicBezTo>
                        <a:pt x="616" y="373"/>
                        <a:pt x="616" y="373"/>
                        <a:pt x="616" y="373"/>
                      </a:cubicBezTo>
                      <a:cubicBezTo>
                        <a:pt x="620" y="399"/>
                        <a:pt x="620" y="399"/>
                        <a:pt x="620" y="399"/>
                      </a:cubicBezTo>
                      <a:cubicBezTo>
                        <a:pt x="609" y="400"/>
                        <a:pt x="609" y="400"/>
                        <a:pt x="609" y="400"/>
                      </a:cubicBezTo>
                      <a:cubicBezTo>
                        <a:pt x="606" y="348"/>
                        <a:pt x="606" y="348"/>
                        <a:pt x="606" y="348"/>
                      </a:cubicBezTo>
                      <a:cubicBezTo>
                        <a:pt x="595" y="337"/>
                        <a:pt x="595" y="337"/>
                        <a:pt x="595" y="337"/>
                      </a:cubicBezTo>
                      <a:cubicBezTo>
                        <a:pt x="593" y="316"/>
                        <a:pt x="593" y="316"/>
                        <a:pt x="593" y="316"/>
                      </a:cubicBezTo>
                      <a:cubicBezTo>
                        <a:pt x="580" y="317"/>
                        <a:pt x="580" y="317"/>
                        <a:pt x="580" y="317"/>
                      </a:cubicBezTo>
                      <a:cubicBezTo>
                        <a:pt x="569" y="333"/>
                        <a:pt x="569" y="333"/>
                        <a:pt x="569" y="333"/>
                      </a:cubicBezTo>
                      <a:cubicBezTo>
                        <a:pt x="569" y="333"/>
                        <a:pt x="556" y="344"/>
                        <a:pt x="537" y="360"/>
                      </a:cubicBezTo>
                      <a:cubicBezTo>
                        <a:pt x="519" y="376"/>
                        <a:pt x="531" y="409"/>
                        <a:pt x="531" y="409"/>
                      </a:cubicBezTo>
                      <a:cubicBezTo>
                        <a:pt x="531" y="409"/>
                        <a:pt x="548" y="414"/>
                        <a:pt x="546" y="423"/>
                      </a:cubicBezTo>
                      <a:cubicBezTo>
                        <a:pt x="543" y="433"/>
                        <a:pt x="510" y="445"/>
                        <a:pt x="504" y="448"/>
                      </a:cubicBezTo>
                      <a:cubicBezTo>
                        <a:pt x="498" y="451"/>
                        <a:pt x="501" y="461"/>
                        <a:pt x="501" y="461"/>
                      </a:cubicBezTo>
                      <a:cubicBezTo>
                        <a:pt x="501" y="461"/>
                        <a:pt x="480" y="480"/>
                        <a:pt x="463" y="494"/>
                      </a:cubicBezTo>
                      <a:cubicBezTo>
                        <a:pt x="445" y="507"/>
                        <a:pt x="393" y="512"/>
                        <a:pt x="393" y="512"/>
                      </a:cubicBezTo>
                      <a:cubicBezTo>
                        <a:pt x="359" y="505"/>
                        <a:pt x="359" y="505"/>
                        <a:pt x="359" y="505"/>
                      </a:cubicBezTo>
                      <a:cubicBezTo>
                        <a:pt x="332" y="519"/>
                        <a:pt x="332" y="519"/>
                        <a:pt x="332" y="519"/>
                      </a:cubicBezTo>
                      <a:cubicBezTo>
                        <a:pt x="295" y="524"/>
                        <a:pt x="295" y="524"/>
                        <a:pt x="295" y="524"/>
                      </a:cubicBezTo>
                      <a:cubicBezTo>
                        <a:pt x="290" y="529"/>
                        <a:pt x="290" y="529"/>
                        <a:pt x="290" y="529"/>
                      </a:cubicBezTo>
                      <a:cubicBezTo>
                        <a:pt x="290" y="529"/>
                        <a:pt x="280" y="529"/>
                        <a:pt x="271" y="534"/>
                      </a:cubicBezTo>
                      <a:cubicBezTo>
                        <a:pt x="262" y="538"/>
                        <a:pt x="251" y="549"/>
                        <a:pt x="251" y="549"/>
                      </a:cubicBezTo>
                      <a:cubicBezTo>
                        <a:pt x="251" y="549"/>
                        <a:pt x="232" y="550"/>
                        <a:pt x="218" y="554"/>
                      </a:cubicBezTo>
                      <a:cubicBezTo>
                        <a:pt x="204" y="558"/>
                        <a:pt x="188" y="587"/>
                        <a:pt x="188" y="587"/>
                      </a:cubicBezTo>
                      <a:cubicBezTo>
                        <a:pt x="188" y="587"/>
                        <a:pt x="153" y="595"/>
                        <a:pt x="146" y="599"/>
                      </a:cubicBezTo>
                      <a:cubicBezTo>
                        <a:pt x="138" y="604"/>
                        <a:pt x="103" y="649"/>
                        <a:pt x="103" y="649"/>
                      </a:cubicBezTo>
                      <a:cubicBezTo>
                        <a:pt x="109" y="605"/>
                        <a:pt x="109" y="605"/>
                        <a:pt x="109" y="605"/>
                      </a:cubicBezTo>
                      <a:cubicBezTo>
                        <a:pt x="97" y="612"/>
                        <a:pt x="97" y="612"/>
                        <a:pt x="97" y="612"/>
                      </a:cubicBezTo>
                      <a:cubicBezTo>
                        <a:pt x="83" y="649"/>
                        <a:pt x="83" y="649"/>
                        <a:pt x="83" y="649"/>
                      </a:cubicBezTo>
                      <a:cubicBezTo>
                        <a:pt x="83" y="649"/>
                        <a:pt x="69" y="675"/>
                        <a:pt x="62" y="690"/>
                      </a:cubicBezTo>
                      <a:cubicBezTo>
                        <a:pt x="56" y="705"/>
                        <a:pt x="79" y="711"/>
                        <a:pt x="79" y="711"/>
                      </a:cubicBezTo>
                      <a:cubicBezTo>
                        <a:pt x="79" y="711"/>
                        <a:pt x="59" y="732"/>
                        <a:pt x="49" y="741"/>
                      </a:cubicBezTo>
                      <a:cubicBezTo>
                        <a:pt x="38" y="750"/>
                        <a:pt x="58" y="789"/>
                        <a:pt x="59" y="795"/>
                      </a:cubicBezTo>
                      <a:cubicBezTo>
                        <a:pt x="59" y="802"/>
                        <a:pt x="84" y="845"/>
                        <a:pt x="78" y="849"/>
                      </a:cubicBezTo>
                      <a:cubicBezTo>
                        <a:pt x="72" y="854"/>
                        <a:pt x="48" y="813"/>
                        <a:pt x="48" y="813"/>
                      </a:cubicBezTo>
                      <a:cubicBezTo>
                        <a:pt x="36" y="811"/>
                        <a:pt x="36" y="811"/>
                        <a:pt x="36" y="811"/>
                      </a:cubicBezTo>
                      <a:cubicBezTo>
                        <a:pt x="46" y="841"/>
                        <a:pt x="46" y="841"/>
                        <a:pt x="46" y="841"/>
                      </a:cubicBezTo>
                      <a:cubicBezTo>
                        <a:pt x="23" y="821"/>
                        <a:pt x="23" y="821"/>
                        <a:pt x="23" y="821"/>
                      </a:cubicBezTo>
                      <a:cubicBezTo>
                        <a:pt x="23" y="821"/>
                        <a:pt x="19" y="844"/>
                        <a:pt x="22" y="858"/>
                      </a:cubicBezTo>
                      <a:cubicBezTo>
                        <a:pt x="25" y="872"/>
                        <a:pt x="48" y="907"/>
                        <a:pt x="48" y="907"/>
                      </a:cubicBezTo>
                      <a:cubicBezTo>
                        <a:pt x="48" y="907"/>
                        <a:pt x="37" y="929"/>
                        <a:pt x="35" y="937"/>
                      </a:cubicBezTo>
                      <a:cubicBezTo>
                        <a:pt x="33" y="945"/>
                        <a:pt x="63" y="968"/>
                        <a:pt x="64" y="974"/>
                      </a:cubicBezTo>
                      <a:cubicBezTo>
                        <a:pt x="65" y="981"/>
                        <a:pt x="66" y="1003"/>
                        <a:pt x="60" y="1011"/>
                      </a:cubicBezTo>
                      <a:cubicBezTo>
                        <a:pt x="55" y="1019"/>
                        <a:pt x="68" y="1065"/>
                        <a:pt x="68" y="1065"/>
                      </a:cubicBezTo>
                      <a:cubicBezTo>
                        <a:pt x="68" y="1065"/>
                        <a:pt x="64" y="1067"/>
                        <a:pt x="56" y="1073"/>
                      </a:cubicBezTo>
                      <a:cubicBezTo>
                        <a:pt x="49" y="1079"/>
                        <a:pt x="65" y="1115"/>
                        <a:pt x="65" y="1115"/>
                      </a:cubicBezTo>
                      <a:cubicBezTo>
                        <a:pt x="65" y="1115"/>
                        <a:pt x="85" y="1124"/>
                        <a:pt x="87" y="1141"/>
                      </a:cubicBezTo>
                      <a:cubicBezTo>
                        <a:pt x="89" y="1157"/>
                        <a:pt x="60" y="1186"/>
                        <a:pt x="60" y="1186"/>
                      </a:cubicBezTo>
                      <a:cubicBezTo>
                        <a:pt x="60" y="1186"/>
                        <a:pt x="69" y="1219"/>
                        <a:pt x="52" y="1236"/>
                      </a:cubicBezTo>
                      <a:cubicBezTo>
                        <a:pt x="35" y="1252"/>
                        <a:pt x="4" y="1244"/>
                        <a:pt x="4" y="1244"/>
                      </a:cubicBezTo>
                      <a:cubicBezTo>
                        <a:pt x="0" y="1276"/>
                        <a:pt x="0" y="1276"/>
                        <a:pt x="0" y="1276"/>
                      </a:cubicBezTo>
                      <a:cubicBezTo>
                        <a:pt x="0" y="1276"/>
                        <a:pt x="32" y="1284"/>
                        <a:pt x="41" y="1289"/>
                      </a:cubicBezTo>
                      <a:cubicBezTo>
                        <a:pt x="50" y="1295"/>
                        <a:pt x="56" y="1305"/>
                        <a:pt x="56" y="1305"/>
                      </a:cubicBezTo>
                      <a:cubicBezTo>
                        <a:pt x="73" y="1303"/>
                        <a:pt x="73" y="1303"/>
                        <a:pt x="73" y="1303"/>
                      </a:cubicBezTo>
                      <a:cubicBezTo>
                        <a:pt x="73" y="1303"/>
                        <a:pt x="82" y="1312"/>
                        <a:pt x="96" y="1317"/>
                      </a:cubicBezTo>
                      <a:cubicBezTo>
                        <a:pt x="109" y="1322"/>
                        <a:pt x="140" y="1312"/>
                        <a:pt x="153" y="1311"/>
                      </a:cubicBezTo>
                      <a:cubicBezTo>
                        <a:pt x="165" y="1311"/>
                        <a:pt x="155" y="1295"/>
                        <a:pt x="155" y="1295"/>
                      </a:cubicBezTo>
                      <a:cubicBezTo>
                        <a:pt x="180" y="1297"/>
                        <a:pt x="180" y="1297"/>
                        <a:pt x="180" y="1297"/>
                      </a:cubicBezTo>
                      <a:cubicBezTo>
                        <a:pt x="186" y="1285"/>
                        <a:pt x="186" y="1285"/>
                        <a:pt x="186" y="1285"/>
                      </a:cubicBezTo>
                      <a:cubicBezTo>
                        <a:pt x="213" y="1281"/>
                        <a:pt x="213" y="1281"/>
                        <a:pt x="213" y="1281"/>
                      </a:cubicBezTo>
                      <a:cubicBezTo>
                        <a:pt x="213" y="1281"/>
                        <a:pt x="237" y="1256"/>
                        <a:pt x="250" y="1255"/>
                      </a:cubicBezTo>
                      <a:cubicBezTo>
                        <a:pt x="262" y="1255"/>
                        <a:pt x="274" y="1270"/>
                        <a:pt x="281" y="1268"/>
                      </a:cubicBezTo>
                      <a:cubicBezTo>
                        <a:pt x="289" y="1266"/>
                        <a:pt x="326" y="1248"/>
                        <a:pt x="326" y="1248"/>
                      </a:cubicBezTo>
                      <a:cubicBezTo>
                        <a:pt x="326" y="1248"/>
                        <a:pt x="348" y="1258"/>
                        <a:pt x="359" y="1256"/>
                      </a:cubicBezTo>
                      <a:cubicBezTo>
                        <a:pt x="370" y="1255"/>
                        <a:pt x="377" y="1245"/>
                        <a:pt x="384" y="1244"/>
                      </a:cubicBezTo>
                      <a:cubicBezTo>
                        <a:pt x="392" y="1244"/>
                        <a:pt x="411" y="1256"/>
                        <a:pt x="426" y="1253"/>
                      </a:cubicBezTo>
                      <a:cubicBezTo>
                        <a:pt x="441" y="1250"/>
                        <a:pt x="438" y="1231"/>
                        <a:pt x="438" y="1231"/>
                      </a:cubicBezTo>
                      <a:cubicBezTo>
                        <a:pt x="438" y="1231"/>
                        <a:pt x="450" y="1228"/>
                        <a:pt x="454" y="1225"/>
                      </a:cubicBezTo>
                      <a:cubicBezTo>
                        <a:pt x="459" y="1222"/>
                        <a:pt x="465" y="1195"/>
                        <a:pt x="478" y="1183"/>
                      </a:cubicBezTo>
                      <a:cubicBezTo>
                        <a:pt x="491" y="1171"/>
                        <a:pt x="524" y="1179"/>
                        <a:pt x="535" y="1176"/>
                      </a:cubicBezTo>
                      <a:cubicBezTo>
                        <a:pt x="545" y="1174"/>
                        <a:pt x="579" y="1155"/>
                        <a:pt x="594" y="1153"/>
                      </a:cubicBezTo>
                      <a:cubicBezTo>
                        <a:pt x="610" y="1151"/>
                        <a:pt x="612" y="1158"/>
                        <a:pt x="631" y="1161"/>
                      </a:cubicBezTo>
                      <a:cubicBezTo>
                        <a:pt x="650" y="1164"/>
                        <a:pt x="697" y="1131"/>
                        <a:pt x="716" y="1125"/>
                      </a:cubicBezTo>
                      <a:cubicBezTo>
                        <a:pt x="736" y="1119"/>
                        <a:pt x="819" y="1113"/>
                        <a:pt x="819" y="1113"/>
                      </a:cubicBezTo>
                      <a:cubicBezTo>
                        <a:pt x="826" y="1106"/>
                        <a:pt x="826" y="1106"/>
                        <a:pt x="826" y="1106"/>
                      </a:cubicBezTo>
                      <a:cubicBezTo>
                        <a:pt x="826" y="1106"/>
                        <a:pt x="854" y="1131"/>
                        <a:pt x="872" y="1138"/>
                      </a:cubicBezTo>
                      <a:cubicBezTo>
                        <a:pt x="889" y="1145"/>
                        <a:pt x="896" y="1136"/>
                        <a:pt x="896" y="1136"/>
                      </a:cubicBezTo>
                      <a:cubicBezTo>
                        <a:pt x="896" y="1136"/>
                        <a:pt x="899" y="1153"/>
                        <a:pt x="907" y="1156"/>
                      </a:cubicBezTo>
                      <a:cubicBezTo>
                        <a:pt x="915" y="1159"/>
                        <a:pt x="920" y="1152"/>
                        <a:pt x="920" y="1152"/>
                      </a:cubicBezTo>
                      <a:cubicBezTo>
                        <a:pt x="923" y="1167"/>
                        <a:pt x="923" y="1167"/>
                        <a:pt x="923" y="1167"/>
                      </a:cubicBezTo>
                      <a:cubicBezTo>
                        <a:pt x="923" y="1167"/>
                        <a:pt x="935" y="1165"/>
                        <a:pt x="936" y="1174"/>
                      </a:cubicBezTo>
                      <a:cubicBezTo>
                        <a:pt x="937" y="1182"/>
                        <a:pt x="918" y="1206"/>
                        <a:pt x="918" y="1206"/>
                      </a:cubicBezTo>
                      <a:cubicBezTo>
                        <a:pt x="932" y="1225"/>
                        <a:pt x="932" y="1225"/>
                        <a:pt x="932" y="1225"/>
                      </a:cubicBezTo>
                      <a:cubicBezTo>
                        <a:pt x="941" y="1216"/>
                        <a:pt x="941" y="1216"/>
                        <a:pt x="941" y="1216"/>
                      </a:cubicBezTo>
                      <a:cubicBezTo>
                        <a:pt x="954" y="1243"/>
                        <a:pt x="954" y="1243"/>
                        <a:pt x="954" y="1243"/>
                      </a:cubicBezTo>
                      <a:cubicBezTo>
                        <a:pt x="954" y="1243"/>
                        <a:pt x="963" y="1270"/>
                        <a:pt x="964" y="1279"/>
                      </a:cubicBezTo>
                      <a:cubicBezTo>
                        <a:pt x="965" y="1287"/>
                        <a:pt x="937" y="1280"/>
                        <a:pt x="937" y="1280"/>
                      </a:cubicBezTo>
                      <a:cubicBezTo>
                        <a:pt x="944" y="1303"/>
                        <a:pt x="944" y="1303"/>
                        <a:pt x="944" y="1303"/>
                      </a:cubicBezTo>
                      <a:cubicBezTo>
                        <a:pt x="944" y="1303"/>
                        <a:pt x="953" y="1303"/>
                        <a:pt x="962" y="1304"/>
                      </a:cubicBezTo>
                      <a:cubicBezTo>
                        <a:pt x="971" y="1304"/>
                        <a:pt x="970" y="1311"/>
                        <a:pt x="970" y="1311"/>
                      </a:cubicBezTo>
                      <a:cubicBezTo>
                        <a:pt x="983" y="1308"/>
                        <a:pt x="983" y="1308"/>
                        <a:pt x="983" y="1308"/>
                      </a:cubicBezTo>
                      <a:cubicBezTo>
                        <a:pt x="983" y="1308"/>
                        <a:pt x="979" y="1294"/>
                        <a:pt x="979" y="1283"/>
                      </a:cubicBezTo>
                      <a:cubicBezTo>
                        <a:pt x="980" y="1272"/>
                        <a:pt x="998" y="1263"/>
                        <a:pt x="1010" y="1261"/>
                      </a:cubicBezTo>
                      <a:cubicBezTo>
                        <a:pt x="1022" y="1258"/>
                        <a:pt x="1045" y="1222"/>
                        <a:pt x="1045" y="1222"/>
                      </a:cubicBezTo>
                      <a:cubicBezTo>
                        <a:pt x="1060" y="1224"/>
                        <a:pt x="1060" y="1224"/>
                        <a:pt x="1060" y="1224"/>
                      </a:cubicBezTo>
                      <a:cubicBezTo>
                        <a:pt x="1074" y="1191"/>
                        <a:pt x="1074" y="1191"/>
                        <a:pt x="1074" y="1191"/>
                      </a:cubicBezTo>
                      <a:cubicBezTo>
                        <a:pt x="1074" y="1191"/>
                        <a:pt x="1093" y="1188"/>
                        <a:pt x="1102" y="1187"/>
                      </a:cubicBezTo>
                      <a:cubicBezTo>
                        <a:pt x="1110" y="1186"/>
                        <a:pt x="1115" y="1156"/>
                        <a:pt x="1115" y="1156"/>
                      </a:cubicBezTo>
                      <a:cubicBezTo>
                        <a:pt x="1115" y="1156"/>
                        <a:pt x="1120" y="1180"/>
                        <a:pt x="1121" y="1187"/>
                      </a:cubicBezTo>
                      <a:cubicBezTo>
                        <a:pt x="1122" y="1195"/>
                        <a:pt x="1093" y="1209"/>
                        <a:pt x="1093" y="1209"/>
                      </a:cubicBezTo>
                      <a:cubicBezTo>
                        <a:pt x="1083" y="1210"/>
                        <a:pt x="1083" y="1210"/>
                        <a:pt x="1083" y="1210"/>
                      </a:cubicBezTo>
                      <a:cubicBezTo>
                        <a:pt x="1078" y="1217"/>
                        <a:pt x="1078" y="1217"/>
                        <a:pt x="1078" y="1217"/>
                      </a:cubicBezTo>
                      <a:cubicBezTo>
                        <a:pt x="1089" y="1240"/>
                        <a:pt x="1089" y="1240"/>
                        <a:pt x="1089" y="1240"/>
                      </a:cubicBezTo>
                      <a:cubicBezTo>
                        <a:pt x="1089" y="1240"/>
                        <a:pt x="1079" y="1244"/>
                        <a:pt x="1072" y="1248"/>
                      </a:cubicBezTo>
                      <a:cubicBezTo>
                        <a:pt x="1065" y="1253"/>
                        <a:pt x="1047" y="1276"/>
                        <a:pt x="1047" y="1276"/>
                      </a:cubicBezTo>
                      <a:cubicBezTo>
                        <a:pt x="1047" y="1276"/>
                        <a:pt x="1042" y="1295"/>
                        <a:pt x="1035" y="1299"/>
                      </a:cubicBezTo>
                      <a:cubicBezTo>
                        <a:pt x="1028" y="1304"/>
                        <a:pt x="1004" y="1313"/>
                        <a:pt x="1011" y="1319"/>
                      </a:cubicBezTo>
                      <a:cubicBezTo>
                        <a:pt x="1018" y="1326"/>
                        <a:pt x="1045" y="1316"/>
                        <a:pt x="1054" y="1313"/>
                      </a:cubicBezTo>
                      <a:cubicBezTo>
                        <a:pt x="1062" y="1309"/>
                        <a:pt x="1063" y="1296"/>
                        <a:pt x="1069" y="1287"/>
                      </a:cubicBezTo>
                      <a:cubicBezTo>
                        <a:pt x="1076" y="1277"/>
                        <a:pt x="1090" y="1267"/>
                        <a:pt x="1090" y="1267"/>
                      </a:cubicBezTo>
                      <a:cubicBezTo>
                        <a:pt x="1090" y="1267"/>
                        <a:pt x="1093" y="1292"/>
                        <a:pt x="1095" y="1298"/>
                      </a:cubicBezTo>
                      <a:cubicBezTo>
                        <a:pt x="1097" y="1304"/>
                        <a:pt x="1084" y="1315"/>
                        <a:pt x="1075" y="1320"/>
                      </a:cubicBezTo>
                      <a:cubicBezTo>
                        <a:pt x="1067" y="1325"/>
                        <a:pt x="1066" y="1333"/>
                        <a:pt x="1072" y="1339"/>
                      </a:cubicBezTo>
                      <a:cubicBezTo>
                        <a:pt x="1079" y="1344"/>
                        <a:pt x="1110" y="1344"/>
                        <a:pt x="1110" y="1344"/>
                      </a:cubicBezTo>
                      <a:cubicBezTo>
                        <a:pt x="1115" y="1351"/>
                        <a:pt x="1115" y="1351"/>
                        <a:pt x="1115" y="1351"/>
                      </a:cubicBezTo>
                      <a:cubicBezTo>
                        <a:pt x="1100" y="1364"/>
                        <a:pt x="1100" y="1364"/>
                        <a:pt x="1100" y="1364"/>
                      </a:cubicBezTo>
                      <a:cubicBezTo>
                        <a:pt x="1100" y="1364"/>
                        <a:pt x="1116" y="1393"/>
                        <a:pt x="1118" y="1403"/>
                      </a:cubicBezTo>
                      <a:cubicBezTo>
                        <a:pt x="1121" y="1414"/>
                        <a:pt x="1097" y="1430"/>
                        <a:pt x="1088" y="1441"/>
                      </a:cubicBezTo>
                      <a:cubicBezTo>
                        <a:pt x="1078" y="1452"/>
                        <a:pt x="1110" y="1474"/>
                        <a:pt x="1118" y="1477"/>
                      </a:cubicBezTo>
                      <a:cubicBezTo>
                        <a:pt x="1125" y="1480"/>
                        <a:pt x="1139" y="1500"/>
                        <a:pt x="1154" y="1505"/>
                      </a:cubicBezTo>
                      <a:cubicBezTo>
                        <a:pt x="1169" y="1510"/>
                        <a:pt x="1180" y="1501"/>
                        <a:pt x="1194" y="1504"/>
                      </a:cubicBezTo>
                      <a:cubicBezTo>
                        <a:pt x="1207" y="1507"/>
                        <a:pt x="1210" y="1524"/>
                        <a:pt x="1229" y="1527"/>
                      </a:cubicBezTo>
                      <a:cubicBezTo>
                        <a:pt x="1249" y="1531"/>
                        <a:pt x="1297" y="1498"/>
                        <a:pt x="1297" y="1498"/>
                      </a:cubicBezTo>
                      <a:cubicBezTo>
                        <a:pt x="1297" y="1498"/>
                        <a:pt x="1290" y="1484"/>
                        <a:pt x="1305" y="1475"/>
                      </a:cubicBezTo>
                      <a:cubicBezTo>
                        <a:pt x="1320" y="1466"/>
                        <a:pt x="1319" y="1502"/>
                        <a:pt x="1319" y="1502"/>
                      </a:cubicBezTo>
                      <a:cubicBezTo>
                        <a:pt x="1330" y="1501"/>
                        <a:pt x="1330" y="1501"/>
                        <a:pt x="1330" y="1501"/>
                      </a:cubicBezTo>
                      <a:cubicBezTo>
                        <a:pt x="1320" y="1517"/>
                        <a:pt x="1320" y="1517"/>
                        <a:pt x="1320" y="1517"/>
                      </a:cubicBezTo>
                      <a:cubicBezTo>
                        <a:pt x="1333" y="1518"/>
                        <a:pt x="1333" y="1518"/>
                        <a:pt x="1333" y="1518"/>
                      </a:cubicBezTo>
                      <a:cubicBezTo>
                        <a:pt x="1333" y="1518"/>
                        <a:pt x="1334" y="1530"/>
                        <a:pt x="1341" y="1539"/>
                      </a:cubicBezTo>
                      <a:cubicBezTo>
                        <a:pt x="1347" y="1547"/>
                        <a:pt x="1354" y="1543"/>
                        <a:pt x="1354" y="1543"/>
                      </a:cubicBezTo>
                      <a:cubicBezTo>
                        <a:pt x="1360" y="1532"/>
                        <a:pt x="1360" y="1532"/>
                        <a:pt x="1360" y="1532"/>
                      </a:cubicBezTo>
                      <a:cubicBezTo>
                        <a:pt x="1360" y="1532"/>
                        <a:pt x="1378" y="1530"/>
                        <a:pt x="1388" y="1521"/>
                      </a:cubicBezTo>
                      <a:cubicBezTo>
                        <a:pt x="1399" y="1513"/>
                        <a:pt x="1443" y="1482"/>
                        <a:pt x="1443" y="1482"/>
                      </a:cubicBezTo>
                      <a:cubicBezTo>
                        <a:pt x="1438" y="1472"/>
                        <a:pt x="1438" y="1472"/>
                        <a:pt x="1438" y="1472"/>
                      </a:cubicBezTo>
                      <a:cubicBezTo>
                        <a:pt x="1462" y="1468"/>
                        <a:pt x="1462" y="1468"/>
                        <a:pt x="1462" y="1468"/>
                      </a:cubicBezTo>
                      <a:cubicBezTo>
                        <a:pt x="1471" y="1476"/>
                        <a:pt x="1471" y="1476"/>
                        <a:pt x="1471" y="1476"/>
                      </a:cubicBezTo>
                      <a:cubicBezTo>
                        <a:pt x="1471" y="1476"/>
                        <a:pt x="1510" y="1469"/>
                        <a:pt x="1533" y="1461"/>
                      </a:cubicBezTo>
                      <a:cubicBezTo>
                        <a:pt x="1555" y="1452"/>
                        <a:pt x="1557" y="1408"/>
                        <a:pt x="1560" y="1396"/>
                      </a:cubicBezTo>
                      <a:cubicBezTo>
                        <a:pt x="1564" y="1385"/>
                        <a:pt x="1590" y="1370"/>
                        <a:pt x="1590" y="1370"/>
                      </a:cubicBezTo>
                      <a:cubicBezTo>
                        <a:pt x="1590" y="1355"/>
                        <a:pt x="1590" y="1355"/>
                        <a:pt x="1590" y="1355"/>
                      </a:cubicBezTo>
                      <a:cubicBezTo>
                        <a:pt x="1590" y="1355"/>
                        <a:pt x="1605" y="1349"/>
                        <a:pt x="1613" y="1338"/>
                      </a:cubicBezTo>
                      <a:cubicBezTo>
                        <a:pt x="1620" y="1328"/>
                        <a:pt x="1631" y="1314"/>
                        <a:pt x="1631" y="1314"/>
                      </a:cubicBezTo>
                      <a:cubicBezTo>
                        <a:pt x="1631" y="1314"/>
                        <a:pt x="1633" y="1285"/>
                        <a:pt x="1641" y="1275"/>
                      </a:cubicBezTo>
                      <a:cubicBezTo>
                        <a:pt x="1648" y="1266"/>
                        <a:pt x="1682" y="1228"/>
                        <a:pt x="1695" y="1222"/>
                      </a:cubicBezTo>
                      <a:cubicBezTo>
                        <a:pt x="1707" y="1216"/>
                        <a:pt x="1709" y="1185"/>
                        <a:pt x="1709" y="1185"/>
                      </a:cubicBezTo>
                      <a:cubicBezTo>
                        <a:pt x="1709" y="1185"/>
                        <a:pt x="1732" y="1189"/>
                        <a:pt x="1741" y="1179"/>
                      </a:cubicBezTo>
                      <a:cubicBezTo>
                        <a:pt x="1750" y="1170"/>
                        <a:pt x="1797" y="1111"/>
                        <a:pt x="1800" y="1104"/>
                      </a:cubicBezTo>
                      <a:cubicBezTo>
                        <a:pt x="1804" y="1098"/>
                        <a:pt x="1803" y="1067"/>
                        <a:pt x="1813" y="1060"/>
                      </a:cubicBezTo>
                      <a:cubicBezTo>
                        <a:pt x="1822" y="1053"/>
                        <a:pt x="1864" y="971"/>
                        <a:pt x="1874" y="952"/>
                      </a:cubicBezTo>
                      <a:cubicBezTo>
                        <a:pt x="1884" y="933"/>
                        <a:pt x="1872" y="920"/>
                        <a:pt x="1871" y="907"/>
                      </a:cubicBezTo>
                      <a:cubicBezTo>
                        <a:pt x="1870" y="894"/>
                        <a:pt x="1880" y="873"/>
                        <a:pt x="1889" y="859"/>
                      </a:cubicBezTo>
                      <a:cubicBezTo>
                        <a:pt x="1898" y="845"/>
                        <a:pt x="1888" y="783"/>
                        <a:pt x="1888" y="783"/>
                      </a:cubicBezTo>
                      <a:lnTo>
                        <a:pt x="1869" y="774"/>
                      </a:lnTo>
                      <a:close/>
                      <a:moveTo>
                        <a:pt x="1347" y="1624"/>
                      </a:moveTo>
                      <a:cubicBezTo>
                        <a:pt x="1349" y="1631"/>
                        <a:pt x="1373" y="1619"/>
                        <a:pt x="1364" y="1612"/>
                      </a:cubicBezTo>
                      <a:cubicBezTo>
                        <a:pt x="1355" y="1605"/>
                        <a:pt x="1347" y="1624"/>
                        <a:pt x="1347" y="1624"/>
                      </a:cubicBezTo>
                      <a:close/>
                      <a:moveTo>
                        <a:pt x="1332" y="1632"/>
                      </a:moveTo>
                      <a:cubicBezTo>
                        <a:pt x="1323" y="1626"/>
                        <a:pt x="1312" y="1646"/>
                        <a:pt x="1312" y="1646"/>
                      </a:cubicBezTo>
                      <a:cubicBezTo>
                        <a:pt x="1312" y="1646"/>
                        <a:pt x="1308" y="1640"/>
                        <a:pt x="1304" y="1640"/>
                      </a:cubicBezTo>
                      <a:cubicBezTo>
                        <a:pt x="1300" y="1639"/>
                        <a:pt x="1277" y="1643"/>
                        <a:pt x="1277" y="1643"/>
                      </a:cubicBezTo>
                      <a:cubicBezTo>
                        <a:pt x="1274" y="1651"/>
                        <a:pt x="1274" y="1651"/>
                        <a:pt x="1274" y="1651"/>
                      </a:cubicBezTo>
                      <a:cubicBezTo>
                        <a:pt x="1261" y="1640"/>
                        <a:pt x="1261" y="1640"/>
                        <a:pt x="1261" y="1640"/>
                      </a:cubicBezTo>
                      <a:cubicBezTo>
                        <a:pt x="1236" y="1638"/>
                        <a:pt x="1236" y="1638"/>
                        <a:pt x="1236" y="1638"/>
                      </a:cubicBezTo>
                      <a:cubicBezTo>
                        <a:pt x="1221" y="1620"/>
                        <a:pt x="1221" y="1620"/>
                        <a:pt x="1221" y="1620"/>
                      </a:cubicBezTo>
                      <a:cubicBezTo>
                        <a:pt x="1221" y="1620"/>
                        <a:pt x="1216" y="1623"/>
                        <a:pt x="1210" y="1624"/>
                      </a:cubicBezTo>
                      <a:cubicBezTo>
                        <a:pt x="1205" y="1625"/>
                        <a:pt x="1188" y="1605"/>
                        <a:pt x="1188" y="1605"/>
                      </a:cubicBezTo>
                      <a:cubicBezTo>
                        <a:pt x="1184" y="1616"/>
                        <a:pt x="1184" y="1616"/>
                        <a:pt x="1184" y="1616"/>
                      </a:cubicBezTo>
                      <a:cubicBezTo>
                        <a:pt x="1188" y="1629"/>
                        <a:pt x="1188" y="1629"/>
                        <a:pt x="1188" y="1629"/>
                      </a:cubicBezTo>
                      <a:cubicBezTo>
                        <a:pt x="1188" y="1629"/>
                        <a:pt x="1189" y="1645"/>
                        <a:pt x="1187" y="1650"/>
                      </a:cubicBezTo>
                      <a:cubicBezTo>
                        <a:pt x="1185" y="1655"/>
                        <a:pt x="1179" y="1663"/>
                        <a:pt x="1185" y="1674"/>
                      </a:cubicBezTo>
                      <a:cubicBezTo>
                        <a:pt x="1191" y="1685"/>
                        <a:pt x="1184" y="1691"/>
                        <a:pt x="1176" y="1694"/>
                      </a:cubicBezTo>
                      <a:cubicBezTo>
                        <a:pt x="1167" y="1696"/>
                        <a:pt x="1160" y="1686"/>
                        <a:pt x="1160" y="1686"/>
                      </a:cubicBezTo>
                      <a:cubicBezTo>
                        <a:pt x="1160" y="1686"/>
                        <a:pt x="1156" y="1700"/>
                        <a:pt x="1155" y="1713"/>
                      </a:cubicBezTo>
                      <a:cubicBezTo>
                        <a:pt x="1154" y="1727"/>
                        <a:pt x="1166" y="1748"/>
                        <a:pt x="1166" y="1748"/>
                      </a:cubicBezTo>
                      <a:cubicBezTo>
                        <a:pt x="1181" y="1750"/>
                        <a:pt x="1181" y="1750"/>
                        <a:pt x="1181" y="1750"/>
                      </a:cubicBezTo>
                      <a:cubicBezTo>
                        <a:pt x="1168" y="1757"/>
                        <a:pt x="1168" y="1757"/>
                        <a:pt x="1168" y="1757"/>
                      </a:cubicBezTo>
                      <a:cubicBezTo>
                        <a:pt x="1173" y="1774"/>
                        <a:pt x="1173" y="1774"/>
                        <a:pt x="1173" y="1774"/>
                      </a:cubicBezTo>
                      <a:cubicBezTo>
                        <a:pt x="1173" y="1774"/>
                        <a:pt x="1185" y="1769"/>
                        <a:pt x="1191" y="1766"/>
                      </a:cubicBezTo>
                      <a:cubicBezTo>
                        <a:pt x="1198" y="1763"/>
                        <a:pt x="1203" y="1773"/>
                        <a:pt x="1214" y="1769"/>
                      </a:cubicBezTo>
                      <a:cubicBezTo>
                        <a:pt x="1225" y="1764"/>
                        <a:pt x="1232" y="1748"/>
                        <a:pt x="1239" y="1752"/>
                      </a:cubicBezTo>
                      <a:cubicBezTo>
                        <a:pt x="1247" y="1757"/>
                        <a:pt x="1236" y="1768"/>
                        <a:pt x="1236" y="1768"/>
                      </a:cubicBezTo>
                      <a:cubicBezTo>
                        <a:pt x="1247" y="1772"/>
                        <a:pt x="1247" y="1772"/>
                        <a:pt x="1247" y="1772"/>
                      </a:cubicBezTo>
                      <a:cubicBezTo>
                        <a:pt x="1247" y="1772"/>
                        <a:pt x="1268" y="1744"/>
                        <a:pt x="1277" y="1738"/>
                      </a:cubicBezTo>
                      <a:cubicBezTo>
                        <a:pt x="1285" y="1733"/>
                        <a:pt x="1268" y="1726"/>
                        <a:pt x="1268" y="1726"/>
                      </a:cubicBezTo>
                      <a:cubicBezTo>
                        <a:pt x="1282" y="1706"/>
                        <a:pt x="1282" y="1706"/>
                        <a:pt x="1282" y="1706"/>
                      </a:cubicBezTo>
                      <a:cubicBezTo>
                        <a:pt x="1282" y="1706"/>
                        <a:pt x="1292" y="1710"/>
                        <a:pt x="1303" y="1704"/>
                      </a:cubicBezTo>
                      <a:cubicBezTo>
                        <a:pt x="1314" y="1699"/>
                        <a:pt x="1305" y="1678"/>
                        <a:pt x="1315" y="1667"/>
                      </a:cubicBezTo>
                      <a:cubicBezTo>
                        <a:pt x="1326" y="1656"/>
                        <a:pt x="1340" y="1638"/>
                        <a:pt x="1332" y="1632"/>
                      </a:cubicBezTo>
                      <a:close/>
                      <a:moveTo>
                        <a:pt x="1269" y="162"/>
                      </a:moveTo>
                      <a:cubicBezTo>
                        <a:pt x="1263" y="162"/>
                        <a:pt x="1259" y="193"/>
                        <a:pt x="1259" y="193"/>
                      </a:cubicBezTo>
                      <a:cubicBezTo>
                        <a:pt x="1269" y="207"/>
                        <a:pt x="1290" y="195"/>
                        <a:pt x="1290" y="195"/>
                      </a:cubicBezTo>
                      <a:cubicBezTo>
                        <a:pt x="1286" y="186"/>
                        <a:pt x="1286" y="186"/>
                        <a:pt x="1286" y="186"/>
                      </a:cubicBezTo>
                      <a:cubicBezTo>
                        <a:pt x="1290" y="167"/>
                        <a:pt x="1290" y="167"/>
                        <a:pt x="1290" y="167"/>
                      </a:cubicBezTo>
                      <a:cubicBezTo>
                        <a:pt x="1290" y="167"/>
                        <a:pt x="1274" y="162"/>
                        <a:pt x="1269" y="162"/>
                      </a:cubicBezTo>
                      <a:close/>
                      <a:moveTo>
                        <a:pt x="1182" y="1554"/>
                      </a:moveTo>
                      <a:cubicBezTo>
                        <a:pt x="1175" y="1581"/>
                        <a:pt x="1175" y="1581"/>
                        <a:pt x="1175" y="1581"/>
                      </a:cubicBezTo>
                      <a:cubicBezTo>
                        <a:pt x="1209" y="1549"/>
                        <a:pt x="1209" y="1549"/>
                        <a:pt x="1209" y="1549"/>
                      </a:cubicBezTo>
                      <a:lnTo>
                        <a:pt x="1182" y="1554"/>
                      </a:lnTo>
                      <a:close/>
                      <a:moveTo>
                        <a:pt x="1357" y="1597"/>
                      </a:moveTo>
                      <a:cubicBezTo>
                        <a:pt x="1345" y="1572"/>
                        <a:pt x="1345" y="1572"/>
                        <a:pt x="1345" y="1572"/>
                      </a:cubicBezTo>
                      <a:cubicBezTo>
                        <a:pt x="1345" y="1572"/>
                        <a:pt x="1333" y="1579"/>
                        <a:pt x="1332" y="1587"/>
                      </a:cubicBezTo>
                      <a:cubicBezTo>
                        <a:pt x="1332" y="1594"/>
                        <a:pt x="1334" y="1597"/>
                        <a:pt x="1343" y="1600"/>
                      </a:cubicBezTo>
                      <a:cubicBezTo>
                        <a:pt x="1352" y="1603"/>
                        <a:pt x="1357" y="1597"/>
                        <a:pt x="1357" y="1597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13" name="Asia and Middle East">
                <a:extLst>
                  <a:ext uri="{FF2B5EF4-FFF2-40B4-BE49-F238E27FC236}">
                    <a16:creationId xmlns:a16="http://schemas.microsoft.com/office/drawing/2014/main" id="{EFEA1A02-B29F-2EFE-C24E-E67B7737C252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6289675" y="1431470"/>
                <a:ext cx="4898015" cy="3400266"/>
                <a:chOff x="6097295" y="1770048"/>
                <a:chExt cx="3807485" cy="2643551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68" name="Yemen">
                  <a:extLst>
                    <a:ext uri="{FF2B5EF4-FFF2-40B4-BE49-F238E27FC236}">
                      <a16:creationId xmlns:a16="http://schemas.microsoft.com/office/drawing/2014/main" id="{FEB4F740-99F5-DB90-A307-EE10F211FF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37169" y="3512317"/>
                  <a:ext cx="273097" cy="184065"/>
                </a:xfrm>
                <a:custGeom>
                  <a:avLst/>
                  <a:gdLst>
                    <a:gd name="T0" fmla="*/ 311 w 487"/>
                    <a:gd name="T1" fmla="*/ 13 h 330"/>
                    <a:gd name="T2" fmla="*/ 247 w 487"/>
                    <a:gd name="T3" fmla="*/ 45 h 330"/>
                    <a:gd name="T4" fmla="*/ 222 w 487"/>
                    <a:gd name="T5" fmla="*/ 82 h 330"/>
                    <a:gd name="T6" fmla="*/ 222 w 487"/>
                    <a:gd name="T7" fmla="*/ 94 h 330"/>
                    <a:gd name="T8" fmla="*/ 210 w 487"/>
                    <a:gd name="T9" fmla="*/ 106 h 330"/>
                    <a:gd name="T10" fmla="*/ 187 w 487"/>
                    <a:gd name="T11" fmla="*/ 89 h 330"/>
                    <a:gd name="T12" fmla="*/ 143 w 487"/>
                    <a:gd name="T13" fmla="*/ 89 h 330"/>
                    <a:gd name="T14" fmla="*/ 116 w 487"/>
                    <a:gd name="T15" fmla="*/ 81 h 330"/>
                    <a:gd name="T16" fmla="*/ 76 w 487"/>
                    <a:gd name="T17" fmla="*/ 82 h 330"/>
                    <a:gd name="T18" fmla="*/ 64 w 487"/>
                    <a:gd name="T19" fmla="*/ 88 h 330"/>
                    <a:gd name="T20" fmla="*/ 46 w 487"/>
                    <a:gd name="T21" fmla="*/ 89 h 330"/>
                    <a:gd name="T22" fmla="*/ 31 w 487"/>
                    <a:gd name="T23" fmla="*/ 80 h 330"/>
                    <a:gd name="T24" fmla="*/ 22 w 487"/>
                    <a:gd name="T25" fmla="*/ 114 h 330"/>
                    <a:gd name="T26" fmla="*/ 21 w 487"/>
                    <a:gd name="T27" fmla="*/ 127 h 330"/>
                    <a:gd name="T28" fmla="*/ 8 w 487"/>
                    <a:gd name="T29" fmla="*/ 141 h 330"/>
                    <a:gd name="T30" fmla="*/ 2 w 487"/>
                    <a:gd name="T31" fmla="*/ 164 h 330"/>
                    <a:gd name="T32" fmla="*/ 24 w 487"/>
                    <a:gd name="T33" fmla="*/ 193 h 330"/>
                    <a:gd name="T34" fmla="*/ 15 w 487"/>
                    <a:gd name="T35" fmla="*/ 270 h 330"/>
                    <a:gd name="T36" fmla="*/ 36 w 487"/>
                    <a:gd name="T37" fmla="*/ 292 h 330"/>
                    <a:gd name="T38" fmla="*/ 60 w 487"/>
                    <a:gd name="T39" fmla="*/ 325 h 330"/>
                    <a:gd name="T40" fmla="*/ 106 w 487"/>
                    <a:gd name="T41" fmla="*/ 321 h 330"/>
                    <a:gd name="T42" fmla="*/ 133 w 487"/>
                    <a:gd name="T43" fmla="*/ 287 h 330"/>
                    <a:gd name="T44" fmla="*/ 182 w 487"/>
                    <a:gd name="T45" fmla="*/ 290 h 330"/>
                    <a:gd name="T46" fmla="*/ 243 w 487"/>
                    <a:gd name="T47" fmla="*/ 282 h 330"/>
                    <a:gd name="T48" fmla="*/ 292 w 487"/>
                    <a:gd name="T49" fmla="*/ 243 h 330"/>
                    <a:gd name="T50" fmla="*/ 334 w 487"/>
                    <a:gd name="T51" fmla="*/ 213 h 330"/>
                    <a:gd name="T52" fmla="*/ 397 w 487"/>
                    <a:gd name="T53" fmla="*/ 181 h 330"/>
                    <a:gd name="T54" fmla="*/ 446 w 487"/>
                    <a:gd name="T55" fmla="*/ 180 h 330"/>
                    <a:gd name="T56" fmla="*/ 479 w 487"/>
                    <a:gd name="T57" fmla="*/ 125 h 330"/>
                    <a:gd name="T58" fmla="*/ 487 w 487"/>
                    <a:gd name="T59" fmla="*/ 120 h 330"/>
                    <a:gd name="T60" fmla="*/ 433 w 487"/>
                    <a:gd name="T61" fmla="*/ 0 h 330"/>
                    <a:gd name="T62" fmla="*/ 311 w 487"/>
                    <a:gd name="T63" fmla="*/ 13 h 3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87" h="330">
                      <a:moveTo>
                        <a:pt x="311" y="13"/>
                      </a:moveTo>
                      <a:cubicBezTo>
                        <a:pt x="299" y="13"/>
                        <a:pt x="257" y="32"/>
                        <a:pt x="247" y="45"/>
                      </a:cubicBezTo>
                      <a:cubicBezTo>
                        <a:pt x="237" y="58"/>
                        <a:pt x="222" y="82"/>
                        <a:pt x="222" y="82"/>
                      </a:cubicBezTo>
                      <a:cubicBezTo>
                        <a:pt x="222" y="94"/>
                        <a:pt x="222" y="94"/>
                        <a:pt x="222" y="94"/>
                      </a:cubicBezTo>
                      <a:cubicBezTo>
                        <a:pt x="222" y="94"/>
                        <a:pt x="215" y="106"/>
                        <a:pt x="210" y="106"/>
                      </a:cubicBezTo>
                      <a:cubicBezTo>
                        <a:pt x="205" y="106"/>
                        <a:pt x="191" y="91"/>
                        <a:pt x="187" y="89"/>
                      </a:cubicBezTo>
                      <a:cubicBezTo>
                        <a:pt x="183" y="87"/>
                        <a:pt x="143" y="89"/>
                        <a:pt x="143" y="89"/>
                      </a:cubicBezTo>
                      <a:cubicBezTo>
                        <a:pt x="143" y="89"/>
                        <a:pt x="132" y="81"/>
                        <a:pt x="116" y="81"/>
                      </a:cubicBezTo>
                      <a:cubicBezTo>
                        <a:pt x="100" y="81"/>
                        <a:pt x="81" y="82"/>
                        <a:pt x="76" y="82"/>
                      </a:cubicBezTo>
                      <a:cubicBezTo>
                        <a:pt x="71" y="82"/>
                        <a:pt x="64" y="88"/>
                        <a:pt x="64" y="88"/>
                      </a:cubicBezTo>
                      <a:cubicBezTo>
                        <a:pt x="46" y="89"/>
                        <a:pt x="46" y="89"/>
                        <a:pt x="46" y="89"/>
                      </a:cubicBezTo>
                      <a:cubicBezTo>
                        <a:pt x="46" y="89"/>
                        <a:pt x="41" y="75"/>
                        <a:pt x="31" y="80"/>
                      </a:cubicBezTo>
                      <a:cubicBezTo>
                        <a:pt x="21" y="85"/>
                        <a:pt x="22" y="114"/>
                        <a:pt x="22" y="114"/>
                      </a:cubicBezTo>
                      <a:cubicBezTo>
                        <a:pt x="22" y="114"/>
                        <a:pt x="28" y="116"/>
                        <a:pt x="21" y="127"/>
                      </a:cubicBezTo>
                      <a:cubicBezTo>
                        <a:pt x="17" y="134"/>
                        <a:pt x="12" y="138"/>
                        <a:pt x="8" y="141"/>
                      </a:cubicBezTo>
                      <a:cubicBezTo>
                        <a:pt x="6" y="150"/>
                        <a:pt x="3" y="159"/>
                        <a:pt x="2" y="164"/>
                      </a:cubicBezTo>
                      <a:cubicBezTo>
                        <a:pt x="0" y="174"/>
                        <a:pt x="24" y="193"/>
                        <a:pt x="24" y="193"/>
                      </a:cubicBezTo>
                      <a:cubicBezTo>
                        <a:pt x="15" y="270"/>
                        <a:pt x="15" y="270"/>
                        <a:pt x="15" y="270"/>
                      </a:cubicBezTo>
                      <a:cubicBezTo>
                        <a:pt x="36" y="292"/>
                        <a:pt x="36" y="292"/>
                        <a:pt x="36" y="292"/>
                      </a:cubicBezTo>
                      <a:cubicBezTo>
                        <a:pt x="36" y="292"/>
                        <a:pt x="41" y="321"/>
                        <a:pt x="60" y="325"/>
                      </a:cubicBezTo>
                      <a:cubicBezTo>
                        <a:pt x="79" y="330"/>
                        <a:pt x="94" y="329"/>
                        <a:pt x="106" y="321"/>
                      </a:cubicBezTo>
                      <a:cubicBezTo>
                        <a:pt x="118" y="313"/>
                        <a:pt x="122" y="287"/>
                        <a:pt x="133" y="287"/>
                      </a:cubicBezTo>
                      <a:cubicBezTo>
                        <a:pt x="145" y="286"/>
                        <a:pt x="160" y="293"/>
                        <a:pt x="182" y="290"/>
                      </a:cubicBezTo>
                      <a:cubicBezTo>
                        <a:pt x="204" y="287"/>
                        <a:pt x="230" y="282"/>
                        <a:pt x="243" y="282"/>
                      </a:cubicBezTo>
                      <a:cubicBezTo>
                        <a:pt x="256" y="283"/>
                        <a:pt x="277" y="249"/>
                        <a:pt x="292" y="243"/>
                      </a:cubicBezTo>
                      <a:cubicBezTo>
                        <a:pt x="308" y="238"/>
                        <a:pt x="316" y="218"/>
                        <a:pt x="334" y="213"/>
                      </a:cubicBezTo>
                      <a:cubicBezTo>
                        <a:pt x="352" y="207"/>
                        <a:pt x="397" y="181"/>
                        <a:pt x="397" y="181"/>
                      </a:cubicBezTo>
                      <a:cubicBezTo>
                        <a:pt x="446" y="180"/>
                        <a:pt x="446" y="180"/>
                        <a:pt x="446" y="180"/>
                      </a:cubicBezTo>
                      <a:cubicBezTo>
                        <a:pt x="446" y="180"/>
                        <a:pt x="466" y="135"/>
                        <a:pt x="479" y="125"/>
                      </a:cubicBezTo>
                      <a:cubicBezTo>
                        <a:pt x="480" y="123"/>
                        <a:pt x="483" y="122"/>
                        <a:pt x="487" y="120"/>
                      </a:cubicBezTo>
                      <a:cubicBezTo>
                        <a:pt x="433" y="0"/>
                        <a:pt x="433" y="0"/>
                        <a:pt x="433" y="0"/>
                      </a:cubicBezTo>
                      <a:cubicBezTo>
                        <a:pt x="433" y="0"/>
                        <a:pt x="323" y="13"/>
                        <a:pt x="311" y="13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69" name="Vietnam">
                  <a:extLst>
                    <a:ext uri="{FF2B5EF4-FFF2-40B4-BE49-F238E27FC236}">
                      <a16:creationId xmlns:a16="http://schemas.microsoft.com/office/drawing/2014/main" id="{8DA2D907-776E-EA4A-4E69-16C8307BED3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77310" y="3380615"/>
                  <a:ext cx="228640" cy="444294"/>
                </a:xfrm>
                <a:custGeom>
                  <a:avLst/>
                  <a:gdLst>
                    <a:gd name="T0" fmla="*/ 6 w 407"/>
                    <a:gd name="T1" fmla="*/ 62 h 795"/>
                    <a:gd name="T2" fmla="*/ 37 w 407"/>
                    <a:gd name="T3" fmla="*/ 84 h 795"/>
                    <a:gd name="T4" fmla="*/ 61 w 407"/>
                    <a:gd name="T5" fmla="*/ 137 h 795"/>
                    <a:gd name="T6" fmla="*/ 82 w 407"/>
                    <a:gd name="T7" fmla="*/ 145 h 795"/>
                    <a:gd name="T8" fmla="*/ 124 w 407"/>
                    <a:gd name="T9" fmla="*/ 145 h 795"/>
                    <a:gd name="T10" fmla="*/ 153 w 407"/>
                    <a:gd name="T11" fmla="*/ 179 h 795"/>
                    <a:gd name="T12" fmla="*/ 101 w 407"/>
                    <a:gd name="T13" fmla="*/ 199 h 795"/>
                    <a:gd name="T14" fmla="*/ 142 w 407"/>
                    <a:gd name="T15" fmla="*/ 240 h 795"/>
                    <a:gd name="T16" fmla="*/ 169 w 407"/>
                    <a:gd name="T17" fmla="*/ 271 h 795"/>
                    <a:gd name="T18" fmla="*/ 205 w 407"/>
                    <a:gd name="T19" fmla="*/ 314 h 795"/>
                    <a:gd name="T20" fmla="*/ 230 w 407"/>
                    <a:gd name="T21" fmla="*/ 347 h 795"/>
                    <a:gd name="T22" fmla="*/ 254 w 407"/>
                    <a:gd name="T23" fmla="*/ 370 h 795"/>
                    <a:gd name="T24" fmla="*/ 287 w 407"/>
                    <a:gd name="T25" fmla="*/ 397 h 795"/>
                    <a:gd name="T26" fmla="*/ 312 w 407"/>
                    <a:gd name="T27" fmla="*/ 436 h 795"/>
                    <a:gd name="T28" fmla="*/ 310 w 407"/>
                    <a:gd name="T29" fmla="*/ 470 h 795"/>
                    <a:gd name="T30" fmla="*/ 300 w 407"/>
                    <a:gd name="T31" fmla="*/ 505 h 795"/>
                    <a:gd name="T32" fmla="*/ 306 w 407"/>
                    <a:gd name="T33" fmla="*/ 545 h 795"/>
                    <a:gd name="T34" fmla="*/ 314 w 407"/>
                    <a:gd name="T35" fmla="*/ 598 h 795"/>
                    <a:gd name="T36" fmla="*/ 291 w 407"/>
                    <a:gd name="T37" fmla="*/ 610 h 795"/>
                    <a:gd name="T38" fmla="*/ 273 w 407"/>
                    <a:gd name="T39" fmla="*/ 625 h 795"/>
                    <a:gd name="T40" fmla="*/ 252 w 407"/>
                    <a:gd name="T41" fmla="*/ 659 h 795"/>
                    <a:gd name="T42" fmla="*/ 238 w 407"/>
                    <a:gd name="T43" fmla="*/ 663 h 795"/>
                    <a:gd name="T44" fmla="*/ 204 w 407"/>
                    <a:gd name="T45" fmla="*/ 670 h 795"/>
                    <a:gd name="T46" fmla="*/ 180 w 407"/>
                    <a:gd name="T47" fmla="*/ 703 h 795"/>
                    <a:gd name="T48" fmla="*/ 196 w 407"/>
                    <a:gd name="T49" fmla="*/ 734 h 795"/>
                    <a:gd name="T50" fmla="*/ 194 w 407"/>
                    <a:gd name="T51" fmla="*/ 789 h 795"/>
                    <a:gd name="T52" fmla="*/ 228 w 407"/>
                    <a:gd name="T53" fmla="*/ 783 h 795"/>
                    <a:gd name="T54" fmla="*/ 255 w 407"/>
                    <a:gd name="T55" fmla="*/ 752 h 795"/>
                    <a:gd name="T56" fmla="*/ 285 w 407"/>
                    <a:gd name="T57" fmla="*/ 735 h 795"/>
                    <a:gd name="T58" fmla="*/ 300 w 407"/>
                    <a:gd name="T59" fmla="*/ 693 h 795"/>
                    <a:gd name="T60" fmla="*/ 391 w 407"/>
                    <a:gd name="T61" fmla="*/ 639 h 795"/>
                    <a:gd name="T62" fmla="*/ 385 w 407"/>
                    <a:gd name="T63" fmla="*/ 539 h 795"/>
                    <a:gd name="T64" fmla="*/ 390 w 407"/>
                    <a:gd name="T65" fmla="*/ 485 h 795"/>
                    <a:gd name="T66" fmla="*/ 363 w 407"/>
                    <a:gd name="T67" fmla="*/ 418 h 795"/>
                    <a:gd name="T68" fmla="*/ 256 w 407"/>
                    <a:gd name="T69" fmla="*/ 332 h 795"/>
                    <a:gd name="T70" fmla="*/ 193 w 407"/>
                    <a:gd name="T71" fmla="*/ 235 h 795"/>
                    <a:gd name="T72" fmla="*/ 197 w 407"/>
                    <a:gd name="T73" fmla="*/ 160 h 795"/>
                    <a:gd name="T74" fmla="*/ 229 w 407"/>
                    <a:gd name="T75" fmla="*/ 129 h 795"/>
                    <a:gd name="T76" fmla="*/ 259 w 407"/>
                    <a:gd name="T77" fmla="*/ 100 h 795"/>
                    <a:gd name="T78" fmla="*/ 257 w 407"/>
                    <a:gd name="T79" fmla="*/ 92 h 795"/>
                    <a:gd name="T80" fmla="*/ 218 w 407"/>
                    <a:gd name="T81" fmla="*/ 75 h 795"/>
                    <a:gd name="T82" fmla="*/ 207 w 407"/>
                    <a:gd name="T83" fmla="*/ 61 h 795"/>
                    <a:gd name="T84" fmla="*/ 196 w 407"/>
                    <a:gd name="T85" fmla="*/ 47 h 795"/>
                    <a:gd name="T86" fmla="*/ 182 w 407"/>
                    <a:gd name="T87" fmla="*/ 25 h 795"/>
                    <a:gd name="T88" fmla="*/ 156 w 407"/>
                    <a:gd name="T89" fmla="*/ 22 h 795"/>
                    <a:gd name="T90" fmla="*/ 115 w 407"/>
                    <a:gd name="T91" fmla="*/ 9 h 795"/>
                    <a:gd name="T92" fmla="*/ 95 w 407"/>
                    <a:gd name="T93" fmla="*/ 36 h 795"/>
                    <a:gd name="T94" fmla="*/ 80 w 407"/>
                    <a:gd name="T95" fmla="*/ 29 h 795"/>
                    <a:gd name="T96" fmla="*/ 72 w 407"/>
                    <a:gd name="T97" fmla="*/ 42 h 795"/>
                    <a:gd name="T98" fmla="*/ 58 w 407"/>
                    <a:gd name="T99" fmla="*/ 30 h 795"/>
                    <a:gd name="T100" fmla="*/ 48 w 407"/>
                    <a:gd name="T101" fmla="*/ 31 h 795"/>
                    <a:gd name="T102" fmla="*/ 4 w 407"/>
                    <a:gd name="T103" fmla="*/ 32 h 7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407" h="795">
                      <a:moveTo>
                        <a:pt x="4" y="32"/>
                      </a:moveTo>
                      <a:cubicBezTo>
                        <a:pt x="0" y="40"/>
                        <a:pt x="0" y="55"/>
                        <a:pt x="6" y="62"/>
                      </a:cubicBezTo>
                      <a:cubicBezTo>
                        <a:pt x="12" y="69"/>
                        <a:pt x="28" y="87"/>
                        <a:pt x="28" y="87"/>
                      </a:cubicBezTo>
                      <a:cubicBezTo>
                        <a:pt x="28" y="87"/>
                        <a:pt x="33" y="80"/>
                        <a:pt x="37" y="84"/>
                      </a:cubicBezTo>
                      <a:cubicBezTo>
                        <a:pt x="41" y="88"/>
                        <a:pt x="28" y="97"/>
                        <a:pt x="38" y="110"/>
                      </a:cubicBezTo>
                      <a:cubicBezTo>
                        <a:pt x="48" y="123"/>
                        <a:pt x="61" y="137"/>
                        <a:pt x="61" y="137"/>
                      </a:cubicBezTo>
                      <a:cubicBezTo>
                        <a:pt x="70" y="137"/>
                        <a:pt x="70" y="137"/>
                        <a:pt x="70" y="137"/>
                      </a:cubicBezTo>
                      <a:cubicBezTo>
                        <a:pt x="70" y="137"/>
                        <a:pt x="75" y="153"/>
                        <a:pt x="82" y="145"/>
                      </a:cubicBezTo>
                      <a:cubicBezTo>
                        <a:pt x="89" y="137"/>
                        <a:pt x="86" y="125"/>
                        <a:pt x="94" y="126"/>
                      </a:cubicBezTo>
                      <a:cubicBezTo>
                        <a:pt x="102" y="127"/>
                        <a:pt x="124" y="145"/>
                        <a:pt x="124" y="145"/>
                      </a:cubicBezTo>
                      <a:cubicBezTo>
                        <a:pt x="124" y="145"/>
                        <a:pt x="104" y="151"/>
                        <a:pt x="122" y="159"/>
                      </a:cubicBezTo>
                      <a:cubicBezTo>
                        <a:pt x="140" y="167"/>
                        <a:pt x="159" y="169"/>
                        <a:pt x="153" y="179"/>
                      </a:cubicBezTo>
                      <a:cubicBezTo>
                        <a:pt x="147" y="189"/>
                        <a:pt x="128" y="203"/>
                        <a:pt x="128" y="203"/>
                      </a:cubicBezTo>
                      <a:cubicBezTo>
                        <a:pt x="128" y="203"/>
                        <a:pt x="99" y="195"/>
                        <a:pt x="101" y="199"/>
                      </a:cubicBezTo>
                      <a:cubicBezTo>
                        <a:pt x="103" y="203"/>
                        <a:pt x="103" y="215"/>
                        <a:pt x="103" y="215"/>
                      </a:cubicBezTo>
                      <a:cubicBezTo>
                        <a:pt x="103" y="215"/>
                        <a:pt x="136" y="235"/>
                        <a:pt x="142" y="240"/>
                      </a:cubicBezTo>
                      <a:cubicBezTo>
                        <a:pt x="148" y="245"/>
                        <a:pt x="166" y="250"/>
                        <a:pt x="166" y="250"/>
                      </a:cubicBezTo>
                      <a:cubicBezTo>
                        <a:pt x="166" y="250"/>
                        <a:pt x="165" y="267"/>
                        <a:pt x="169" y="271"/>
                      </a:cubicBezTo>
                      <a:cubicBezTo>
                        <a:pt x="173" y="275"/>
                        <a:pt x="195" y="283"/>
                        <a:pt x="195" y="283"/>
                      </a:cubicBezTo>
                      <a:cubicBezTo>
                        <a:pt x="195" y="283"/>
                        <a:pt x="192" y="303"/>
                        <a:pt x="205" y="314"/>
                      </a:cubicBezTo>
                      <a:cubicBezTo>
                        <a:pt x="218" y="325"/>
                        <a:pt x="229" y="336"/>
                        <a:pt x="229" y="336"/>
                      </a:cubicBezTo>
                      <a:cubicBezTo>
                        <a:pt x="230" y="347"/>
                        <a:pt x="230" y="347"/>
                        <a:pt x="230" y="347"/>
                      </a:cubicBezTo>
                      <a:cubicBezTo>
                        <a:pt x="244" y="346"/>
                        <a:pt x="244" y="346"/>
                        <a:pt x="244" y="346"/>
                      </a:cubicBezTo>
                      <a:cubicBezTo>
                        <a:pt x="244" y="346"/>
                        <a:pt x="247" y="363"/>
                        <a:pt x="254" y="370"/>
                      </a:cubicBezTo>
                      <a:cubicBezTo>
                        <a:pt x="261" y="377"/>
                        <a:pt x="271" y="378"/>
                        <a:pt x="271" y="378"/>
                      </a:cubicBezTo>
                      <a:cubicBezTo>
                        <a:pt x="271" y="378"/>
                        <a:pt x="295" y="392"/>
                        <a:pt x="287" y="397"/>
                      </a:cubicBezTo>
                      <a:cubicBezTo>
                        <a:pt x="279" y="402"/>
                        <a:pt x="265" y="405"/>
                        <a:pt x="279" y="416"/>
                      </a:cubicBezTo>
                      <a:cubicBezTo>
                        <a:pt x="293" y="427"/>
                        <a:pt x="312" y="436"/>
                        <a:pt x="312" y="436"/>
                      </a:cubicBezTo>
                      <a:cubicBezTo>
                        <a:pt x="301" y="457"/>
                        <a:pt x="301" y="457"/>
                        <a:pt x="301" y="457"/>
                      </a:cubicBezTo>
                      <a:cubicBezTo>
                        <a:pt x="301" y="457"/>
                        <a:pt x="314" y="462"/>
                        <a:pt x="310" y="470"/>
                      </a:cubicBezTo>
                      <a:cubicBezTo>
                        <a:pt x="306" y="478"/>
                        <a:pt x="300" y="477"/>
                        <a:pt x="300" y="477"/>
                      </a:cubicBezTo>
                      <a:cubicBezTo>
                        <a:pt x="300" y="505"/>
                        <a:pt x="300" y="505"/>
                        <a:pt x="300" y="505"/>
                      </a:cubicBezTo>
                      <a:cubicBezTo>
                        <a:pt x="300" y="505"/>
                        <a:pt x="321" y="516"/>
                        <a:pt x="321" y="529"/>
                      </a:cubicBezTo>
                      <a:cubicBezTo>
                        <a:pt x="321" y="542"/>
                        <a:pt x="305" y="542"/>
                        <a:pt x="306" y="545"/>
                      </a:cubicBezTo>
                      <a:cubicBezTo>
                        <a:pt x="307" y="548"/>
                        <a:pt x="317" y="584"/>
                        <a:pt x="317" y="584"/>
                      </a:cubicBezTo>
                      <a:cubicBezTo>
                        <a:pt x="314" y="598"/>
                        <a:pt x="314" y="598"/>
                        <a:pt x="314" y="598"/>
                      </a:cubicBezTo>
                      <a:cubicBezTo>
                        <a:pt x="314" y="598"/>
                        <a:pt x="302" y="593"/>
                        <a:pt x="297" y="596"/>
                      </a:cubicBezTo>
                      <a:cubicBezTo>
                        <a:pt x="292" y="599"/>
                        <a:pt x="291" y="610"/>
                        <a:pt x="291" y="610"/>
                      </a:cubicBezTo>
                      <a:cubicBezTo>
                        <a:pt x="270" y="611"/>
                        <a:pt x="270" y="611"/>
                        <a:pt x="270" y="611"/>
                      </a:cubicBezTo>
                      <a:cubicBezTo>
                        <a:pt x="273" y="625"/>
                        <a:pt x="273" y="625"/>
                        <a:pt x="273" y="625"/>
                      </a:cubicBezTo>
                      <a:cubicBezTo>
                        <a:pt x="273" y="625"/>
                        <a:pt x="246" y="621"/>
                        <a:pt x="244" y="627"/>
                      </a:cubicBezTo>
                      <a:cubicBezTo>
                        <a:pt x="242" y="633"/>
                        <a:pt x="242" y="651"/>
                        <a:pt x="252" y="659"/>
                      </a:cubicBezTo>
                      <a:cubicBezTo>
                        <a:pt x="262" y="667"/>
                        <a:pt x="269" y="677"/>
                        <a:pt x="262" y="678"/>
                      </a:cubicBezTo>
                      <a:cubicBezTo>
                        <a:pt x="255" y="679"/>
                        <a:pt x="248" y="663"/>
                        <a:pt x="238" y="663"/>
                      </a:cubicBezTo>
                      <a:cubicBezTo>
                        <a:pt x="228" y="663"/>
                        <a:pt x="226" y="670"/>
                        <a:pt x="222" y="670"/>
                      </a:cubicBezTo>
                      <a:cubicBezTo>
                        <a:pt x="218" y="670"/>
                        <a:pt x="204" y="670"/>
                        <a:pt x="204" y="670"/>
                      </a:cubicBezTo>
                      <a:cubicBezTo>
                        <a:pt x="204" y="670"/>
                        <a:pt x="228" y="684"/>
                        <a:pt x="208" y="686"/>
                      </a:cubicBezTo>
                      <a:cubicBezTo>
                        <a:pt x="188" y="688"/>
                        <a:pt x="174" y="695"/>
                        <a:pt x="180" y="703"/>
                      </a:cubicBezTo>
                      <a:cubicBezTo>
                        <a:pt x="186" y="711"/>
                        <a:pt x="209" y="723"/>
                        <a:pt x="209" y="723"/>
                      </a:cubicBezTo>
                      <a:cubicBezTo>
                        <a:pt x="196" y="734"/>
                        <a:pt x="196" y="734"/>
                        <a:pt x="196" y="734"/>
                      </a:cubicBezTo>
                      <a:cubicBezTo>
                        <a:pt x="196" y="734"/>
                        <a:pt x="210" y="769"/>
                        <a:pt x="203" y="775"/>
                      </a:cubicBezTo>
                      <a:cubicBezTo>
                        <a:pt x="199" y="778"/>
                        <a:pt x="196" y="784"/>
                        <a:pt x="194" y="789"/>
                      </a:cubicBezTo>
                      <a:cubicBezTo>
                        <a:pt x="195" y="789"/>
                        <a:pt x="195" y="789"/>
                        <a:pt x="195" y="789"/>
                      </a:cubicBezTo>
                      <a:cubicBezTo>
                        <a:pt x="204" y="795"/>
                        <a:pt x="218" y="795"/>
                        <a:pt x="228" y="783"/>
                      </a:cubicBezTo>
                      <a:cubicBezTo>
                        <a:pt x="239" y="772"/>
                        <a:pt x="252" y="768"/>
                        <a:pt x="252" y="768"/>
                      </a:cubicBezTo>
                      <a:cubicBezTo>
                        <a:pt x="255" y="752"/>
                        <a:pt x="255" y="752"/>
                        <a:pt x="255" y="752"/>
                      </a:cubicBezTo>
                      <a:cubicBezTo>
                        <a:pt x="255" y="736"/>
                        <a:pt x="255" y="736"/>
                        <a:pt x="255" y="736"/>
                      </a:cubicBezTo>
                      <a:cubicBezTo>
                        <a:pt x="255" y="736"/>
                        <a:pt x="280" y="747"/>
                        <a:pt x="285" y="735"/>
                      </a:cubicBezTo>
                      <a:cubicBezTo>
                        <a:pt x="289" y="723"/>
                        <a:pt x="269" y="711"/>
                        <a:pt x="273" y="708"/>
                      </a:cubicBezTo>
                      <a:cubicBezTo>
                        <a:pt x="277" y="704"/>
                        <a:pt x="300" y="693"/>
                        <a:pt x="300" y="693"/>
                      </a:cubicBezTo>
                      <a:cubicBezTo>
                        <a:pt x="300" y="693"/>
                        <a:pt x="311" y="702"/>
                        <a:pt x="334" y="690"/>
                      </a:cubicBezTo>
                      <a:cubicBezTo>
                        <a:pt x="356" y="679"/>
                        <a:pt x="387" y="656"/>
                        <a:pt x="391" y="639"/>
                      </a:cubicBezTo>
                      <a:cubicBezTo>
                        <a:pt x="394" y="622"/>
                        <a:pt x="407" y="577"/>
                        <a:pt x="405" y="567"/>
                      </a:cubicBezTo>
                      <a:cubicBezTo>
                        <a:pt x="403" y="557"/>
                        <a:pt x="385" y="539"/>
                        <a:pt x="385" y="539"/>
                      </a:cubicBezTo>
                      <a:cubicBezTo>
                        <a:pt x="395" y="535"/>
                        <a:pt x="395" y="535"/>
                        <a:pt x="395" y="535"/>
                      </a:cubicBezTo>
                      <a:cubicBezTo>
                        <a:pt x="395" y="535"/>
                        <a:pt x="395" y="498"/>
                        <a:pt x="390" y="485"/>
                      </a:cubicBezTo>
                      <a:cubicBezTo>
                        <a:pt x="384" y="471"/>
                        <a:pt x="368" y="448"/>
                        <a:pt x="368" y="448"/>
                      </a:cubicBezTo>
                      <a:cubicBezTo>
                        <a:pt x="368" y="448"/>
                        <a:pt x="379" y="434"/>
                        <a:pt x="363" y="418"/>
                      </a:cubicBezTo>
                      <a:cubicBezTo>
                        <a:pt x="347" y="403"/>
                        <a:pt x="302" y="361"/>
                        <a:pt x="288" y="354"/>
                      </a:cubicBezTo>
                      <a:cubicBezTo>
                        <a:pt x="274" y="348"/>
                        <a:pt x="259" y="340"/>
                        <a:pt x="256" y="332"/>
                      </a:cubicBezTo>
                      <a:cubicBezTo>
                        <a:pt x="252" y="325"/>
                        <a:pt x="260" y="319"/>
                        <a:pt x="254" y="309"/>
                      </a:cubicBezTo>
                      <a:cubicBezTo>
                        <a:pt x="248" y="299"/>
                        <a:pt x="200" y="258"/>
                        <a:pt x="193" y="235"/>
                      </a:cubicBezTo>
                      <a:cubicBezTo>
                        <a:pt x="187" y="211"/>
                        <a:pt x="182" y="185"/>
                        <a:pt x="188" y="180"/>
                      </a:cubicBezTo>
                      <a:cubicBezTo>
                        <a:pt x="195" y="176"/>
                        <a:pt x="197" y="160"/>
                        <a:pt x="197" y="160"/>
                      </a:cubicBezTo>
                      <a:cubicBezTo>
                        <a:pt x="197" y="160"/>
                        <a:pt x="215" y="147"/>
                        <a:pt x="220" y="143"/>
                      </a:cubicBezTo>
                      <a:cubicBezTo>
                        <a:pt x="226" y="140"/>
                        <a:pt x="229" y="129"/>
                        <a:pt x="229" y="129"/>
                      </a:cubicBezTo>
                      <a:cubicBezTo>
                        <a:pt x="229" y="129"/>
                        <a:pt x="248" y="132"/>
                        <a:pt x="254" y="127"/>
                      </a:cubicBezTo>
                      <a:cubicBezTo>
                        <a:pt x="259" y="122"/>
                        <a:pt x="259" y="100"/>
                        <a:pt x="259" y="100"/>
                      </a:cubicBezTo>
                      <a:cubicBezTo>
                        <a:pt x="266" y="95"/>
                        <a:pt x="266" y="95"/>
                        <a:pt x="266" y="95"/>
                      </a:cubicBezTo>
                      <a:cubicBezTo>
                        <a:pt x="264" y="94"/>
                        <a:pt x="261" y="92"/>
                        <a:pt x="257" y="92"/>
                      </a:cubicBezTo>
                      <a:cubicBezTo>
                        <a:pt x="249" y="91"/>
                        <a:pt x="236" y="94"/>
                        <a:pt x="229" y="87"/>
                      </a:cubicBezTo>
                      <a:cubicBezTo>
                        <a:pt x="222" y="80"/>
                        <a:pt x="218" y="75"/>
                        <a:pt x="218" y="75"/>
                      </a:cubicBezTo>
                      <a:cubicBezTo>
                        <a:pt x="207" y="74"/>
                        <a:pt x="207" y="74"/>
                        <a:pt x="207" y="74"/>
                      </a:cubicBezTo>
                      <a:cubicBezTo>
                        <a:pt x="207" y="61"/>
                        <a:pt x="207" y="61"/>
                        <a:pt x="207" y="61"/>
                      </a:cubicBezTo>
                      <a:cubicBezTo>
                        <a:pt x="200" y="57"/>
                        <a:pt x="200" y="57"/>
                        <a:pt x="200" y="57"/>
                      </a:cubicBezTo>
                      <a:cubicBezTo>
                        <a:pt x="196" y="47"/>
                        <a:pt x="196" y="47"/>
                        <a:pt x="196" y="47"/>
                      </a:cubicBezTo>
                      <a:cubicBezTo>
                        <a:pt x="196" y="47"/>
                        <a:pt x="212" y="40"/>
                        <a:pt x="207" y="32"/>
                      </a:cubicBezTo>
                      <a:cubicBezTo>
                        <a:pt x="202" y="24"/>
                        <a:pt x="182" y="25"/>
                        <a:pt x="182" y="25"/>
                      </a:cubicBezTo>
                      <a:cubicBezTo>
                        <a:pt x="177" y="17"/>
                        <a:pt x="177" y="17"/>
                        <a:pt x="177" y="17"/>
                      </a:cubicBezTo>
                      <a:cubicBezTo>
                        <a:pt x="156" y="22"/>
                        <a:pt x="156" y="22"/>
                        <a:pt x="156" y="22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19" y="4"/>
                        <a:pt x="115" y="9"/>
                      </a:cubicBezTo>
                      <a:cubicBezTo>
                        <a:pt x="111" y="14"/>
                        <a:pt x="117" y="28"/>
                        <a:pt x="110" y="30"/>
                      </a:cubicBezTo>
                      <a:cubicBezTo>
                        <a:pt x="103" y="32"/>
                        <a:pt x="95" y="36"/>
                        <a:pt x="95" y="36"/>
                      </a:cubicBezTo>
                      <a:cubicBezTo>
                        <a:pt x="91" y="29"/>
                        <a:pt x="91" y="29"/>
                        <a:pt x="91" y="29"/>
                      </a:cubicBezTo>
                      <a:cubicBezTo>
                        <a:pt x="80" y="29"/>
                        <a:pt x="80" y="29"/>
                        <a:pt x="80" y="29"/>
                      </a:cubicBezTo>
                      <a:cubicBezTo>
                        <a:pt x="80" y="29"/>
                        <a:pt x="97" y="45"/>
                        <a:pt x="84" y="46"/>
                      </a:cubicBezTo>
                      <a:cubicBezTo>
                        <a:pt x="71" y="47"/>
                        <a:pt x="72" y="42"/>
                        <a:pt x="72" y="42"/>
                      </a:cubicBezTo>
                      <a:cubicBezTo>
                        <a:pt x="63" y="29"/>
                        <a:pt x="63" y="29"/>
                        <a:pt x="63" y="29"/>
                      </a:cubicBezTo>
                      <a:cubicBezTo>
                        <a:pt x="58" y="30"/>
                        <a:pt x="58" y="30"/>
                        <a:pt x="58" y="30"/>
                      </a:cubicBezTo>
                      <a:cubicBezTo>
                        <a:pt x="59" y="43"/>
                        <a:pt x="59" y="43"/>
                        <a:pt x="59" y="43"/>
                      </a:cubicBezTo>
                      <a:cubicBezTo>
                        <a:pt x="48" y="31"/>
                        <a:pt x="48" y="31"/>
                        <a:pt x="48" y="31"/>
                      </a:cubicBezTo>
                      <a:cubicBezTo>
                        <a:pt x="48" y="31"/>
                        <a:pt x="39" y="47"/>
                        <a:pt x="33" y="47"/>
                      </a:cubicBezTo>
                      <a:cubicBezTo>
                        <a:pt x="27" y="47"/>
                        <a:pt x="8" y="24"/>
                        <a:pt x="4" y="3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0" name="Vanuatu">
                  <a:extLst>
                    <a:ext uri="{FF2B5EF4-FFF2-40B4-BE49-F238E27FC236}">
                      <a16:creationId xmlns:a16="http://schemas.microsoft.com/office/drawing/2014/main" id="{6BFFA56A-D502-89EB-917E-40B46A33131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766644" y="4281897"/>
                  <a:ext cx="138136" cy="131702"/>
                </a:xfrm>
                <a:custGeom>
                  <a:avLst/>
                  <a:gdLst>
                    <a:gd name="T0" fmla="*/ 21 w 247"/>
                    <a:gd name="T1" fmla="*/ 14 h 235"/>
                    <a:gd name="T2" fmla="*/ 9 w 247"/>
                    <a:gd name="T3" fmla="*/ 0 h 235"/>
                    <a:gd name="T4" fmla="*/ 2 w 247"/>
                    <a:gd name="T5" fmla="*/ 16 h 235"/>
                    <a:gd name="T6" fmla="*/ 15 w 247"/>
                    <a:gd name="T7" fmla="*/ 32 h 235"/>
                    <a:gd name="T8" fmla="*/ 21 w 247"/>
                    <a:gd name="T9" fmla="*/ 14 h 235"/>
                    <a:gd name="T10" fmla="*/ 0 w 247"/>
                    <a:gd name="T11" fmla="*/ 84 h 235"/>
                    <a:gd name="T12" fmla="*/ 13 w 247"/>
                    <a:gd name="T13" fmla="*/ 89 h 235"/>
                    <a:gd name="T14" fmla="*/ 22 w 247"/>
                    <a:gd name="T15" fmla="*/ 67 h 235"/>
                    <a:gd name="T16" fmla="*/ 0 w 247"/>
                    <a:gd name="T17" fmla="*/ 70 h 235"/>
                    <a:gd name="T18" fmla="*/ 0 w 247"/>
                    <a:gd name="T19" fmla="*/ 84 h 235"/>
                    <a:gd name="T20" fmla="*/ 51 w 247"/>
                    <a:gd name="T21" fmla="*/ 81 h 235"/>
                    <a:gd name="T22" fmla="*/ 25 w 247"/>
                    <a:gd name="T23" fmla="*/ 81 h 235"/>
                    <a:gd name="T24" fmla="*/ 26 w 247"/>
                    <a:gd name="T25" fmla="*/ 97 h 235"/>
                    <a:gd name="T26" fmla="*/ 53 w 247"/>
                    <a:gd name="T27" fmla="*/ 91 h 235"/>
                    <a:gd name="T28" fmla="*/ 51 w 247"/>
                    <a:gd name="T29" fmla="*/ 81 h 235"/>
                    <a:gd name="T30" fmla="*/ 39 w 247"/>
                    <a:gd name="T31" fmla="*/ 126 h 235"/>
                    <a:gd name="T32" fmla="*/ 64 w 247"/>
                    <a:gd name="T33" fmla="*/ 123 h 235"/>
                    <a:gd name="T34" fmla="*/ 32 w 247"/>
                    <a:gd name="T35" fmla="*/ 103 h 235"/>
                    <a:gd name="T36" fmla="*/ 39 w 247"/>
                    <a:gd name="T37" fmla="*/ 126 h 235"/>
                    <a:gd name="T38" fmla="*/ 163 w 247"/>
                    <a:gd name="T39" fmla="*/ 149 h 235"/>
                    <a:gd name="T40" fmla="*/ 128 w 247"/>
                    <a:gd name="T41" fmla="*/ 142 h 235"/>
                    <a:gd name="T42" fmla="*/ 142 w 247"/>
                    <a:gd name="T43" fmla="*/ 169 h 235"/>
                    <a:gd name="T44" fmla="*/ 183 w 247"/>
                    <a:gd name="T45" fmla="*/ 172 h 235"/>
                    <a:gd name="T46" fmla="*/ 163 w 247"/>
                    <a:gd name="T47" fmla="*/ 149 h 235"/>
                    <a:gd name="T48" fmla="*/ 205 w 247"/>
                    <a:gd name="T49" fmla="*/ 193 h 235"/>
                    <a:gd name="T50" fmla="*/ 238 w 247"/>
                    <a:gd name="T51" fmla="*/ 235 h 235"/>
                    <a:gd name="T52" fmla="*/ 247 w 247"/>
                    <a:gd name="T53" fmla="*/ 215 h 235"/>
                    <a:gd name="T54" fmla="*/ 205 w 247"/>
                    <a:gd name="T55" fmla="*/ 193 h 235"/>
                    <a:gd name="T56" fmla="*/ 189 w 247"/>
                    <a:gd name="T57" fmla="*/ 84 h 235"/>
                    <a:gd name="T58" fmla="*/ 184 w 247"/>
                    <a:gd name="T59" fmla="*/ 130 h 235"/>
                    <a:gd name="T60" fmla="*/ 218 w 247"/>
                    <a:gd name="T61" fmla="*/ 160 h 235"/>
                    <a:gd name="T62" fmla="*/ 189 w 247"/>
                    <a:gd name="T63" fmla="*/ 84 h 235"/>
                    <a:gd name="T64" fmla="*/ 81 w 247"/>
                    <a:gd name="T65" fmla="*/ 41 h 235"/>
                    <a:gd name="T66" fmla="*/ 138 w 247"/>
                    <a:gd name="T67" fmla="*/ 102 h 235"/>
                    <a:gd name="T68" fmla="*/ 81 w 247"/>
                    <a:gd name="T69" fmla="*/ 41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47" h="235">
                      <a:moveTo>
                        <a:pt x="21" y="14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15" y="32"/>
                        <a:pt x="15" y="32"/>
                        <a:pt x="15" y="32"/>
                      </a:cubicBezTo>
                      <a:lnTo>
                        <a:pt x="21" y="14"/>
                      </a:lnTo>
                      <a:close/>
                      <a:moveTo>
                        <a:pt x="0" y="84"/>
                      </a:moveTo>
                      <a:cubicBezTo>
                        <a:pt x="13" y="89"/>
                        <a:pt x="13" y="89"/>
                        <a:pt x="13" y="89"/>
                      </a:cubicBezTo>
                      <a:cubicBezTo>
                        <a:pt x="22" y="67"/>
                        <a:pt x="22" y="67"/>
                        <a:pt x="22" y="67"/>
                      </a:cubicBezTo>
                      <a:cubicBezTo>
                        <a:pt x="0" y="70"/>
                        <a:pt x="0" y="70"/>
                        <a:pt x="0" y="70"/>
                      </a:cubicBezTo>
                      <a:lnTo>
                        <a:pt x="0" y="84"/>
                      </a:lnTo>
                      <a:close/>
                      <a:moveTo>
                        <a:pt x="51" y="81"/>
                      </a:moveTo>
                      <a:cubicBezTo>
                        <a:pt x="25" y="81"/>
                        <a:pt x="25" y="81"/>
                        <a:pt x="25" y="81"/>
                      </a:cubicBezTo>
                      <a:cubicBezTo>
                        <a:pt x="26" y="97"/>
                        <a:pt x="26" y="97"/>
                        <a:pt x="26" y="97"/>
                      </a:cubicBezTo>
                      <a:cubicBezTo>
                        <a:pt x="53" y="91"/>
                        <a:pt x="53" y="91"/>
                        <a:pt x="53" y="91"/>
                      </a:cubicBezTo>
                      <a:lnTo>
                        <a:pt x="51" y="81"/>
                      </a:lnTo>
                      <a:close/>
                      <a:moveTo>
                        <a:pt x="39" y="126"/>
                      </a:moveTo>
                      <a:cubicBezTo>
                        <a:pt x="64" y="123"/>
                        <a:pt x="64" y="123"/>
                        <a:pt x="64" y="123"/>
                      </a:cubicBezTo>
                      <a:cubicBezTo>
                        <a:pt x="32" y="103"/>
                        <a:pt x="32" y="103"/>
                        <a:pt x="32" y="103"/>
                      </a:cubicBezTo>
                      <a:lnTo>
                        <a:pt x="39" y="126"/>
                      </a:lnTo>
                      <a:close/>
                      <a:moveTo>
                        <a:pt x="163" y="149"/>
                      </a:moveTo>
                      <a:cubicBezTo>
                        <a:pt x="145" y="139"/>
                        <a:pt x="128" y="142"/>
                        <a:pt x="128" y="142"/>
                      </a:cubicBezTo>
                      <a:cubicBezTo>
                        <a:pt x="128" y="142"/>
                        <a:pt x="124" y="161"/>
                        <a:pt x="142" y="169"/>
                      </a:cubicBezTo>
                      <a:cubicBezTo>
                        <a:pt x="168" y="180"/>
                        <a:pt x="183" y="172"/>
                        <a:pt x="183" y="172"/>
                      </a:cubicBezTo>
                      <a:cubicBezTo>
                        <a:pt x="183" y="172"/>
                        <a:pt x="182" y="160"/>
                        <a:pt x="163" y="149"/>
                      </a:cubicBezTo>
                      <a:close/>
                      <a:moveTo>
                        <a:pt x="205" y="193"/>
                      </a:moveTo>
                      <a:cubicBezTo>
                        <a:pt x="238" y="235"/>
                        <a:pt x="238" y="235"/>
                        <a:pt x="238" y="235"/>
                      </a:cubicBezTo>
                      <a:cubicBezTo>
                        <a:pt x="247" y="215"/>
                        <a:pt x="247" y="215"/>
                        <a:pt x="247" y="215"/>
                      </a:cubicBezTo>
                      <a:lnTo>
                        <a:pt x="205" y="193"/>
                      </a:lnTo>
                      <a:close/>
                      <a:moveTo>
                        <a:pt x="189" y="84"/>
                      </a:moveTo>
                      <a:cubicBezTo>
                        <a:pt x="189" y="84"/>
                        <a:pt x="178" y="119"/>
                        <a:pt x="184" y="130"/>
                      </a:cubicBezTo>
                      <a:cubicBezTo>
                        <a:pt x="191" y="140"/>
                        <a:pt x="218" y="160"/>
                        <a:pt x="218" y="160"/>
                      </a:cubicBezTo>
                      <a:lnTo>
                        <a:pt x="189" y="84"/>
                      </a:lnTo>
                      <a:close/>
                      <a:moveTo>
                        <a:pt x="81" y="41"/>
                      </a:moveTo>
                      <a:cubicBezTo>
                        <a:pt x="75" y="51"/>
                        <a:pt x="130" y="104"/>
                        <a:pt x="138" y="102"/>
                      </a:cubicBezTo>
                      <a:cubicBezTo>
                        <a:pt x="154" y="100"/>
                        <a:pt x="86" y="30"/>
                        <a:pt x="81" y="4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1" name="Uzbekistan">
                  <a:extLst>
                    <a:ext uri="{FF2B5EF4-FFF2-40B4-BE49-F238E27FC236}">
                      <a16:creationId xmlns:a16="http://schemas.microsoft.com/office/drawing/2014/main" id="{AC07B60A-FDBC-531B-0B38-25DB46A14FF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75334" y="2715761"/>
                  <a:ext cx="446164" cy="250709"/>
                </a:xfrm>
                <a:custGeom>
                  <a:avLst/>
                  <a:gdLst>
                    <a:gd name="T0" fmla="*/ 764 w 798"/>
                    <a:gd name="T1" fmla="*/ 243 h 447"/>
                    <a:gd name="T2" fmla="*/ 745 w 798"/>
                    <a:gd name="T3" fmla="*/ 230 h 447"/>
                    <a:gd name="T4" fmla="*/ 721 w 798"/>
                    <a:gd name="T5" fmla="*/ 212 h 447"/>
                    <a:gd name="T6" fmla="*/ 712 w 798"/>
                    <a:gd name="T7" fmla="*/ 222 h 447"/>
                    <a:gd name="T8" fmla="*/ 689 w 798"/>
                    <a:gd name="T9" fmla="*/ 229 h 447"/>
                    <a:gd name="T10" fmla="*/ 660 w 798"/>
                    <a:gd name="T11" fmla="*/ 212 h 447"/>
                    <a:gd name="T12" fmla="*/ 690 w 798"/>
                    <a:gd name="T13" fmla="*/ 175 h 447"/>
                    <a:gd name="T14" fmla="*/ 653 w 798"/>
                    <a:gd name="T15" fmla="*/ 185 h 447"/>
                    <a:gd name="T16" fmla="*/ 623 w 798"/>
                    <a:gd name="T17" fmla="*/ 208 h 447"/>
                    <a:gd name="T18" fmla="*/ 596 w 798"/>
                    <a:gd name="T19" fmla="*/ 236 h 447"/>
                    <a:gd name="T20" fmla="*/ 573 w 798"/>
                    <a:gd name="T21" fmla="*/ 259 h 447"/>
                    <a:gd name="T22" fmla="*/ 509 w 798"/>
                    <a:gd name="T23" fmla="*/ 228 h 447"/>
                    <a:gd name="T24" fmla="*/ 469 w 798"/>
                    <a:gd name="T25" fmla="*/ 188 h 447"/>
                    <a:gd name="T26" fmla="*/ 441 w 798"/>
                    <a:gd name="T27" fmla="*/ 136 h 447"/>
                    <a:gd name="T28" fmla="*/ 379 w 798"/>
                    <a:gd name="T29" fmla="*/ 105 h 447"/>
                    <a:gd name="T30" fmla="*/ 272 w 798"/>
                    <a:gd name="T31" fmla="*/ 108 h 447"/>
                    <a:gd name="T32" fmla="*/ 177 w 798"/>
                    <a:gd name="T33" fmla="*/ 38 h 447"/>
                    <a:gd name="T34" fmla="*/ 174 w 798"/>
                    <a:gd name="T35" fmla="*/ 75 h 447"/>
                    <a:gd name="T36" fmla="*/ 149 w 798"/>
                    <a:gd name="T37" fmla="*/ 55 h 447"/>
                    <a:gd name="T38" fmla="*/ 145 w 798"/>
                    <a:gd name="T39" fmla="*/ 23 h 447"/>
                    <a:gd name="T40" fmla="*/ 106 w 798"/>
                    <a:gd name="T41" fmla="*/ 20 h 447"/>
                    <a:gd name="T42" fmla="*/ 116 w 798"/>
                    <a:gd name="T43" fmla="*/ 45 h 447"/>
                    <a:gd name="T44" fmla="*/ 92 w 798"/>
                    <a:gd name="T45" fmla="*/ 37 h 447"/>
                    <a:gd name="T46" fmla="*/ 103 w 798"/>
                    <a:gd name="T47" fmla="*/ 3 h 447"/>
                    <a:gd name="T48" fmla="*/ 0 w 798"/>
                    <a:gd name="T49" fmla="*/ 31 h 447"/>
                    <a:gd name="T50" fmla="*/ 37 w 798"/>
                    <a:gd name="T51" fmla="*/ 217 h 447"/>
                    <a:gd name="T52" fmla="*/ 92 w 798"/>
                    <a:gd name="T53" fmla="*/ 224 h 447"/>
                    <a:gd name="T54" fmla="*/ 112 w 798"/>
                    <a:gd name="T55" fmla="*/ 175 h 447"/>
                    <a:gd name="T56" fmla="*/ 139 w 798"/>
                    <a:gd name="T57" fmla="*/ 169 h 447"/>
                    <a:gd name="T58" fmla="*/ 139 w 798"/>
                    <a:gd name="T59" fmla="*/ 152 h 447"/>
                    <a:gd name="T60" fmla="*/ 155 w 798"/>
                    <a:gd name="T61" fmla="*/ 161 h 447"/>
                    <a:gd name="T62" fmla="*/ 169 w 798"/>
                    <a:gd name="T63" fmla="*/ 168 h 447"/>
                    <a:gd name="T64" fmla="*/ 201 w 798"/>
                    <a:gd name="T65" fmla="*/ 173 h 447"/>
                    <a:gd name="T66" fmla="*/ 219 w 798"/>
                    <a:gd name="T67" fmla="*/ 197 h 447"/>
                    <a:gd name="T68" fmla="*/ 243 w 798"/>
                    <a:gd name="T69" fmla="*/ 227 h 447"/>
                    <a:gd name="T70" fmla="*/ 279 w 798"/>
                    <a:gd name="T71" fmla="*/ 225 h 447"/>
                    <a:gd name="T72" fmla="*/ 312 w 798"/>
                    <a:gd name="T73" fmla="*/ 256 h 447"/>
                    <a:gd name="T74" fmla="*/ 336 w 798"/>
                    <a:gd name="T75" fmla="*/ 293 h 447"/>
                    <a:gd name="T76" fmla="*/ 381 w 798"/>
                    <a:gd name="T77" fmla="*/ 319 h 447"/>
                    <a:gd name="T78" fmla="*/ 417 w 798"/>
                    <a:gd name="T79" fmla="*/ 348 h 447"/>
                    <a:gd name="T80" fmla="*/ 444 w 798"/>
                    <a:gd name="T81" fmla="*/ 357 h 447"/>
                    <a:gd name="T82" fmla="*/ 476 w 798"/>
                    <a:gd name="T83" fmla="*/ 376 h 447"/>
                    <a:gd name="T84" fmla="*/ 516 w 798"/>
                    <a:gd name="T85" fmla="*/ 387 h 447"/>
                    <a:gd name="T86" fmla="*/ 548 w 798"/>
                    <a:gd name="T87" fmla="*/ 425 h 447"/>
                    <a:gd name="T88" fmla="*/ 563 w 798"/>
                    <a:gd name="T89" fmla="*/ 437 h 447"/>
                    <a:gd name="T90" fmla="*/ 580 w 798"/>
                    <a:gd name="T91" fmla="*/ 445 h 447"/>
                    <a:gd name="T92" fmla="*/ 596 w 798"/>
                    <a:gd name="T93" fmla="*/ 440 h 447"/>
                    <a:gd name="T94" fmla="*/ 603 w 798"/>
                    <a:gd name="T95" fmla="*/ 445 h 447"/>
                    <a:gd name="T96" fmla="*/ 622 w 798"/>
                    <a:gd name="T97" fmla="*/ 397 h 447"/>
                    <a:gd name="T98" fmla="*/ 603 w 798"/>
                    <a:gd name="T99" fmla="*/ 353 h 447"/>
                    <a:gd name="T100" fmla="*/ 575 w 798"/>
                    <a:gd name="T101" fmla="*/ 339 h 447"/>
                    <a:gd name="T102" fmla="*/ 567 w 798"/>
                    <a:gd name="T103" fmla="*/ 321 h 447"/>
                    <a:gd name="T104" fmla="*/ 610 w 798"/>
                    <a:gd name="T105" fmla="*/ 305 h 447"/>
                    <a:gd name="T106" fmla="*/ 607 w 798"/>
                    <a:gd name="T107" fmla="*/ 282 h 447"/>
                    <a:gd name="T108" fmla="*/ 626 w 798"/>
                    <a:gd name="T109" fmla="*/ 264 h 447"/>
                    <a:gd name="T110" fmla="*/ 652 w 798"/>
                    <a:gd name="T111" fmla="*/ 260 h 447"/>
                    <a:gd name="T112" fmla="*/ 694 w 798"/>
                    <a:gd name="T113" fmla="*/ 251 h 447"/>
                    <a:gd name="T114" fmla="*/ 701 w 798"/>
                    <a:gd name="T115" fmla="*/ 283 h 447"/>
                    <a:gd name="T116" fmla="*/ 741 w 798"/>
                    <a:gd name="T117" fmla="*/ 286 h 447"/>
                    <a:gd name="T118" fmla="*/ 766 w 798"/>
                    <a:gd name="T119" fmla="*/ 271 h 447"/>
                    <a:gd name="T120" fmla="*/ 788 w 798"/>
                    <a:gd name="T121" fmla="*/ 254 h 4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98" h="447">
                      <a:moveTo>
                        <a:pt x="769" y="248"/>
                      </a:moveTo>
                      <a:cubicBezTo>
                        <a:pt x="764" y="243"/>
                        <a:pt x="764" y="243"/>
                        <a:pt x="764" y="243"/>
                      </a:cubicBezTo>
                      <a:cubicBezTo>
                        <a:pt x="751" y="241"/>
                        <a:pt x="751" y="241"/>
                        <a:pt x="751" y="241"/>
                      </a:cubicBezTo>
                      <a:cubicBezTo>
                        <a:pt x="745" y="230"/>
                        <a:pt x="745" y="230"/>
                        <a:pt x="745" y="230"/>
                      </a:cubicBezTo>
                      <a:cubicBezTo>
                        <a:pt x="732" y="230"/>
                        <a:pt x="732" y="230"/>
                        <a:pt x="732" y="230"/>
                      </a:cubicBezTo>
                      <a:cubicBezTo>
                        <a:pt x="721" y="212"/>
                        <a:pt x="721" y="212"/>
                        <a:pt x="721" y="212"/>
                      </a:cubicBezTo>
                      <a:cubicBezTo>
                        <a:pt x="721" y="222"/>
                        <a:pt x="721" y="222"/>
                        <a:pt x="721" y="222"/>
                      </a:cubicBezTo>
                      <a:cubicBezTo>
                        <a:pt x="712" y="222"/>
                        <a:pt x="712" y="222"/>
                        <a:pt x="712" y="222"/>
                      </a:cubicBezTo>
                      <a:cubicBezTo>
                        <a:pt x="713" y="231"/>
                        <a:pt x="713" y="231"/>
                        <a:pt x="713" y="231"/>
                      </a:cubicBezTo>
                      <a:cubicBezTo>
                        <a:pt x="713" y="231"/>
                        <a:pt x="694" y="233"/>
                        <a:pt x="689" y="229"/>
                      </a:cubicBezTo>
                      <a:cubicBezTo>
                        <a:pt x="684" y="225"/>
                        <a:pt x="683" y="220"/>
                        <a:pt x="683" y="220"/>
                      </a:cubicBezTo>
                      <a:cubicBezTo>
                        <a:pt x="660" y="212"/>
                        <a:pt x="660" y="212"/>
                        <a:pt x="660" y="212"/>
                      </a:cubicBezTo>
                      <a:cubicBezTo>
                        <a:pt x="660" y="212"/>
                        <a:pt x="696" y="183"/>
                        <a:pt x="694" y="178"/>
                      </a:cubicBezTo>
                      <a:cubicBezTo>
                        <a:pt x="693" y="177"/>
                        <a:pt x="692" y="176"/>
                        <a:pt x="690" y="175"/>
                      </a:cubicBezTo>
                      <a:cubicBezTo>
                        <a:pt x="671" y="184"/>
                        <a:pt x="671" y="184"/>
                        <a:pt x="671" y="184"/>
                      </a:cubicBezTo>
                      <a:cubicBezTo>
                        <a:pt x="653" y="185"/>
                        <a:pt x="653" y="185"/>
                        <a:pt x="653" y="185"/>
                      </a:cubicBezTo>
                      <a:cubicBezTo>
                        <a:pt x="645" y="203"/>
                        <a:pt x="645" y="203"/>
                        <a:pt x="645" y="203"/>
                      </a:cubicBezTo>
                      <a:cubicBezTo>
                        <a:pt x="645" y="203"/>
                        <a:pt x="633" y="205"/>
                        <a:pt x="623" y="208"/>
                      </a:cubicBezTo>
                      <a:cubicBezTo>
                        <a:pt x="612" y="211"/>
                        <a:pt x="613" y="229"/>
                        <a:pt x="613" y="229"/>
                      </a:cubicBezTo>
                      <a:cubicBezTo>
                        <a:pt x="613" y="229"/>
                        <a:pt x="605" y="229"/>
                        <a:pt x="596" y="236"/>
                      </a:cubicBezTo>
                      <a:cubicBezTo>
                        <a:pt x="587" y="243"/>
                        <a:pt x="595" y="267"/>
                        <a:pt x="595" y="267"/>
                      </a:cubicBezTo>
                      <a:cubicBezTo>
                        <a:pt x="595" y="267"/>
                        <a:pt x="584" y="261"/>
                        <a:pt x="573" y="259"/>
                      </a:cubicBezTo>
                      <a:cubicBezTo>
                        <a:pt x="563" y="256"/>
                        <a:pt x="580" y="243"/>
                        <a:pt x="573" y="233"/>
                      </a:cubicBezTo>
                      <a:cubicBezTo>
                        <a:pt x="567" y="224"/>
                        <a:pt x="520" y="233"/>
                        <a:pt x="509" y="228"/>
                      </a:cubicBezTo>
                      <a:cubicBezTo>
                        <a:pt x="499" y="223"/>
                        <a:pt x="497" y="199"/>
                        <a:pt x="488" y="188"/>
                      </a:cubicBezTo>
                      <a:cubicBezTo>
                        <a:pt x="479" y="177"/>
                        <a:pt x="479" y="191"/>
                        <a:pt x="469" y="188"/>
                      </a:cubicBezTo>
                      <a:cubicBezTo>
                        <a:pt x="460" y="185"/>
                        <a:pt x="467" y="137"/>
                        <a:pt x="461" y="136"/>
                      </a:cubicBezTo>
                      <a:cubicBezTo>
                        <a:pt x="456" y="135"/>
                        <a:pt x="441" y="136"/>
                        <a:pt x="441" y="136"/>
                      </a:cubicBezTo>
                      <a:cubicBezTo>
                        <a:pt x="441" y="136"/>
                        <a:pt x="411" y="93"/>
                        <a:pt x="404" y="93"/>
                      </a:cubicBezTo>
                      <a:cubicBezTo>
                        <a:pt x="397" y="93"/>
                        <a:pt x="379" y="105"/>
                        <a:pt x="379" y="105"/>
                      </a:cubicBezTo>
                      <a:cubicBezTo>
                        <a:pt x="379" y="105"/>
                        <a:pt x="341" y="101"/>
                        <a:pt x="325" y="101"/>
                      </a:cubicBezTo>
                      <a:cubicBezTo>
                        <a:pt x="309" y="101"/>
                        <a:pt x="272" y="108"/>
                        <a:pt x="272" y="108"/>
                      </a:cubicBezTo>
                      <a:cubicBezTo>
                        <a:pt x="223" y="60"/>
                        <a:pt x="223" y="60"/>
                        <a:pt x="223" y="60"/>
                      </a:cubicBezTo>
                      <a:cubicBezTo>
                        <a:pt x="177" y="38"/>
                        <a:pt x="177" y="38"/>
                        <a:pt x="177" y="38"/>
                      </a:cubicBezTo>
                      <a:cubicBezTo>
                        <a:pt x="181" y="47"/>
                        <a:pt x="186" y="56"/>
                        <a:pt x="183" y="61"/>
                      </a:cubicBezTo>
                      <a:cubicBezTo>
                        <a:pt x="178" y="70"/>
                        <a:pt x="174" y="75"/>
                        <a:pt x="174" y="75"/>
                      </a:cubicBezTo>
                      <a:cubicBezTo>
                        <a:pt x="174" y="75"/>
                        <a:pt x="162" y="76"/>
                        <a:pt x="154" y="70"/>
                      </a:cubicBezTo>
                      <a:cubicBezTo>
                        <a:pt x="146" y="64"/>
                        <a:pt x="149" y="55"/>
                        <a:pt x="149" y="55"/>
                      </a:cubicBezTo>
                      <a:cubicBezTo>
                        <a:pt x="142" y="36"/>
                        <a:pt x="142" y="36"/>
                        <a:pt x="142" y="36"/>
                      </a:cubicBezTo>
                      <a:cubicBezTo>
                        <a:pt x="145" y="23"/>
                        <a:pt x="145" y="23"/>
                        <a:pt x="145" y="23"/>
                      </a:cubicBezTo>
                      <a:cubicBezTo>
                        <a:pt x="112" y="7"/>
                        <a:pt x="112" y="7"/>
                        <a:pt x="112" y="7"/>
                      </a:cubicBezTo>
                      <a:cubicBezTo>
                        <a:pt x="106" y="20"/>
                        <a:pt x="106" y="20"/>
                        <a:pt x="106" y="20"/>
                      </a:cubicBezTo>
                      <a:cubicBezTo>
                        <a:pt x="106" y="20"/>
                        <a:pt x="119" y="28"/>
                        <a:pt x="119" y="37"/>
                      </a:cubicBezTo>
                      <a:cubicBezTo>
                        <a:pt x="119" y="46"/>
                        <a:pt x="116" y="45"/>
                        <a:pt x="116" y="45"/>
                      </a:cubicBezTo>
                      <a:cubicBezTo>
                        <a:pt x="116" y="45"/>
                        <a:pt x="117" y="55"/>
                        <a:pt x="106" y="57"/>
                      </a:cubicBezTo>
                      <a:cubicBezTo>
                        <a:pt x="95" y="59"/>
                        <a:pt x="98" y="39"/>
                        <a:pt x="92" y="37"/>
                      </a:cubicBezTo>
                      <a:cubicBezTo>
                        <a:pt x="86" y="35"/>
                        <a:pt x="99" y="21"/>
                        <a:pt x="99" y="21"/>
                      </a:cubicBezTo>
                      <a:cubicBezTo>
                        <a:pt x="103" y="3"/>
                        <a:pt x="103" y="3"/>
                        <a:pt x="103" y="3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35" y="218"/>
                        <a:pt x="35" y="218"/>
                        <a:pt x="35" y="218"/>
                      </a:cubicBezTo>
                      <a:cubicBezTo>
                        <a:pt x="36" y="218"/>
                        <a:pt x="36" y="217"/>
                        <a:pt x="37" y="217"/>
                      </a:cubicBezTo>
                      <a:cubicBezTo>
                        <a:pt x="44" y="217"/>
                        <a:pt x="48" y="224"/>
                        <a:pt x="48" y="224"/>
                      </a:cubicBezTo>
                      <a:cubicBezTo>
                        <a:pt x="92" y="224"/>
                        <a:pt x="92" y="224"/>
                        <a:pt x="92" y="224"/>
                      </a:cubicBezTo>
                      <a:cubicBezTo>
                        <a:pt x="92" y="224"/>
                        <a:pt x="77" y="208"/>
                        <a:pt x="79" y="195"/>
                      </a:cubicBezTo>
                      <a:cubicBezTo>
                        <a:pt x="80" y="181"/>
                        <a:pt x="112" y="175"/>
                        <a:pt x="112" y="175"/>
                      </a:cubicBezTo>
                      <a:cubicBezTo>
                        <a:pt x="112" y="175"/>
                        <a:pt x="112" y="164"/>
                        <a:pt x="116" y="163"/>
                      </a:cubicBezTo>
                      <a:cubicBezTo>
                        <a:pt x="120" y="161"/>
                        <a:pt x="139" y="169"/>
                        <a:pt x="139" y="169"/>
                      </a:cubicBezTo>
                      <a:cubicBezTo>
                        <a:pt x="119" y="151"/>
                        <a:pt x="119" y="151"/>
                        <a:pt x="119" y="151"/>
                      </a:cubicBezTo>
                      <a:cubicBezTo>
                        <a:pt x="139" y="152"/>
                        <a:pt x="139" y="152"/>
                        <a:pt x="139" y="152"/>
                      </a:cubicBezTo>
                      <a:cubicBezTo>
                        <a:pt x="143" y="145"/>
                        <a:pt x="143" y="145"/>
                        <a:pt x="143" y="145"/>
                      </a:cubicBezTo>
                      <a:cubicBezTo>
                        <a:pt x="155" y="161"/>
                        <a:pt x="155" y="161"/>
                        <a:pt x="155" y="161"/>
                      </a:cubicBezTo>
                      <a:cubicBezTo>
                        <a:pt x="171" y="160"/>
                        <a:pt x="171" y="160"/>
                        <a:pt x="171" y="160"/>
                      </a:cubicBezTo>
                      <a:cubicBezTo>
                        <a:pt x="169" y="168"/>
                        <a:pt x="169" y="168"/>
                        <a:pt x="169" y="168"/>
                      </a:cubicBezTo>
                      <a:cubicBezTo>
                        <a:pt x="179" y="172"/>
                        <a:pt x="179" y="172"/>
                        <a:pt x="179" y="172"/>
                      </a:cubicBezTo>
                      <a:cubicBezTo>
                        <a:pt x="179" y="172"/>
                        <a:pt x="192" y="169"/>
                        <a:pt x="201" y="173"/>
                      </a:cubicBezTo>
                      <a:cubicBezTo>
                        <a:pt x="211" y="177"/>
                        <a:pt x="209" y="192"/>
                        <a:pt x="209" y="192"/>
                      </a:cubicBezTo>
                      <a:cubicBezTo>
                        <a:pt x="219" y="197"/>
                        <a:pt x="219" y="197"/>
                        <a:pt x="219" y="197"/>
                      </a:cubicBezTo>
                      <a:cubicBezTo>
                        <a:pt x="219" y="197"/>
                        <a:pt x="207" y="209"/>
                        <a:pt x="212" y="219"/>
                      </a:cubicBezTo>
                      <a:cubicBezTo>
                        <a:pt x="217" y="228"/>
                        <a:pt x="243" y="227"/>
                        <a:pt x="243" y="227"/>
                      </a:cubicBezTo>
                      <a:cubicBezTo>
                        <a:pt x="279" y="231"/>
                        <a:pt x="279" y="231"/>
                        <a:pt x="279" y="231"/>
                      </a:cubicBezTo>
                      <a:cubicBezTo>
                        <a:pt x="279" y="225"/>
                        <a:pt x="279" y="225"/>
                        <a:pt x="279" y="225"/>
                      </a:cubicBezTo>
                      <a:cubicBezTo>
                        <a:pt x="303" y="237"/>
                        <a:pt x="303" y="237"/>
                        <a:pt x="303" y="237"/>
                      </a:cubicBezTo>
                      <a:cubicBezTo>
                        <a:pt x="312" y="256"/>
                        <a:pt x="312" y="256"/>
                        <a:pt x="312" y="256"/>
                      </a:cubicBezTo>
                      <a:cubicBezTo>
                        <a:pt x="325" y="271"/>
                        <a:pt x="325" y="271"/>
                        <a:pt x="325" y="271"/>
                      </a:cubicBezTo>
                      <a:cubicBezTo>
                        <a:pt x="325" y="271"/>
                        <a:pt x="333" y="283"/>
                        <a:pt x="336" y="293"/>
                      </a:cubicBezTo>
                      <a:cubicBezTo>
                        <a:pt x="339" y="304"/>
                        <a:pt x="351" y="309"/>
                        <a:pt x="357" y="312"/>
                      </a:cubicBezTo>
                      <a:cubicBezTo>
                        <a:pt x="364" y="315"/>
                        <a:pt x="377" y="317"/>
                        <a:pt x="381" y="319"/>
                      </a:cubicBezTo>
                      <a:cubicBezTo>
                        <a:pt x="385" y="320"/>
                        <a:pt x="397" y="336"/>
                        <a:pt x="397" y="336"/>
                      </a:cubicBezTo>
                      <a:cubicBezTo>
                        <a:pt x="417" y="348"/>
                        <a:pt x="417" y="348"/>
                        <a:pt x="417" y="348"/>
                      </a:cubicBezTo>
                      <a:cubicBezTo>
                        <a:pt x="435" y="349"/>
                        <a:pt x="435" y="349"/>
                        <a:pt x="435" y="349"/>
                      </a:cubicBezTo>
                      <a:cubicBezTo>
                        <a:pt x="444" y="357"/>
                        <a:pt x="444" y="357"/>
                        <a:pt x="444" y="357"/>
                      </a:cubicBezTo>
                      <a:cubicBezTo>
                        <a:pt x="455" y="360"/>
                        <a:pt x="455" y="360"/>
                        <a:pt x="455" y="360"/>
                      </a:cubicBezTo>
                      <a:cubicBezTo>
                        <a:pt x="455" y="360"/>
                        <a:pt x="469" y="371"/>
                        <a:pt x="476" y="376"/>
                      </a:cubicBezTo>
                      <a:cubicBezTo>
                        <a:pt x="483" y="381"/>
                        <a:pt x="501" y="389"/>
                        <a:pt x="501" y="389"/>
                      </a:cubicBezTo>
                      <a:cubicBezTo>
                        <a:pt x="516" y="387"/>
                        <a:pt x="516" y="387"/>
                        <a:pt x="516" y="387"/>
                      </a:cubicBezTo>
                      <a:cubicBezTo>
                        <a:pt x="549" y="405"/>
                        <a:pt x="549" y="405"/>
                        <a:pt x="549" y="405"/>
                      </a:cubicBezTo>
                      <a:cubicBezTo>
                        <a:pt x="549" y="405"/>
                        <a:pt x="537" y="417"/>
                        <a:pt x="548" y="425"/>
                      </a:cubicBezTo>
                      <a:cubicBezTo>
                        <a:pt x="554" y="430"/>
                        <a:pt x="555" y="434"/>
                        <a:pt x="555" y="437"/>
                      </a:cubicBezTo>
                      <a:cubicBezTo>
                        <a:pt x="563" y="437"/>
                        <a:pt x="563" y="437"/>
                        <a:pt x="563" y="437"/>
                      </a:cubicBezTo>
                      <a:cubicBezTo>
                        <a:pt x="571" y="431"/>
                        <a:pt x="571" y="431"/>
                        <a:pt x="571" y="431"/>
                      </a:cubicBezTo>
                      <a:cubicBezTo>
                        <a:pt x="580" y="445"/>
                        <a:pt x="580" y="445"/>
                        <a:pt x="580" y="445"/>
                      </a:cubicBezTo>
                      <a:cubicBezTo>
                        <a:pt x="591" y="440"/>
                        <a:pt x="591" y="440"/>
                        <a:pt x="591" y="440"/>
                      </a:cubicBezTo>
                      <a:cubicBezTo>
                        <a:pt x="596" y="440"/>
                        <a:pt x="596" y="440"/>
                        <a:pt x="596" y="440"/>
                      </a:cubicBezTo>
                      <a:cubicBezTo>
                        <a:pt x="596" y="440"/>
                        <a:pt x="600" y="443"/>
                        <a:pt x="605" y="447"/>
                      </a:cubicBezTo>
                      <a:cubicBezTo>
                        <a:pt x="604" y="446"/>
                        <a:pt x="603" y="446"/>
                        <a:pt x="603" y="445"/>
                      </a:cubicBezTo>
                      <a:cubicBezTo>
                        <a:pt x="602" y="439"/>
                        <a:pt x="601" y="430"/>
                        <a:pt x="605" y="426"/>
                      </a:cubicBezTo>
                      <a:cubicBezTo>
                        <a:pt x="612" y="418"/>
                        <a:pt x="622" y="408"/>
                        <a:pt x="622" y="397"/>
                      </a:cubicBezTo>
                      <a:cubicBezTo>
                        <a:pt x="622" y="386"/>
                        <a:pt x="609" y="387"/>
                        <a:pt x="603" y="377"/>
                      </a:cubicBezTo>
                      <a:cubicBezTo>
                        <a:pt x="597" y="367"/>
                        <a:pt x="608" y="358"/>
                        <a:pt x="603" y="353"/>
                      </a:cubicBezTo>
                      <a:cubicBezTo>
                        <a:pt x="598" y="348"/>
                        <a:pt x="582" y="347"/>
                        <a:pt x="582" y="347"/>
                      </a:cubicBezTo>
                      <a:cubicBezTo>
                        <a:pt x="575" y="339"/>
                        <a:pt x="575" y="339"/>
                        <a:pt x="575" y="339"/>
                      </a:cubicBezTo>
                      <a:cubicBezTo>
                        <a:pt x="561" y="336"/>
                        <a:pt x="561" y="336"/>
                        <a:pt x="561" y="336"/>
                      </a:cubicBezTo>
                      <a:cubicBezTo>
                        <a:pt x="561" y="336"/>
                        <a:pt x="561" y="326"/>
                        <a:pt x="567" y="321"/>
                      </a:cubicBezTo>
                      <a:cubicBezTo>
                        <a:pt x="573" y="316"/>
                        <a:pt x="592" y="328"/>
                        <a:pt x="607" y="319"/>
                      </a:cubicBezTo>
                      <a:cubicBezTo>
                        <a:pt x="622" y="310"/>
                        <a:pt x="610" y="305"/>
                        <a:pt x="610" y="305"/>
                      </a:cubicBezTo>
                      <a:cubicBezTo>
                        <a:pt x="620" y="296"/>
                        <a:pt x="620" y="296"/>
                        <a:pt x="620" y="296"/>
                      </a:cubicBezTo>
                      <a:cubicBezTo>
                        <a:pt x="607" y="282"/>
                        <a:pt x="607" y="282"/>
                        <a:pt x="607" y="282"/>
                      </a:cubicBezTo>
                      <a:cubicBezTo>
                        <a:pt x="607" y="282"/>
                        <a:pt x="626" y="287"/>
                        <a:pt x="632" y="281"/>
                      </a:cubicBezTo>
                      <a:cubicBezTo>
                        <a:pt x="638" y="275"/>
                        <a:pt x="625" y="268"/>
                        <a:pt x="626" y="264"/>
                      </a:cubicBezTo>
                      <a:cubicBezTo>
                        <a:pt x="627" y="260"/>
                        <a:pt x="629" y="251"/>
                        <a:pt x="635" y="251"/>
                      </a:cubicBezTo>
                      <a:cubicBezTo>
                        <a:pt x="641" y="251"/>
                        <a:pt x="644" y="265"/>
                        <a:pt x="652" y="260"/>
                      </a:cubicBezTo>
                      <a:cubicBezTo>
                        <a:pt x="660" y="255"/>
                        <a:pt x="671" y="243"/>
                        <a:pt x="675" y="241"/>
                      </a:cubicBezTo>
                      <a:cubicBezTo>
                        <a:pt x="679" y="239"/>
                        <a:pt x="694" y="251"/>
                        <a:pt x="694" y="251"/>
                      </a:cubicBezTo>
                      <a:cubicBezTo>
                        <a:pt x="678" y="272"/>
                        <a:pt x="678" y="272"/>
                        <a:pt x="678" y="272"/>
                      </a:cubicBezTo>
                      <a:cubicBezTo>
                        <a:pt x="678" y="272"/>
                        <a:pt x="698" y="278"/>
                        <a:pt x="701" y="283"/>
                      </a:cubicBezTo>
                      <a:cubicBezTo>
                        <a:pt x="708" y="280"/>
                        <a:pt x="717" y="277"/>
                        <a:pt x="721" y="276"/>
                      </a:cubicBezTo>
                      <a:cubicBezTo>
                        <a:pt x="728" y="274"/>
                        <a:pt x="732" y="290"/>
                        <a:pt x="741" y="286"/>
                      </a:cubicBezTo>
                      <a:cubicBezTo>
                        <a:pt x="750" y="282"/>
                        <a:pt x="752" y="273"/>
                        <a:pt x="752" y="273"/>
                      </a:cubicBezTo>
                      <a:cubicBezTo>
                        <a:pt x="766" y="271"/>
                        <a:pt x="766" y="271"/>
                        <a:pt x="766" y="271"/>
                      </a:cubicBezTo>
                      <a:cubicBezTo>
                        <a:pt x="766" y="265"/>
                        <a:pt x="766" y="265"/>
                        <a:pt x="766" y="265"/>
                      </a:cubicBezTo>
                      <a:cubicBezTo>
                        <a:pt x="766" y="265"/>
                        <a:pt x="778" y="266"/>
                        <a:pt x="788" y="254"/>
                      </a:cubicBezTo>
                      <a:cubicBezTo>
                        <a:pt x="798" y="242"/>
                        <a:pt x="769" y="248"/>
                        <a:pt x="769" y="248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2" name="United Arab Emirates">
                  <a:extLst>
                    <a:ext uri="{FF2B5EF4-FFF2-40B4-BE49-F238E27FC236}">
                      <a16:creationId xmlns:a16="http://schemas.microsoft.com/office/drawing/2014/main" id="{3F7DB482-E13E-9D8F-E5D5-D8FFA7B4B5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56281" y="3283822"/>
                  <a:ext cx="125434" cy="119008"/>
                </a:xfrm>
                <a:custGeom>
                  <a:avLst/>
                  <a:gdLst>
                    <a:gd name="T0" fmla="*/ 198 w 224"/>
                    <a:gd name="T1" fmla="*/ 84 h 215"/>
                    <a:gd name="T2" fmla="*/ 208 w 224"/>
                    <a:gd name="T3" fmla="*/ 97 h 215"/>
                    <a:gd name="T4" fmla="*/ 224 w 224"/>
                    <a:gd name="T5" fmla="*/ 91 h 215"/>
                    <a:gd name="T6" fmla="*/ 214 w 224"/>
                    <a:gd name="T7" fmla="*/ 51 h 215"/>
                    <a:gd name="T8" fmla="*/ 215 w 224"/>
                    <a:gd name="T9" fmla="*/ 3 h 215"/>
                    <a:gd name="T10" fmla="*/ 186 w 224"/>
                    <a:gd name="T11" fmla="*/ 51 h 215"/>
                    <a:gd name="T12" fmla="*/ 166 w 224"/>
                    <a:gd name="T13" fmla="*/ 61 h 215"/>
                    <a:gd name="T14" fmla="*/ 131 w 224"/>
                    <a:gd name="T15" fmla="*/ 102 h 215"/>
                    <a:gd name="T16" fmla="*/ 122 w 224"/>
                    <a:gd name="T17" fmla="*/ 131 h 215"/>
                    <a:gd name="T18" fmla="*/ 62 w 224"/>
                    <a:gd name="T19" fmla="*/ 127 h 215"/>
                    <a:gd name="T20" fmla="*/ 16 w 224"/>
                    <a:gd name="T21" fmla="*/ 140 h 215"/>
                    <a:gd name="T22" fmla="*/ 1 w 224"/>
                    <a:gd name="T23" fmla="*/ 127 h 215"/>
                    <a:gd name="T24" fmla="*/ 5 w 224"/>
                    <a:gd name="T25" fmla="*/ 145 h 215"/>
                    <a:gd name="T26" fmla="*/ 52 w 224"/>
                    <a:gd name="T27" fmla="*/ 200 h 215"/>
                    <a:gd name="T28" fmla="*/ 177 w 224"/>
                    <a:gd name="T29" fmla="*/ 215 h 215"/>
                    <a:gd name="T30" fmla="*/ 168 w 224"/>
                    <a:gd name="T31" fmla="*/ 192 h 215"/>
                    <a:gd name="T32" fmla="*/ 181 w 224"/>
                    <a:gd name="T33" fmla="*/ 163 h 215"/>
                    <a:gd name="T34" fmla="*/ 189 w 224"/>
                    <a:gd name="T35" fmla="*/ 136 h 215"/>
                    <a:gd name="T36" fmla="*/ 201 w 224"/>
                    <a:gd name="T37" fmla="*/ 135 h 215"/>
                    <a:gd name="T38" fmla="*/ 191 w 224"/>
                    <a:gd name="T39" fmla="*/ 118 h 215"/>
                    <a:gd name="T40" fmla="*/ 198 w 224"/>
                    <a:gd name="T41" fmla="*/ 84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24" h="215">
                      <a:moveTo>
                        <a:pt x="198" y="84"/>
                      </a:moveTo>
                      <a:cubicBezTo>
                        <a:pt x="202" y="84"/>
                        <a:pt x="208" y="97"/>
                        <a:pt x="208" y="97"/>
                      </a:cubicBezTo>
                      <a:cubicBezTo>
                        <a:pt x="224" y="91"/>
                        <a:pt x="224" y="91"/>
                        <a:pt x="224" y="91"/>
                      </a:cubicBezTo>
                      <a:cubicBezTo>
                        <a:pt x="219" y="78"/>
                        <a:pt x="212" y="63"/>
                        <a:pt x="214" y="51"/>
                      </a:cubicBezTo>
                      <a:cubicBezTo>
                        <a:pt x="217" y="34"/>
                        <a:pt x="222" y="6"/>
                        <a:pt x="215" y="3"/>
                      </a:cubicBezTo>
                      <a:cubicBezTo>
                        <a:pt x="207" y="0"/>
                        <a:pt x="186" y="51"/>
                        <a:pt x="186" y="51"/>
                      </a:cubicBezTo>
                      <a:cubicBezTo>
                        <a:pt x="186" y="51"/>
                        <a:pt x="172" y="53"/>
                        <a:pt x="166" y="61"/>
                      </a:cubicBezTo>
                      <a:cubicBezTo>
                        <a:pt x="161" y="70"/>
                        <a:pt x="131" y="102"/>
                        <a:pt x="131" y="102"/>
                      </a:cubicBezTo>
                      <a:cubicBezTo>
                        <a:pt x="131" y="102"/>
                        <a:pt x="131" y="130"/>
                        <a:pt x="122" y="131"/>
                      </a:cubicBezTo>
                      <a:cubicBezTo>
                        <a:pt x="113" y="132"/>
                        <a:pt x="69" y="127"/>
                        <a:pt x="62" y="127"/>
                      </a:cubicBezTo>
                      <a:cubicBezTo>
                        <a:pt x="56" y="127"/>
                        <a:pt x="25" y="144"/>
                        <a:pt x="16" y="140"/>
                      </a:cubicBezTo>
                      <a:cubicBezTo>
                        <a:pt x="11" y="138"/>
                        <a:pt x="5" y="132"/>
                        <a:pt x="1" y="127"/>
                      </a:cubicBezTo>
                      <a:cubicBezTo>
                        <a:pt x="0" y="132"/>
                        <a:pt x="0" y="140"/>
                        <a:pt x="5" y="145"/>
                      </a:cubicBezTo>
                      <a:cubicBezTo>
                        <a:pt x="12" y="152"/>
                        <a:pt x="49" y="200"/>
                        <a:pt x="52" y="200"/>
                      </a:cubicBezTo>
                      <a:cubicBezTo>
                        <a:pt x="54" y="200"/>
                        <a:pt x="143" y="211"/>
                        <a:pt x="177" y="215"/>
                      </a:cubicBezTo>
                      <a:cubicBezTo>
                        <a:pt x="173" y="207"/>
                        <a:pt x="168" y="196"/>
                        <a:pt x="168" y="192"/>
                      </a:cubicBezTo>
                      <a:cubicBezTo>
                        <a:pt x="168" y="186"/>
                        <a:pt x="181" y="163"/>
                        <a:pt x="181" y="163"/>
                      </a:cubicBezTo>
                      <a:cubicBezTo>
                        <a:pt x="181" y="163"/>
                        <a:pt x="187" y="143"/>
                        <a:pt x="189" y="136"/>
                      </a:cubicBezTo>
                      <a:cubicBezTo>
                        <a:pt x="191" y="129"/>
                        <a:pt x="197" y="137"/>
                        <a:pt x="201" y="135"/>
                      </a:cubicBezTo>
                      <a:cubicBezTo>
                        <a:pt x="205" y="133"/>
                        <a:pt x="195" y="122"/>
                        <a:pt x="191" y="118"/>
                      </a:cubicBezTo>
                      <a:cubicBezTo>
                        <a:pt x="187" y="114"/>
                        <a:pt x="194" y="84"/>
                        <a:pt x="198" y="8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3" name="Turkmenistan">
                  <a:extLst>
                    <a:ext uri="{FF2B5EF4-FFF2-40B4-BE49-F238E27FC236}">
                      <a16:creationId xmlns:a16="http://schemas.microsoft.com/office/drawing/2014/main" id="{A66F5A24-C013-9B2C-1D27-276403E0AA9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08648" y="2796685"/>
                  <a:ext cx="377891" cy="226908"/>
                </a:xfrm>
                <a:custGeom>
                  <a:avLst/>
                  <a:gdLst>
                    <a:gd name="T0" fmla="*/ 24 w 674"/>
                    <a:gd name="T1" fmla="*/ 120 h 406"/>
                    <a:gd name="T2" fmla="*/ 60 w 674"/>
                    <a:gd name="T3" fmla="*/ 148 h 406"/>
                    <a:gd name="T4" fmla="*/ 75 w 674"/>
                    <a:gd name="T5" fmla="*/ 172 h 406"/>
                    <a:gd name="T6" fmla="*/ 71 w 674"/>
                    <a:gd name="T7" fmla="*/ 187 h 406"/>
                    <a:gd name="T8" fmla="*/ 94 w 674"/>
                    <a:gd name="T9" fmla="*/ 238 h 406"/>
                    <a:gd name="T10" fmla="*/ 96 w 674"/>
                    <a:gd name="T11" fmla="*/ 262 h 406"/>
                    <a:gd name="T12" fmla="*/ 126 w 674"/>
                    <a:gd name="T13" fmla="*/ 291 h 406"/>
                    <a:gd name="T14" fmla="*/ 141 w 674"/>
                    <a:gd name="T15" fmla="*/ 273 h 406"/>
                    <a:gd name="T16" fmla="*/ 205 w 674"/>
                    <a:gd name="T17" fmla="*/ 251 h 406"/>
                    <a:gd name="T18" fmla="*/ 234 w 674"/>
                    <a:gd name="T19" fmla="*/ 244 h 406"/>
                    <a:gd name="T20" fmla="*/ 256 w 674"/>
                    <a:gd name="T21" fmla="*/ 261 h 406"/>
                    <a:gd name="T22" fmla="*/ 299 w 674"/>
                    <a:gd name="T23" fmla="*/ 278 h 406"/>
                    <a:gd name="T24" fmla="*/ 345 w 674"/>
                    <a:gd name="T25" fmla="*/ 279 h 406"/>
                    <a:gd name="T26" fmla="*/ 377 w 674"/>
                    <a:gd name="T27" fmla="*/ 307 h 406"/>
                    <a:gd name="T28" fmla="*/ 439 w 674"/>
                    <a:gd name="T29" fmla="*/ 325 h 406"/>
                    <a:gd name="T30" fmla="*/ 447 w 674"/>
                    <a:gd name="T31" fmla="*/ 350 h 406"/>
                    <a:gd name="T32" fmla="*/ 453 w 674"/>
                    <a:gd name="T33" fmla="*/ 383 h 406"/>
                    <a:gd name="T34" fmla="*/ 484 w 674"/>
                    <a:gd name="T35" fmla="*/ 390 h 406"/>
                    <a:gd name="T36" fmla="*/ 530 w 674"/>
                    <a:gd name="T37" fmla="*/ 396 h 406"/>
                    <a:gd name="T38" fmla="*/ 560 w 674"/>
                    <a:gd name="T39" fmla="*/ 365 h 406"/>
                    <a:gd name="T40" fmla="*/ 589 w 674"/>
                    <a:gd name="T41" fmla="*/ 345 h 406"/>
                    <a:gd name="T42" fmla="*/ 623 w 674"/>
                    <a:gd name="T43" fmla="*/ 296 h 406"/>
                    <a:gd name="T44" fmla="*/ 652 w 674"/>
                    <a:gd name="T45" fmla="*/ 292 h 406"/>
                    <a:gd name="T46" fmla="*/ 667 w 674"/>
                    <a:gd name="T47" fmla="*/ 280 h 406"/>
                    <a:gd name="T48" fmla="*/ 635 w 674"/>
                    <a:gd name="T49" fmla="*/ 242 h 406"/>
                    <a:gd name="T50" fmla="*/ 595 w 674"/>
                    <a:gd name="T51" fmla="*/ 231 h 406"/>
                    <a:gd name="T52" fmla="*/ 563 w 674"/>
                    <a:gd name="T53" fmla="*/ 212 h 406"/>
                    <a:gd name="T54" fmla="*/ 536 w 674"/>
                    <a:gd name="T55" fmla="*/ 203 h 406"/>
                    <a:gd name="T56" fmla="*/ 500 w 674"/>
                    <a:gd name="T57" fmla="*/ 174 h 406"/>
                    <a:gd name="T58" fmla="*/ 455 w 674"/>
                    <a:gd name="T59" fmla="*/ 148 h 406"/>
                    <a:gd name="T60" fmla="*/ 431 w 674"/>
                    <a:gd name="T61" fmla="*/ 111 h 406"/>
                    <a:gd name="T62" fmla="*/ 398 w 674"/>
                    <a:gd name="T63" fmla="*/ 80 h 406"/>
                    <a:gd name="T64" fmla="*/ 362 w 674"/>
                    <a:gd name="T65" fmla="*/ 82 h 406"/>
                    <a:gd name="T66" fmla="*/ 338 w 674"/>
                    <a:gd name="T67" fmla="*/ 52 h 406"/>
                    <a:gd name="T68" fmla="*/ 320 w 674"/>
                    <a:gd name="T69" fmla="*/ 28 h 406"/>
                    <a:gd name="T70" fmla="*/ 288 w 674"/>
                    <a:gd name="T71" fmla="*/ 23 h 406"/>
                    <a:gd name="T72" fmla="*/ 274 w 674"/>
                    <a:gd name="T73" fmla="*/ 16 h 406"/>
                    <a:gd name="T74" fmla="*/ 258 w 674"/>
                    <a:gd name="T75" fmla="*/ 7 h 406"/>
                    <a:gd name="T76" fmla="*/ 258 w 674"/>
                    <a:gd name="T77" fmla="*/ 24 h 406"/>
                    <a:gd name="T78" fmla="*/ 231 w 674"/>
                    <a:gd name="T79" fmla="*/ 30 h 406"/>
                    <a:gd name="T80" fmla="*/ 211 w 674"/>
                    <a:gd name="T81" fmla="*/ 79 h 406"/>
                    <a:gd name="T82" fmla="*/ 156 w 674"/>
                    <a:gd name="T83" fmla="*/ 72 h 406"/>
                    <a:gd name="T84" fmla="*/ 112 w 674"/>
                    <a:gd name="T85" fmla="*/ 51 h 406"/>
                    <a:gd name="T86" fmla="*/ 51 w 674"/>
                    <a:gd name="T87" fmla="*/ 22 h 406"/>
                    <a:gd name="T88" fmla="*/ 60 w 674"/>
                    <a:gd name="T89" fmla="*/ 42 h 406"/>
                    <a:gd name="T90" fmla="*/ 110 w 674"/>
                    <a:gd name="T91" fmla="*/ 90 h 406"/>
                    <a:gd name="T92" fmla="*/ 82 w 674"/>
                    <a:gd name="T93" fmla="*/ 94 h 406"/>
                    <a:gd name="T94" fmla="*/ 52 w 674"/>
                    <a:gd name="T95" fmla="*/ 108 h 406"/>
                    <a:gd name="T96" fmla="*/ 40 w 674"/>
                    <a:gd name="T97" fmla="*/ 100 h 406"/>
                    <a:gd name="T98" fmla="*/ 19 w 674"/>
                    <a:gd name="T99" fmla="*/ 55 h 406"/>
                    <a:gd name="T100" fmla="*/ 14 w 674"/>
                    <a:gd name="T101" fmla="*/ 72 h 4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74" h="406">
                      <a:moveTo>
                        <a:pt x="34" y="100"/>
                      </a:moveTo>
                      <a:cubicBezTo>
                        <a:pt x="34" y="104"/>
                        <a:pt x="24" y="115"/>
                        <a:pt x="24" y="120"/>
                      </a:cubicBezTo>
                      <a:cubicBezTo>
                        <a:pt x="24" y="126"/>
                        <a:pt x="40" y="151"/>
                        <a:pt x="40" y="151"/>
                      </a:cubicBezTo>
                      <a:cubicBezTo>
                        <a:pt x="60" y="148"/>
                        <a:pt x="60" y="148"/>
                        <a:pt x="60" y="148"/>
                      </a:cubicBezTo>
                      <a:cubicBezTo>
                        <a:pt x="62" y="166"/>
                        <a:pt x="62" y="166"/>
                        <a:pt x="62" y="166"/>
                      </a:cubicBezTo>
                      <a:cubicBezTo>
                        <a:pt x="75" y="172"/>
                        <a:pt x="75" y="172"/>
                        <a:pt x="75" y="172"/>
                      </a:cubicBezTo>
                      <a:cubicBezTo>
                        <a:pt x="75" y="172"/>
                        <a:pt x="46" y="171"/>
                        <a:pt x="50" y="180"/>
                      </a:cubicBezTo>
                      <a:cubicBezTo>
                        <a:pt x="54" y="190"/>
                        <a:pt x="64" y="184"/>
                        <a:pt x="71" y="187"/>
                      </a:cubicBezTo>
                      <a:cubicBezTo>
                        <a:pt x="78" y="190"/>
                        <a:pt x="90" y="203"/>
                        <a:pt x="90" y="203"/>
                      </a:cubicBezTo>
                      <a:cubicBezTo>
                        <a:pt x="94" y="238"/>
                        <a:pt x="94" y="238"/>
                        <a:pt x="94" y="238"/>
                      </a:cubicBezTo>
                      <a:cubicBezTo>
                        <a:pt x="99" y="240"/>
                        <a:pt x="99" y="240"/>
                        <a:pt x="99" y="240"/>
                      </a:cubicBezTo>
                      <a:cubicBezTo>
                        <a:pt x="99" y="240"/>
                        <a:pt x="96" y="254"/>
                        <a:pt x="96" y="262"/>
                      </a:cubicBezTo>
                      <a:cubicBezTo>
                        <a:pt x="96" y="270"/>
                        <a:pt x="106" y="291"/>
                        <a:pt x="106" y="291"/>
                      </a:cubicBezTo>
                      <a:cubicBezTo>
                        <a:pt x="106" y="291"/>
                        <a:pt x="122" y="292"/>
                        <a:pt x="126" y="291"/>
                      </a:cubicBezTo>
                      <a:cubicBezTo>
                        <a:pt x="130" y="290"/>
                        <a:pt x="141" y="281"/>
                        <a:pt x="141" y="281"/>
                      </a:cubicBezTo>
                      <a:cubicBezTo>
                        <a:pt x="141" y="273"/>
                        <a:pt x="141" y="273"/>
                        <a:pt x="141" y="273"/>
                      </a:cubicBezTo>
                      <a:cubicBezTo>
                        <a:pt x="141" y="273"/>
                        <a:pt x="167" y="250"/>
                        <a:pt x="178" y="248"/>
                      </a:cubicBezTo>
                      <a:cubicBezTo>
                        <a:pt x="189" y="246"/>
                        <a:pt x="205" y="251"/>
                        <a:pt x="205" y="251"/>
                      </a:cubicBezTo>
                      <a:cubicBezTo>
                        <a:pt x="205" y="251"/>
                        <a:pt x="207" y="245"/>
                        <a:pt x="210" y="243"/>
                      </a:cubicBezTo>
                      <a:cubicBezTo>
                        <a:pt x="213" y="241"/>
                        <a:pt x="234" y="244"/>
                        <a:pt x="234" y="244"/>
                      </a:cubicBezTo>
                      <a:cubicBezTo>
                        <a:pt x="234" y="244"/>
                        <a:pt x="243" y="239"/>
                        <a:pt x="249" y="243"/>
                      </a:cubicBezTo>
                      <a:cubicBezTo>
                        <a:pt x="255" y="247"/>
                        <a:pt x="256" y="261"/>
                        <a:pt x="256" y="261"/>
                      </a:cubicBezTo>
                      <a:cubicBezTo>
                        <a:pt x="256" y="261"/>
                        <a:pt x="268" y="261"/>
                        <a:pt x="273" y="261"/>
                      </a:cubicBezTo>
                      <a:cubicBezTo>
                        <a:pt x="278" y="261"/>
                        <a:pt x="299" y="278"/>
                        <a:pt x="299" y="278"/>
                      </a:cubicBezTo>
                      <a:cubicBezTo>
                        <a:pt x="302" y="274"/>
                        <a:pt x="302" y="274"/>
                        <a:pt x="302" y="274"/>
                      </a:cubicBezTo>
                      <a:cubicBezTo>
                        <a:pt x="302" y="274"/>
                        <a:pt x="340" y="275"/>
                        <a:pt x="345" y="279"/>
                      </a:cubicBezTo>
                      <a:cubicBezTo>
                        <a:pt x="350" y="283"/>
                        <a:pt x="358" y="301"/>
                        <a:pt x="358" y="301"/>
                      </a:cubicBezTo>
                      <a:cubicBezTo>
                        <a:pt x="358" y="301"/>
                        <a:pt x="371" y="303"/>
                        <a:pt x="377" y="307"/>
                      </a:cubicBezTo>
                      <a:cubicBezTo>
                        <a:pt x="383" y="311"/>
                        <a:pt x="397" y="327"/>
                        <a:pt x="397" y="327"/>
                      </a:cubicBezTo>
                      <a:cubicBezTo>
                        <a:pt x="439" y="325"/>
                        <a:pt x="439" y="325"/>
                        <a:pt x="439" y="325"/>
                      </a:cubicBezTo>
                      <a:cubicBezTo>
                        <a:pt x="440" y="347"/>
                        <a:pt x="440" y="347"/>
                        <a:pt x="440" y="347"/>
                      </a:cubicBezTo>
                      <a:cubicBezTo>
                        <a:pt x="447" y="350"/>
                        <a:pt x="447" y="350"/>
                        <a:pt x="447" y="350"/>
                      </a:cubicBezTo>
                      <a:cubicBezTo>
                        <a:pt x="446" y="365"/>
                        <a:pt x="446" y="365"/>
                        <a:pt x="446" y="365"/>
                      </a:cubicBezTo>
                      <a:cubicBezTo>
                        <a:pt x="453" y="383"/>
                        <a:pt x="453" y="383"/>
                        <a:pt x="453" y="383"/>
                      </a:cubicBezTo>
                      <a:cubicBezTo>
                        <a:pt x="453" y="383"/>
                        <a:pt x="467" y="393"/>
                        <a:pt x="472" y="393"/>
                      </a:cubicBezTo>
                      <a:cubicBezTo>
                        <a:pt x="477" y="393"/>
                        <a:pt x="484" y="390"/>
                        <a:pt x="484" y="390"/>
                      </a:cubicBezTo>
                      <a:cubicBezTo>
                        <a:pt x="500" y="406"/>
                        <a:pt x="500" y="406"/>
                        <a:pt x="500" y="406"/>
                      </a:cubicBezTo>
                      <a:cubicBezTo>
                        <a:pt x="500" y="406"/>
                        <a:pt x="525" y="405"/>
                        <a:pt x="530" y="396"/>
                      </a:cubicBezTo>
                      <a:cubicBezTo>
                        <a:pt x="535" y="387"/>
                        <a:pt x="535" y="371"/>
                        <a:pt x="535" y="371"/>
                      </a:cubicBezTo>
                      <a:cubicBezTo>
                        <a:pt x="535" y="371"/>
                        <a:pt x="553" y="372"/>
                        <a:pt x="560" y="365"/>
                      </a:cubicBezTo>
                      <a:cubicBezTo>
                        <a:pt x="567" y="358"/>
                        <a:pt x="580" y="349"/>
                        <a:pt x="580" y="349"/>
                      </a:cubicBezTo>
                      <a:cubicBezTo>
                        <a:pt x="580" y="349"/>
                        <a:pt x="589" y="351"/>
                        <a:pt x="589" y="345"/>
                      </a:cubicBezTo>
                      <a:cubicBezTo>
                        <a:pt x="589" y="339"/>
                        <a:pt x="584" y="311"/>
                        <a:pt x="594" y="301"/>
                      </a:cubicBezTo>
                      <a:cubicBezTo>
                        <a:pt x="604" y="291"/>
                        <a:pt x="623" y="296"/>
                        <a:pt x="623" y="296"/>
                      </a:cubicBezTo>
                      <a:cubicBezTo>
                        <a:pt x="623" y="296"/>
                        <a:pt x="622" y="279"/>
                        <a:pt x="630" y="279"/>
                      </a:cubicBezTo>
                      <a:cubicBezTo>
                        <a:pt x="638" y="279"/>
                        <a:pt x="652" y="292"/>
                        <a:pt x="652" y="292"/>
                      </a:cubicBezTo>
                      <a:cubicBezTo>
                        <a:pt x="674" y="292"/>
                        <a:pt x="674" y="292"/>
                        <a:pt x="674" y="292"/>
                      </a:cubicBezTo>
                      <a:cubicBezTo>
                        <a:pt x="674" y="289"/>
                        <a:pt x="673" y="285"/>
                        <a:pt x="667" y="280"/>
                      </a:cubicBezTo>
                      <a:cubicBezTo>
                        <a:pt x="656" y="272"/>
                        <a:pt x="668" y="260"/>
                        <a:pt x="668" y="260"/>
                      </a:cubicBezTo>
                      <a:cubicBezTo>
                        <a:pt x="635" y="242"/>
                        <a:pt x="635" y="242"/>
                        <a:pt x="635" y="242"/>
                      </a:cubicBezTo>
                      <a:cubicBezTo>
                        <a:pt x="620" y="244"/>
                        <a:pt x="620" y="244"/>
                        <a:pt x="620" y="244"/>
                      </a:cubicBezTo>
                      <a:cubicBezTo>
                        <a:pt x="620" y="244"/>
                        <a:pt x="602" y="236"/>
                        <a:pt x="595" y="231"/>
                      </a:cubicBezTo>
                      <a:cubicBezTo>
                        <a:pt x="588" y="226"/>
                        <a:pt x="574" y="215"/>
                        <a:pt x="574" y="215"/>
                      </a:cubicBezTo>
                      <a:cubicBezTo>
                        <a:pt x="563" y="212"/>
                        <a:pt x="563" y="212"/>
                        <a:pt x="563" y="212"/>
                      </a:cubicBezTo>
                      <a:cubicBezTo>
                        <a:pt x="554" y="204"/>
                        <a:pt x="554" y="204"/>
                        <a:pt x="554" y="204"/>
                      </a:cubicBezTo>
                      <a:cubicBezTo>
                        <a:pt x="536" y="203"/>
                        <a:pt x="536" y="203"/>
                        <a:pt x="536" y="203"/>
                      </a:cubicBezTo>
                      <a:cubicBezTo>
                        <a:pt x="516" y="191"/>
                        <a:pt x="516" y="191"/>
                        <a:pt x="516" y="191"/>
                      </a:cubicBezTo>
                      <a:cubicBezTo>
                        <a:pt x="516" y="191"/>
                        <a:pt x="504" y="175"/>
                        <a:pt x="500" y="174"/>
                      </a:cubicBezTo>
                      <a:cubicBezTo>
                        <a:pt x="496" y="172"/>
                        <a:pt x="483" y="170"/>
                        <a:pt x="476" y="167"/>
                      </a:cubicBezTo>
                      <a:cubicBezTo>
                        <a:pt x="470" y="164"/>
                        <a:pt x="458" y="159"/>
                        <a:pt x="455" y="148"/>
                      </a:cubicBezTo>
                      <a:cubicBezTo>
                        <a:pt x="452" y="138"/>
                        <a:pt x="444" y="126"/>
                        <a:pt x="444" y="126"/>
                      </a:cubicBezTo>
                      <a:cubicBezTo>
                        <a:pt x="431" y="111"/>
                        <a:pt x="431" y="111"/>
                        <a:pt x="431" y="111"/>
                      </a:cubicBezTo>
                      <a:cubicBezTo>
                        <a:pt x="422" y="92"/>
                        <a:pt x="422" y="92"/>
                        <a:pt x="422" y="92"/>
                      </a:cubicBezTo>
                      <a:cubicBezTo>
                        <a:pt x="398" y="80"/>
                        <a:pt x="398" y="80"/>
                        <a:pt x="398" y="80"/>
                      </a:cubicBezTo>
                      <a:cubicBezTo>
                        <a:pt x="398" y="86"/>
                        <a:pt x="398" y="86"/>
                        <a:pt x="398" y="86"/>
                      </a:cubicBezTo>
                      <a:cubicBezTo>
                        <a:pt x="362" y="82"/>
                        <a:pt x="362" y="82"/>
                        <a:pt x="362" y="82"/>
                      </a:cubicBezTo>
                      <a:cubicBezTo>
                        <a:pt x="362" y="82"/>
                        <a:pt x="336" y="83"/>
                        <a:pt x="331" y="74"/>
                      </a:cubicBezTo>
                      <a:cubicBezTo>
                        <a:pt x="326" y="64"/>
                        <a:pt x="338" y="52"/>
                        <a:pt x="338" y="52"/>
                      </a:cubicBezTo>
                      <a:cubicBezTo>
                        <a:pt x="328" y="47"/>
                        <a:pt x="328" y="47"/>
                        <a:pt x="328" y="47"/>
                      </a:cubicBezTo>
                      <a:cubicBezTo>
                        <a:pt x="328" y="47"/>
                        <a:pt x="330" y="32"/>
                        <a:pt x="320" y="28"/>
                      </a:cubicBezTo>
                      <a:cubicBezTo>
                        <a:pt x="311" y="24"/>
                        <a:pt x="298" y="27"/>
                        <a:pt x="298" y="27"/>
                      </a:cubicBezTo>
                      <a:cubicBezTo>
                        <a:pt x="288" y="23"/>
                        <a:pt x="288" y="23"/>
                        <a:pt x="288" y="23"/>
                      </a:cubicBezTo>
                      <a:cubicBezTo>
                        <a:pt x="290" y="15"/>
                        <a:pt x="290" y="15"/>
                        <a:pt x="290" y="15"/>
                      </a:cubicBezTo>
                      <a:cubicBezTo>
                        <a:pt x="274" y="16"/>
                        <a:pt x="274" y="16"/>
                        <a:pt x="274" y="16"/>
                      </a:cubicBezTo>
                      <a:cubicBezTo>
                        <a:pt x="262" y="0"/>
                        <a:pt x="262" y="0"/>
                        <a:pt x="262" y="0"/>
                      </a:cubicBezTo>
                      <a:cubicBezTo>
                        <a:pt x="258" y="7"/>
                        <a:pt x="258" y="7"/>
                        <a:pt x="258" y="7"/>
                      </a:cubicBezTo>
                      <a:cubicBezTo>
                        <a:pt x="238" y="6"/>
                        <a:pt x="238" y="6"/>
                        <a:pt x="238" y="6"/>
                      </a:cubicBezTo>
                      <a:cubicBezTo>
                        <a:pt x="258" y="24"/>
                        <a:pt x="258" y="24"/>
                        <a:pt x="258" y="24"/>
                      </a:cubicBezTo>
                      <a:cubicBezTo>
                        <a:pt x="258" y="24"/>
                        <a:pt x="239" y="16"/>
                        <a:pt x="235" y="18"/>
                      </a:cubicBezTo>
                      <a:cubicBezTo>
                        <a:pt x="231" y="19"/>
                        <a:pt x="231" y="30"/>
                        <a:pt x="231" y="30"/>
                      </a:cubicBezTo>
                      <a:cubicBezTo>
                        <a:pt x="231" y="30"/>
                        <a:pt x="199" y="36"/>
                        <a:pt x="198" y="50"/>
                      </a:cubicBezTo>
                      <a:cubicBezTo>
                        <a:pt x="196" y="63"/>
                        <a:pt x="211" y="79"/>
                        <a:pt x="211" y="79"/>
                      </a:cubicBezTo>
                      <a:cubicBezTo>
                        <a:pt x="167" y="79"/>
                        <a:pt x="167" y="79"/>
                        <a:pt x="167" y="79"/>
                      </a:cubicBezTo>
                      <a:cubicBezTo>
                        <a:pt x="167" y="79"/>
                        <a:pt x="163" y="72"/>
                        <a:pt x="156" y="72"/>
                      </a:cubicBezTo>
                      <a:cubicBezTo>
                        <a:pt x="150" y="72"/>
                        <a:pt x="151" y="87"/>
                        <a:pt x="140" y="82"/>
                      </a:cubicBezTo>
                      <a:cubicBezTo>
                        <a:pt x="130" y="76"/>
                        <a:pt x="112" y="51"/>
                        <a:pt x="112" y="51"/>
                      </a:cubicBezTo>
                      <a:cubicBezTo>
                        <a:pt x="112" y="51"/>
                        <a:pt x="102" y="38"/>
                        <a:pt x="94" y="34"/>
                      </a:cubicBezTo>
                      <a:cubicBezTo>
                        <a:pt x="86" y="30"/>
                        <a:pt x="54" y="18"/>
                        <a:pt x="51" y="22"/>
                      </a:cubicBezTo>
                      <a:cubicBezTo>
                        <a:pt x="48" y="26"/>
                        <a:pt x="50" y="32"/>
                        <a:pt x="50" y="32"/>
                      </a:cubicBezTo>
                      <a:cubicBezTo>
                        <a:pt x="50" y="32"/>
                        <a:pt x="60" y="38"/>
                        <a:pt x="60" y="42"/>
                      </a:cubicBezTo>
                      <a:cubicBezTo>
                        <a:pt x="60" y="46"/>
                        <a:pt x="63" y="46"/>
                        <a:pt x="70" y="58"/>
                      </a:cubicBezTo>
                      <a:cubicBezTo>
                        <a:pt x="76" y="70"/>
                        <a:pt x="112" y="79"/>
                        <a:pt x="110" y="90"/>
                      </a:cubicBezTo>
                      <a:cubicBezTo>
                        <a:pt x="107" y="100"/>
                        <a:pt x="107" y="106"/>
                        <a:pt x="100" y="104"/>
                      </a:cubicBezTo>
                      <a:cubicBezTo>
                        <a:pt x="94" y="103"/>
                        <a:pt x="79" y="90"/>
                        <a:pt x="82" y="94"/>
                      </a:cubicBezTo>
                      <a:cubicBezTo>
                        <a:pt x="84" y="98"/>
                        <a:pt x="79" y="107"/>
                        <a:pt x="79" y="107"/>
                      </a:cubicBezTo>
                      <a:cubicBezTo>
                        <a:pt x="52" y="108"/>
                        <a:pt x="52" y="108"/>
                        <a:pt x="52" y="108"/>
                      </a:cubicBezTo>
                      <a:cubicBezTo>
                        <a:pt x="44" y="95"/>
                        <a:pt x="44" y="95"/>
                        <a:pt x="44" y="95"/>
                      </a:cubicBezTo>
                      <a:cubicBezTo>
                        <a:pt x="40" y="100"/>
                        <a:pt x="40" y="100"/>
                        <a:pt x="40" y="100"/>
                      </a:cubicBezTo>
                      <a:cubicBezTo>
                        <a:pt x="40" y="100"/>
                        <a:pt x="30" y="90"/>
                        <a:pt x="24" y="80"/>
                      </a:cubicBezTo>
                      <a:cubicBezTo>
                        <a:pt x="19" y="71"/>
                        <a:pt x="23" y="56"/>
                        <a:pt x="19" y="55"/>
                      </a:cubicBezTo>
                      <a:cubicBezTo>
                        <a:pt x="15" y="54"/>
                        <a:pt x="3" y="47"/>
                        <a:pt x="2" y="52"/>
                      </a:cubicBezTo>
                      <a:cubicBezTo>
                        <a:pt x="0" y="58"/>
                        <a:pt x="14" y="72"/>
                        <a:pt x="14" y="72"/>
                      </a:cubicBezTo>
                      <a:cubicBezTo>
                        <a:pt x="14" y="72"/>
                        <a:pt x="34" y="96"/>
                        <a:pt x="34" y="100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4" name="Turkey">
                  <a:extLst>
                    <a:ext uri="{FF2B5EF4-FFF2-40B4-BE49-F238E27FC236}">
                      <a16:creationId xmlns:a16="http://schemas.microsoft.com/office/drawing/2014/main" id="{4CDB6FCA-4712-6121-F9D0-8ACC2CFF4D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248133" y="2815726"/>
                  <a:ext cx="496973" cy="190412"/>
                </a:xfrm>
                <a:custGeom>
                  <a:avLst/>
                  <a:gdLst>
                    <a:gd name="T0" fmla="*/ 20 w 888"/>
                    <a:gd name="T1" fmla="*/ 116 h 340"/>
                    <a:gd name="T2" fmla="*/ 27 w 888"/>
                    <a:gd name="T3" fmla="*/ 107 h 340"/>
                    <a:gd name="T4" fmla="*/ 63 w 888"/>
                    <a:gd name="T5" fmla="*/ 93 h 340"/>
                    <a:gd name="T6" fmla="*/ 52 w 888"/>
                    <a:gd name="T7" fmla="*/ 101 h 340"/>
                    <a:gd name="T8" fmla="*/ 887 w 888"/>
                    <a:gd name="T9" fmla="*/ 259 h 340"/>
                    <a:gd name="T10" fmla="*/ 850 w 888"/>
                    <a:gd name="T11" fmla="*/ 224 h 340"/>
                    <a:gd name="T12" fmla="*/ 845 w 888"/>
                    <a:gd name="T13" fmla="*/ 165 h 340"/>
                    <a:gd name="T14" fmla="*/ 853 w 888"/>
                    <a:gd name="T15" fmla="*/ 137 h 340"/>
                    <a:gd name="T16" fmla="*/ 802 w 888"/>
                    <a:gd name="T17" fmla="*/ 73 h 340"/>
                    <a:gd name="T18" fmla="*/ 761 w 888"/>
                    <a:gd name="T19" fmla="*/ 32 h 340"/>
                    <a:gd name="T20" fmla="*/ 678 w 888"/>
                    <a:gd name="T21" fmla="*/ 63 h 340"/>
                    <a:gd name="T22" fmla="*/ 542 w 888"/>
                    <a:gd name="T23" fmla="*/ 57 h 340"/>
                    <a:gd name="T24" fmla="*/ 491 w 888"/>
                    <a:gd name="T25" fmla="*/ 51 h 340"/>
                    <a:gd name="T26" fmla="*/ 442 w 888"/>
                    <a:gd name="T27" fmla="*/ 30 h 340"/>
                    <a:gd name="T28" fmla="*/ 385 w 888"/>
                    <a:gd name="T29" fmla="*/ 16 h 340"/>
                    <a:gd name="T30" fmla="*/ 272 w 888"/>
                    <a:gd name="T31" fmla="*/ 42 h 340"/>
                    <a:gd name="T32" fmla="*/ 203 w 888"/>
                    <a:gd name="T33" fmla="*/ 53 h 340"/>
                    <a:gd name="T34" fmla="*/ 120 w 888"/>
                    <a:gd name="T35" fmla="*/ 14 h 340"/>
                    <a:gd name="T36" fmla="*/ 79 w 888"/>
                    <a:gd name="T37" fmla="*/ 10 h 340"/>
                    <a:gd name="T38" fmla="*/ 52 w 888"/>
                    <a:gd name="T39" fmla="*/ 28 h 340"/>
                    <a:gd name="T40" fmla="*/ 50 w 888"/>
                    <a:gd name="T41" fmla="*/ 47 h 340"/>
                    <a:gd name="T42" fmla="*/ 50 w 888"/>
                    <a:gd name="T43" fmla="*/ 86 h 340"/>
                    <a:gd name="T44" fmla="*/ 107 w 888"/>
                    <a:gd name="T45" fmla="*/ 65 h 340"/>
                    <a:gd name="T46" fmla="*/ 165 w 888"/>
                    <a:gd name="T47" fmla="*/ 81 h 340"/>
                    <a:gd name="T48" fmla="*/ 92 w 888"/>
                    <a:gd name="T49" fmla="*/ 91 h 340"/>
                    <a:gd name="T50" fmla="*/ 76 w 888"/>
                    <a:gd name="T51" fmla="*/ 142 h 340"/>
                    <a:gd name="T52" fmla="*/ 83 w 888"/>
                    <a:gd name="T53" fmla="*/ 186 h 340"/>
                    <a:gd name="T54" fmla="*/ 108 w 888"/>
                    <a:gd name="T55" fmla="*/ 234 h 340"/>
                    <a:gd name="T56" fmla="*/ 146 w 888"/>
                    <a:gd name="T57" fmla="*/ 297 h 340"/>
                    <a:gd name="T58" fmla="*/ 250 w 888"/>
                    <a:gd name="T59" fmla="*/ 310 h 340"/>
                    <a:gd name="T60" fmla="*/ 359 w 888"/>
                    <a:gd name="T61" fmla="*/ 325 h 340"/>
                    <a:gd name="T62" fmla="*/ 477 w 888"/>
                    <a:gd name="T63" fmla="*/ 298 h 340"/>
                    <a:gd name="T64" fmla="*/ 495 w 888"/>
                    <a:gd name="T65" fmla="*/ 329 h 340"/>
                    <a:gd name="T66" fmla="*/ 515 w 888"/>
                    <a:gd name="T67" fmla="*/ 330 h 340"/>
                    <a:gd name="T68" fmla="*/ 525 w 888"/>
                    <a:gd name="T69" fmla="*/ 308 h 340"/>
                    <a:gd name="T70" fmla="*/ 546 w 888"/>
                    <a:gd name="T71" fmla="*/ 296 h 340"/>
                    <a:gd name="T72" fmla="*/ 622 w 888"/>
                    <a:gd name="T73" fmla="*/ 290 h 340"/>
                    <a:gd name="T74" fmla="*/ 699 w 888"/>
                    <a:gd name="T75" fmla="*/ 271 h 340"/>
                    <a:gd name="T76" fmla="*/ 746 w 888"/>
                    <a:gd name="T77" fmla="*/ 270 h 340"/>
                    <a:gd name="T78" fmla="*/ 781 w 888"/>
                    <a:gd name="T79" fmla="*/ 274 h 340"/>
                    <a:gd name="T80" fmla="*/ 835 w 888"/>
                    <a:gd name="T81" fmla="*/ 267 h 340"/>
                    <a:gd name="T82" fmla="*/ 888 w 888"/>
                    <a:gd name="T83" fmla="*/ 265 h 340"/>
                    <a:gd name="T84" fmla="*/ 81 w 888"/>
                    <a:gd name="T85" fmla="*/ 204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88" h="340">
                      <a:moveTo>
                        <a:pt x="3" y="126"/>
                      </a:moveTo>
                      <a:cubicBezTo>
                        <a:pt x="17" y="125"/>
                        <a:pt x="17" y="125"/>
                        <a:pt x="17" y="125"/>
                      </a:cubicBezTo>
                      <a:cubicBezTo>
                        <a:pt x="20" y="116"/>
                        <a:pt x="20" y="116"/>
                        <a:pt x="20" y="116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lnTo>
                        <a:pt x="3" y="126"/>
                      </a:lnTo>
                      <a:close/>
                      <a:moveTo>
                        <a:pt x="27" y="107"/>
                      </a:moveTo>
                      <a:cubicBezTo>
                        <a:pt x="30" y="116"/>
                        <a:pt x="40" y="122"/>
                        <a:pt x="39" y="106"/>
                      </a:cubicBezTo>
                      <a:cubicBezTo>
                        <a:pt x="38" y="90"/>
                        <a:pt x="27" y="107"/>
                        <a:pt x="27" y="107"/>
                      </a:cubicBezTo>
                      <a:close/>
                      <a:moveTo>
                        <a:pt x="63" y="93"/>
                      </a:moveTo>
                      <a:cubicBezTo>
                        <a:pt x="45" y="93"/>
                        <a:pt x="45" y="93"/>
                        <a:pt x="45" y="93"/>
                      </a:cubicBezTo>
                      <a:cubicBezTo>
                        <a:pt x="45" y="114"/>
                        <a:pt x="45" y="114"/>
                        <a:pt x="45" y="114"/>
                      </a:cubicBezTo>
                      <a:cubicBezTo>
                        <a:pt x="52" y="101"/>
                        <a:pt x="52" y="101"/>
                        <a:pt x="52" y="101"/>
                      </a:cubicBezTo>
                      <a:lnTo>
                        <a:pt x="63" y="93"/>
                      </a:lnTo>
                      <a:close/>
                      <a:moveTo>
                        <a:pt x="888" y="265"/>
                      </a:moveTo>
                      <a:cubicBezTo>
                        <a:pt x="887" y="261"/>
                        <a:pt x="887" y="259"/>
                        <a:pt x="887" y="259"/>
                      </a:cubicBezTo>
                      <a:cubicBezTo>
                        <a:pt x="871" y="254"/>
                        <a:pt x="871" y="254"/>
                        <a:pt x="871" y="254"/>
                      </a:cubicBezTo>
                      <a:cubicBezTo>
                        <a:pt x="871" y="236"/>
                        <a:pt x="871" y="236"/>
                        <a:pt x="871" y="236"/>
                      </a:cubicBezTo>
                      <a:cubicBezTo>
                        <a:pt x="850" y="224"/>
                        <a:pt x="850" y="224"/>
                        <a:pt x="850" y="224"/>
                      </a:cubicBezTo>
                      <a:cubicBezTo>
                        <a:pt x="850" y="224"/>
                        <a:pt x="863" y="205"/>
                        <a:pt x="858" y="203"/>
                      </a:cubicBezTo>
                      <a:cubicBezTo>
                        <a:pt x="853" y="201"/>
                        <a:pt x="846" y="180"/>
                        <a:pt x="846" y="180"/>
                      </a:cubicBezTo>
                      <a:cubicBezTo>
                        <a:pt x="845" y="165"/>
                        <a:pt x="845" y="165"/>
                        <a:pt x="845" y="165"/>
                      </a:cubicBezTo>
                      <a:cubicBezTo>
                        <a:pt x="834" y="149"/>
                        <a:pt x="834" y="149"/>
                        <a:pt x="834" y="149"/>
                      </a:cubicBezTo>
                      <a:cubicBezTo>
                        <a:pt x="850" y="147"/>
                        <a:pt x="850" y="147"/>
                        <a:pt x="850" y="147"/>
                      </a:cubicBezTo>
                      <a:cubicBezTo>
                        <a:pt x="850" y="147"/>
                        <a:pt x="851" y="142"/>
                        <a:pt x="853" y="137"/>
                      </a:cubicBezTo>
                      <a:cubicBezTo>
                        <a:pt x="850" y="127"/>
                        <a:pt x="846" y="116"/>
                        <a:pt x="843" y="116"/>
                      </a:cubicBezTo>
                      <a:cubicBezTo>
                        <a:pt x="838" y="115"/>
                        <a:pt x="822" y="124"/>
                        <a:pt x="814" y="113"/>
                      </a:cubicBezTo>
                      <a:cubicBezTo>
                        <a:pt x="806" y="102"/>
                        <a:pt x="808" y="88"/>
                        <a:pt x="802" y="73"/>
                      </a:cubicBezTo>
                      <a:cubicBezTo>
                        <a:pt x="796" y="58"/>
                        <a:pt x="794" y="50"/>
                        <a:pt x="794" y="50"/>
                      </a:cubicBezTo>
                      <a:cubicBezTo>
                        <a:pt x="777" y="50"/>
                        <a:pt x="777" y="50"/>
                        <a:pt x="777" y="50"/>
                      </a:cubicBezTo>
                      <a:cubicBezTo>
                        <a:pt x="777" y="50"/>
                        <a:pt x="775" y="35"/>
                        <a:pt x="761" y="32"/>
                      </a:cubicBezTo>
                      <a:cubicBezTo>
                        <a:pt x="747" y="29"/>
                        <a:pt x="741" y="39"/>
                        <a:pt x="741" y="39"/>
                      </a:cubicBezTo>
                      <a:cubicBezTo>
                        <a:pt x="715" y="34"/>
                        <a:pt x="715" y="34"/>
                        <a:pt x="715" y="34"/>
                      </a:cubicBezTo>
                      <a:cubicBezTo>
                        <a:pt x="706" y="43"/>
                        <a:pt x="688" y="59"/>
                        <a:pt x="678" y="63"/>
                      </a:cubicBezTo>
                      <a:cubicBezTo>
                        <a:pt x="665" y="68"/>
                        <a:pt x="621" y="62"/>
                        <a:pt x="621" y="62"/>
                      </a:cubicBezTo>
                      <a:cubicBezTo>
                        <a:pt x="585" y="72"/>
                        <a:pt x="585" y="72"/>
                        <a:pt x="585" y="72"/>
                      </a:cubicBezTo>
                      <a:cubicBezTo>
                        <a:pt x="542" y="57"/>
                        <a:pt x="542" y="57"/>
                        <a:pt x="542" y="57"/>
                      </a:cubicBezTo>
                      <a:cubicBezTo>
                        <a:pt x="525" y="63"/>
                        <a:pt x="525" y="63"/>
                        <a:pt x="525" y="63"/>
                      </a:cubicBezTo>
                      <a:cubicBezTo>
                        <a:pt x="525" y="63"/>
                        <a:pt x="516" y="40"/>
                        <a:pt x="508" y="42"/>
                      </a:cubicBezTo>
                      <a:cubicBezTo>
                        <a:pt x="500" y="44"/>
                        <a:pt x="491" y="51"/>
                        <a:pt x="491" y="51"/>
                      </a:cubicBezTo>
                      <a:cubicBezTo>
                        <a:pt x="475" y="40"/>
                        <a:pt x="475" y="40"/>
                        <a:pt x="475" y="40"/>
                      </a:cubicBezTo>
                      <a:cubicBezTo>
                        <a:pt x="472" y="25"/>
                        <a:pt x="472" y="25"/>
                        <a:pt x="472" y="25"/>
                      </a:cubicBezTo>
                      <a:cubicBezTo>
                        <a:pt x="442" y="30"/>
                        <a:pt x="442" y="30"/>
                        <a:pt x="442" y="30"/>
                      </a:cubicBezTo>
                      <a:cubicBezTo>
                        <a:pt x="424" y="20"/>
                        <a:pt x="424" y="20"/>
                        <a:pt x="424" y="20"/>
                      </a:cubicBezTo>
                      <a:cubicBezTo>
                        <a:pt x="421" y="6"/>
                        <a:pt x="421" y="6"/>
                        <a:pt x="421" y="6"/>
                      </a:cubicBezTo>
                      <a:cubicBezTo>
                        <a:pt x="421" y="6"/>
                        <a:pt x="398" y="16"/>
                        <a:pt x="385" y="16"/>
                      </a:cubicBezTo>
                      <a:cubicBezTo>
                        <a:pt x="373" y="16"/>
                        <a:pt x="355" y="10"/>
                        <a:pt x="343" y="11"/>
                      </a:cubicBezTo>
                      <a:cubicBezTo>
                        <a:pt x="332" y="12"/>
                        <a:pt x="297" y="26"/>
                        <a:pt x="291" y="32"/>
                      </a:cubicBezTo>
                      <a:cubicBezTo>
                        <a:pt x="286" y="39"/>
                        <a:pt x="272" y="42"/>
                        <a:pt x="272" y="42"/>
                      </a:cubicBezTo>
                      <a:cubicBezTo>
                        <a:pt x="266" y="58"/>
                        <a:pt x="266" y="58"/>
                        <a:pt x="266" y="58"/>
                      </a:cubicBezTo>
                      <a:cubicBezTo>
                        <a:pt x="266" y="58"/>
                        <a:pt x="266" y="62"/>
                        <a:pt x="252" y="59"/>
                      </a:cubicBezTo>
                      <a:cubicBezTo>
                        <a:pt x="239" y="56"/>
                        <a:pt x="216" y="53"/>
                        <a:pt x="203" y="53"/>
                      </a:cubicBezTo>
                      <a:cubicBezTo>
                        <a:pt x="191" y="53"/>
                        <a:pt x="151" y="44"/>
                        <a:pt x="151" y="44"/>
                      </a:cubicBezTo>
                      <a:cubicBezTo>
                        <a:pt x="151" y="44"/>
                        <a:pt x="127" y="47"/>
                        <a:pt x="124" y="33"/>
                      </a:cubicBezTo>
                      <a:cubicBezTo>
                        <a:pt x="122" y="26"/>
                        <a:pt x="121" y="19"/>
                        <a:pt x="120" y="14"/>
                      </a:cubicBezTo>
                      <a:cubicBezTo>
                        <a:pt x="111" y="15"/>
                        <a:pt x="97" y="13"/>
                        <a:pt x="97" y="13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79" y="10"/>
                        <a:pt x="79" y="10"/>
                        <a:pt x="79" y="10"/>
                      </a:cubicBezTo>
                      <a:cubicBezTo>
                        <a:pt x="59" y="8"/>
                        <a:pt x="59" y="8"/>
                        <a:pt x="59" y="8"/>
                      </a:cubicBezTo>
                      <a:cubicBezTo>
                        <a:pt x="50" y="23"/>
                        <a:pt x="50" y="23"/>
                        <a:pt x="50" y="23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cubicBezTo>
                        <a:pt x="52" y="28"/>
                        <a:pt x="59" y="27"/>
                        <a:pt x="62" y="32"/>
                      </a:cubicBezTo>
                      <a:cubicBezTo>
                        <a:pt x="65" y="37"/>
                        <a:pt x="64" y="45"/>
                        <a:pt x="64" y="45"/>
                      </a:cubicBezTo>
                      <a:cubicBezTo>
                        <a:pt x="64" y="45"/>
                        <a:pt x="51" y="41"/>
                        <a:pt x="50" y="47"/>
                      </a:cubicBezTo>
                      <a:cubicBezTo>
                        <a:pt x="49" y="53"/>
                        <a:pt x="54" y="56"/>
                        <a:pt x="52" y="63"/>
                      </a:cubicBezTo>
                      <a:cubicBezTo>
                        <a:pt x="50" y="70"/>
                        <a:pt x="47" y="75"/>
                        <a:pt x="47" y="75"/>
                      </a:cubicBezTo>
                      <a:cubicBezTo>
                        <a:pt x="47" y="75"/>
                        <a:pt x="35" y="87"/>
                        <a:pt x="50" y="86"/>
                      </a:cubicBezTo>
                      <a:cubicBezTo>
                        <a:pt x="65" y="85"/>
                        <a:pt x="76" y="80"/>
                        <a:pt x="76" y="80"/>
                      </a:cubicBezTo>
                      <a:cubicBezTo>
                        <a:pt x="76" y="80"/>
                        <a:pt x="72" y="90"/>
                        <a:pt x="80" y="87"/>
                      </a:cubicBezTo>
                      <a:cubicBezTo>
                        <a:pt x="88" y="84"/>
                        <a:pt x="107" y="65"/>
                        <a:pt x="107" y="65"/>
                      </a:cubicBezTo>
                      <a:cubicBezTo>
                        <a:pt x="107" y="65"/>
                        <a:pt x="141" y="53"/>
                        <a:pt x="152" y="61"/>
                      </a:cubicBezTo>
                      <a:cubicBezTo>
                        <a:pt x="163" y="69"/>
                        <a:pt x="197" y="74"/>
                        <a:pt x="197" y="74"/>
                      </a:cubicBezTo>
                      <a:cubicBezTo>
                        <a:pt x="197" y="74"/>
                        <a:pt x="166" y="78"/>
                        <a:pt x="165" y="81"/>
                      </a:cubicBezTo>
                      <a:cubicBezTo>
                        <a:pt x="164" y="84"/>
                        <a:pt x="159" y="93"/>
                        <a:pt x="159" y="93"/>
                      </a:cubicBezTo>
                      <a:cubicBezTo>
                        <a:pt x="126" y="94"/>
                        <a:pt x="126" y="94"/>
                        <a:pt x="126" y="94"/>
                      </a:cubicBezTo>
                      <a:cubicBezTo>
                        <a:pt x="92" y="91"/>
                        <a:pt x="92" y="91"/>
                        <a:pt x="92" y="91"/>
                      </a:cubicBezTo>
                      <a:cubicBezTo>
                        <a:pt x="92" y="91"/>
                        <a:pt x="66" y="97"/>
                        <a:pt x="62" y="105"/>
                      </a:cubicBezTo>
                      <a:cubicBezTo>
                        <a:pt x="58" y="113"/>
                        <a:pt x="49" y="143"/>
                        <a:pt x="49" y="143"/>
                      </a:cubicBezTo>
                      <a:cubicBezTo>
                        <a:pt x="76" y="142"/>
                        <a:pt x="76" y="142"/>
                        <a:pt x="76" y="142"/>
                      </a:cubicBezTo>
                      <a:cubicBezTo>
                        <a:pt x="76" y="142"/>
                        <a:pt x="72" y="151"/>
                        <a:pt x="77" y="159"/>
                      </a:cubicBezTo>
                      <a:cubicBezTo>
                        <a:pt x="82" y="167"/>
                        <a:pt x="88" y="175"/>
                        <a:pt x="88" y="175"/>
                      </a:cubicBezTo>
                      <a:cubicBezTo>
                        <a:pt x="83" y="186"/>
                        <a:pt x="83" y="186"/>
                        <a:pt x="83" y="186"/>
                      </a:cubicBezTo>
                      <a:cubicBezTo>
                        <a:pt x="93" y="201"/>
                        <a:pt x="93" y="201"/>
                        <a:pt x="93" y="201"/>
                      </a:cubicBezTo>
                      <a:cubicBezTo>
                        <a:pt x="84" y="212"/>
                        <a:pt x="84" y="212"/>
                        <a:pt x="84" y="212"/>
                      </a:cubicBezTo>
                      <a:cubicBezTo>
                        <a:pt x="108" y="234"/>
                        <a:pt x="108" y="234"/>
                        <a:pt x="108" y="234"/>
                      </a:cubicBezTo>
                      <a:cubicBezTo>
                        <a:pt x="106" y="258"/>
                        <a:pt x="106" y="258"/>
                        <a:pt x="106" y="258"/>
                      </a:cubicBezTo>
                      <a:cubicBezTo>
                        <a:pt x="140" y="275"/>
                        <a:pt x="140" y="275"/>
                        <a:pt x="140" y="275"/>
                      </a:cubicBezTo>
                      <a:cubicBezTo>
                        <a:pt x="146" y="297"/>
                        <a:pt x="146" y="297"/>
                        <a:pt x="146" y="297"/>
                      </a:cubicBezTo>
                      <a:cubicBezTo>
                        <a:pt x="146" y="297"/>
                        <a:pt x="143" y="285"/>
                        <a:pt x="162" y="290"/>
                      </a:cubicBezTo>
                      <a:cubicBezTo>
                        <a:pt x="181" y="295"/>
                        <a:pt x="178" y="312"/>
                        <a:pt x="208" y="315"/>
                      </a:cubicBezTo>
                      <a:cubicBezTo>
                        <a:pt x="238" y="318"/>
                        <a:pt x="250" y="317"/>
                        <a:pt x="250" y="310"/>
                      </a:cubicBezTo>
                      <a:cubicBezTo>
                        <a:pt x="250" y="303"/>
                        <a:pt x="252" y="284"/>
                        <a:pt x="262" y="283"/>
                      </a:cubicBezTo>
                      <a:cubicBezTo>
                        <a:pt x="272" y="282"/>
                        <a:pt x="299" y="289"/>
                        <a:pt x="313" y="294"/>
                      </a:cubicBezTo>
                      <a:cubicBezTo>
                        <a:pt x="327" y="299"/>
                        <a:pt x="313" y="326"/>
                        <a:pt x="359" y="325"/>
                      </a:cubicBezTo>
                      <a:cubicBezTo>
                        <a:pt x="405" y="324"/>
                        <a:pt x="406" y="299"/>
                        <a:pt x="422" y="294"/>
                      </a:cubicBezTo>
                      <a:cubicBezTo>
                        <a:pt x="438" y="289"/>
                        <a:pt x="450" y="285"/>
                        <a:pt x="457" y="291"/>
                      </a:cubicBezTo>
                      <a:cubicBezTo>
                        <a:pt x="464" y="297"/>
                        <a:pt x="466" y="303"/>
                        <a:pt x="477" y="298"/>
                      </a:cubicBezTo>
                      <a:cubicBezTo>
                        <a:pt x="488" y="293"/>
                        <a:pt x="495" y="277"/>
                        <a:pt x="502" y="284"/>
                      </a:cubicBezTo>
                      <a:cubicBezTo>
                        <a:pt x="509" y="291"/>
                        <a:pt x="501" y="300"/>
                        <a:pt x="498" y="306"/>
                      </a:cubicBezTo>
                      <a:cubicBezTo>
                        <a:pt x="495" y="312"/>
                        <a:pt x="488" y="324"/>
                        <a:pt x="495" y="329"/>
                      </a:cubicBezTo>
                      <a:cubicBezTo>
                        <a:pt x="496" y="330"/>
                        <a:pt x="497" y="331"/>
                        <a:pt x="496" y="333"/>
                      </a:cubicBezTo>
                      <a:cubicBezTo>
                        <a:pt x="499" y="335"/>
                        <a:pt x="506" y="340"/>
                        <a:pt x="509" y="339"/>
                      </a:cubicBezTo>
                      <a:cubicBezTo>
                        <a:pt x="513" y="338"/>
                        <a:pt x="515" y="330"/>
                        <a:pt x="515" y="330"/>
                      </a:cubicBezTo>
                      <a:cubicBezTo>
                        <a:pt x="515" y="321"/>
                        <a:pt x="515" y="321"/>
                        <a:pt x="515" y="321"/>
                      </a:cubicBezTo>
                      <a:cubicBezTo>
                        <a:pt x="515" y="321"/>
                        <a:pt x="529" y="327"/>
                        <a:pt x="530" y="319"/>
                      </a:cubicBezTo>
                      <a:cubicBezTo>
                        <a:pt x="532" y="306"/>
                        <a:pt x="525" y="308"/>
                        <a:pt x="525" y="308"/>
                      </a:cubicBezTo>
                      <a:cubicBezTo>
                        <a:pt x="524" y="287"/>
                        <a:pt x="524" y="287"/>
                        <a:pt x="524" y="287"/>
                      </a:cubicBezTo>
                      <a:cubicBezTo>
                        <a:pt x="524" y="287"/>
                        <a:pt x="538" y="282"/>
                        <a:pt x="540" y="286"/>
                      </a:cubicBezTo>
                      <a:cubicBezTo>
                        <a:pt x="542" y="290"/>
                        <a:pt x="525" y="296"/>
                        <a:pt x="546" y="296"/>
                      </a:cubicBezTo>
                      <a:cubicBezTo>
                        <a:pt x="567" y="296"/>
                        <a:pt x="582" y="288"/>
                        <a:pt x="582" y="288"/>
                      </a:cubicBezTo>
                      <a:cubicBezTo>
                        <a:pt x="582" y="288"/>
                        <a:pt x="593" y="276"/>
                        <a:pt x="596" y="277"/>
                      </a:cubicBezTo>
                      <a:cubicBezTo>
                        <a:pt x="599" y="278"/>
                        <a:pt x="622" y="290"/>
                        <a:pt x="622" y="290"/>
                      </a:cubicBezTo>
                      <a:cubicBezTo>
                        <a:pt x="622" y="290"/>
                        <a:pt x="634" y="295"/>
                        <a:pt x="645" y="294"/>
                      </a:cubicBezTo>
                      <a:cubicBezTo>
                        <a:pt x="656" y="293"/>
                        <a:pt x="661" y="290"/>
                        <a:pt x="670" y="287"/>
                      </a:cubicBezTo>
                      <a:cubicBezTo>
                        <a:pt x="679" y="284"/>
                        <a:pt x="686" y="272"/>
                        <a:pt x="699" y="271"/>
                      </a:cubicBezTo>
                      <a:cubicBezTo>
                        <a:pt x="712" y="270"/>
                        <a:pt x="718" y="269"/>
                        <a:pt x="723" y="271"/>
                      </a:cubicBezTo>
                      <a:cubicBezTo>
                        <a:pt x="728" y="273"/>
                        <a:pt x="723" y="278"/>
                        <a:pt x="732" y="277"/>
                      </a:cubicBezTo>
                      <a:cubicBezTo>
                        <a:pt x="741" y="276"/>
                        <a:pt x="746" y="270"/>
                        <a:pt x="746" y="270"/>
                      </a:cubicBezTo>
                      <a:cubicBezTo>
                        <a:pt x="746" y="270"/>
                        <a:pt x="751" y="268"/>
                        <a:pt x="759" y="267"/>
                      </a:cubicBezTo>
                      <a:cubicBezTo>
                        <a:pt x="767" y="266"/>
                        <a:pt x="769" y="255"/>
                        <a:pt x="772" y="257"/>
                      </a:cubicBezTo>
                      <a:cubicBezTo>
                        <a:pt x="775" y="259"/>
                        <a:pt x="769" y="277"/>
                        <a:pt x="781" y="274"/>
                      </a:cubicBezTo>
                      <a:cubicBezTo>
                        <a:pt x="793" y="271"/>
                        <a:pt x="792" y="258"/>
                        <a:pt x="792" y="258"/>
                      </a:cubicBezTo>
                      <a:cubicBezTo>
                        <a:pt x="818" y="258"/>
                        <a:pt x="818" y="258"/>
                        <a:pt x="818" y="258"/>
                      </a:cubicBezTo>
                      <a:cubicBezTo>
                        <a:pt x="818" y="258"/>
                        <a:pt x="827" y="269"/>
                        <a:pt x="835" y="267"/>
                      </a:cubicBezTo>
                      <a:cubicBezTo>
                        <a:pt x="843" y="265"/>
                        <a:pt x="835" y="257"/>
                        <a:pt x="849" y="258"/>
                      </a:cubicBezTo>
                      <a:cubicBezTo>
                        <a:pt x="863" y="259"/>
                        <a:pt x="861" y="276"/>
                        <a:pt x="861" y="276"/>
                      </a:cubicBezTo>
                      <a:lnTo>
                        <a:pt x="888" y="265"/>
                      </a:lnTo>
                      <a:close/>
                      <a:moveTo>
                        <a:pt x="67" y="189"/>
                      </a:moveTo>
                      <a:cubicBezTo>
                        <a:pt x="63" y="185"/>
                        <a:pt x="61" y="207"/>
                        <a:pt x="67" y="217"/>
                      </a:cubicBezTo>
                      <a:cubicBezTo>
                        <a:pt x="72" y="226"/>
                        <a:pt x="79" y="208"/>
                        <a:pt x="81" y="204"/>
                      </a:cubicBezTo>
                      <a:cubicBezTo>
                        <a:pt x="83" y="200"/>
                        <a:pt x="71" y="193"/>
                        <a:pt x="67" y="189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5" name="Timor-Leste">
                  <a:extLst>
                    <a:ext uri="{FF2B5EF4-FFF2-40B4-BE49-F238E27FC236}">
                      <a16:creationId xmlns:a16="http://schemas.microsoft.com/office/drawing/2014/main" id="{04C496EA-D785-6D67-4026-B91EF5350632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8896544" y="4331087"/>
                  <a:ext cx="95267" cy="42843"/>
                </a:xfrm>
                <a:custGeom>
                  <a:avLst/>
                  <a:gdLst>
                    <a:gd name="T0" fmla="*/ 53 w 168"/>
                    <a:gd name="T1" fmla="*/ 33 h 77"/>
                    <a:gd name="T2" fmla="*/ 53 w 168"/>
                    <a:gd name="T3" fmla="*/ 33 h 77"/>
                    <a:gd name="T4" fmla="*/ 53 w 168"/>
                    <a:gd name="T5" fmla="*/ 33 h 77"/>
                    <a:gd name="T6" fmla="*/ 53 w 168"/>
                    <a:gd name="T7" fmla="*/ 33 h 77"/>
                    <a:gd name="T8" fmla="*/ 152 w 168"/>
                    <a:gd name="T9" fmla="*/ 0 h 77"/>
                    <a:gd name="T10" fmla="*/ 139 w 168"/>
                    <a:gd name="T11" fmla="*/ 14 h 77"/>
                    <a:gd name="T12" fmla="*/ 84 w 168"/>
                    <a:gd name="T13" fmla="*/ 15 h 77"/>
                    <a:gd name="T14" fmla="*/ 67 w 168"/>
                    <a:gd name="T15" fmla="*/ 33 h 77"/>
                    <a:gd name="T16" fmla="*/ 53 w 168"/>
                    <a:gd name="T17" fmla="*/ 33 h 77"/>
                    <a:gd name="T18" fmla="*/ 60 w 168"/>
                    <a:gd name="T19" fmla="*/ 47 h 77"/>
                    <a:gd name="T20" fmla="*/ 50 w 168"/>
                    <a:gd name="T21" fmla="*/ 66 h 77"/>
                    <a:gd name="T22" fmla="*/ 52 w 168"/>
                    <a:gd name="T23" fmla="*/ 77 h 77"/>
                    <a:gd name="T24" fmla="*/ 57 w 168"/>
                    <a:gd name="T25" fmla="*/ 72 h 77"/>
                    <a:gd name="T26" fmla="*/ 67 w 168"/>
                    <a:gd name="T27" fmla="*/ 69 h 77"/>
                    <a:gd name="T28" fmla="*/ 89 w 168"/>
                    <a:gd name="T29" fmla="*/ 53 h 77"/>
                    <a:gd name="T30" fmla="*/ 111 w 168"/>
                    <a:gd name="T31" fmla="*/ 59 h 77"/>
                    <a:gd name="T32" fmla="*/ 168 w 168"/>
                    <a:gd name="T33" fmla="*/ 9 h 77"/>
                    <a:gd name="T34" fmla="*/ 152 w 168"/>
                    <a:gd name="T35" fmla="*/ 0 h 77"/>
                    <a:gd name="T36" fmla="*/ 0 w 168"/>
                    <a:gd name="T37" fmla="*/ 58 h 77"/>
                    <a:gd name="T38" fmla="*/ 4 w 168"/>
                    <a:gd name="T39" fmla="*/ 67 h 77"/>
                    <a:gd name="T40" fmla="*/ 24 w 168"/>
                    <a:gd name="T41" fmla="*/ 61 h 77"/>
                    <a:gd name="T42" fmla="*/ 28 w 168"/>
                    <a:gd name="T43" fmla="*/ 48 h 77"/>
                    <a:gd name="T44" fmla="*/ 11 w 168"/>
                    <a:gd name="T45" fmla="*/ 47 h 77"/>
                    <a:gd name="T46" fmla="*/ 0 w 168"/>
                    <a:gd name="T47" fmla="*/ 58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68" h="77">
                      <a:moveTo>
                        <a:pt x="53" y="33"/>
                      </a:moveTo>
                      <a:cubicBezTo>
                        <a:pt x="53" y="33"/>
                        <a:pt x="53" y="33"/>
                        <a:pt x="53" y="33"/>
                      </a:cubicBezTo>
                      <a:cubicBezTo>
                        <a:pt x="53" y="33"/>
                        <a:pt x="53" y="33"/>
                        <a:pt x="53" y="33"/>
                      </a:cubicBezTo>
                      <a:cubicBezTo>
                        <a:pt x="53" y="33"/>
                        <a:pt x="53" y="33"/>
                        <a:pt x="53" y="33"/>
                      </a:cubicBezTo>
                      <a:close/>
                      <a:moveTo>
                        <a:pt x="152" y="0"/>
                      </a:moveTo>
                      <a:cubicBezTo>
                        <a:pt x="139" y="14"/>
                        <a:pt x="139" y="14"/>
                        <a:pt x="139" y="14"/>
                      </a:cubicBezTo>
                      <a:cubicBezTo>
                        <a:pt x="139" y="14"/>
                        <a:pt x="96" y="15"/>
                        <a:pt x="84" y="15"/>
                      </a:cubicBezTo>
                      <a:cubicBezTo>
                        <a:pt x="73" y="15"/>
                        <a:pt x="67" y="33"/>
                        <a:pt x="67" y="33"/>
                      </a:cubicBezTo>
                      <a:cubicBezTo>
                        <a:pt x="67" y="33"/>
                        <a:pt x="61" y="32"/>
                        <a:pt x="53" y="33"/>
                      </a:cubicBezTo>
                      <a:cubicBezTo>
                        <a:pt x="60" y="47"/>
                        <a:pt x="60" y="47"/>
                        <a:pt x="60" y="47"/>
                      </a:cubicBezTo>
                      <a:cubicBezTo>
                        <a:pt x="60" y="47"/>
                        <a:pt x="56" y="54"/>
                        <a:pt x="50" y="66"/>
                      </a:cubicBezTo>
                      <a:cubicBezTo>
                        <a:pt x="46" y="72"/>
                        <a:pt x="49" y="76"/>
                        <a:pt x="52" y="77"/>
                      </a:cubicBezTo>
                      <a:cubicBezTo>
                        <a:pt x="55" y="74"/>
                        <a:pt x="57" y="72"/>
                        <a:pt x="57" y="72"/>
                      </a:cubicBezTo>
                      <a:cubicBezTo>
                        <a:pt x="67" y="69"/>
                        <a:pt x="67" y="69"/>
                        <a:pt x="67" y="69"/>
                      </a:cubicBezTo>
                      <a:cubicBezTo>
                        <a:pt x="89" y="53"/>
                        <a:pt x="89" y="53"/>
                        <a:pt x="89" y="53"/>
                      </a:cubicBezTo>
                      <a:cubicBezTo>
                        <a:pt x="89" y="53"/>
                        <a:pt x="98" y="62"/>
                        <a:pt x="111" y="59"/>
                      </a:cubicBezTo>
                      <a:cubicBezTo>
                        <a:pt x="124" y="56"/>
                        <a:pt x="168" y="9"/>
                        <a:pt x="168" y="9"/>
                      </a:cubicBezTo>
                      <a:lnTo>
                        <a:pt x="152" y="0"/>
                      </a:lnTo>
                      <a:close/>
                      <a:moveTo>
                        <a:pt x="0" y="58"/>
                      </a:moveTo>
                      <a:cubicBezTo>
                        <a:pt x="4" y="67"/>
                        <a:pt x="4" y="67"/>
                        <a:pt x="4" y="67"/>
                      </a:cubicBezTo>
                      <a:cubicBezTo>
                        <a:pt x="15" y="58"/>
                        <a:pt x="24" y="61"/>
                        <a:pt x="24" y="61"/>
                      </a:cubicBezTo>
                      <a:cubicBezTo>
                        <a:pt x="24" y="61"/>
                        <a:pt x="24" y="54"/>
                        <a:pt x="28" y="48"/>
                      </a:cubicBezTo>
                      <a:cubicBezTo>
                        <a:pt x="11" y="47"/>
                        <a:pt x="11" y="47"/>
                        <a:pt x="11" y="47"/>
                      </a:cubicBezTo>
                      <a:lnTo>
                        <a:pt x="0" y="58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6" name="Thailand">
                  <a:extLst>
                    <a:ext uri="{FF2B5EF4-FFF2-40B4-BE49-F238E27FC236}">
                      <a16:creationId xmlns:a16="http://schemas.microsoft.com/office/drawing/2014/main" id="{C6BF1629-62BD-6289-BA96-1887A24281C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66167" y="3467887"/>
                  <a:ext cx="234991" cy="447468"/>
                </a:xfrm>
                <a:custGeom>
                  <a:avLst/>
                  <a:gdLst>
                    <a:gd name="T0" fmla="*/ 402 w 420"/>
                    <a:gd name="T1" fmla="*/ 258 h 800"/>
                    <a:gd name="T2" fmla="*/ 391 w 420"/>
                    <a:gd name="T3" fmla="*/ 238 h 800"/>
                    <a:gd name="T4" fmla="*/ 356 w 420"/>
                    <a:gd name="T5" fmla="*/ 189 h 800"/>
                    <a:gd name="T6" fmla="*/ 323 w 420"/>
                    <a:gd name="T7" fmla="*/ 138 h 800"/>
                    <a:gd name="T8" fmla="*/ 295 w 420"/>
                    <a:gd name="T9" fmla="*/ 119 h 800"/>
                    <a:gd name="T10" fmla="*/ 251 w 420"/>
                    <a:gd name="T11" fmla="*/ 136 h 800"/>
                    <a:gd name="T12" fmla="*/ 196 w 420"/>
                    <a:gd name="T13" fmla="*/ 145 h 800"/>
                    <a:gd name="T14" fmla="*/ 181 w 420"/>
                    <a:gd name="T15" fmla="*/ 115 h 800"/>
                    <a:gd name="T16" fmla="*/ 182 w 420"/>
                    <a:gd name="T17" fmla="*/ 87 h 800"/>
                    <a:gd name="T18" fmla="*/ 176 w 420"/>
                    <a:gd name="T19" fmla="*/ 51 h 800"/>
                    <a:gd name="T20" fmla="*/ 155 w 420"/>
                    <a:gd name="T21" fmla="*/ 54 h 800"/>
                    <a:gd name="T22" fmla="*/ 136 w 420"/>
                    <a:gd name="T23" fmla="*/ 15 h 800"/>
                    <a:gd name="T24" fmla="*/ 110 w 420"/>
                    <a:gd name="T25" fmla="*/ 1 h 800"/>
                    <a:gd name="T26" fmla="*/ 82 w 420"/>
                    <a:gd name="T27" fmla="*/ 21 h 800"/>
                    <a:gd name="T28" fmla="*/ 53 w 420"/>
                    <a:gd name="T29" fmla="*/ 43 h 800"/>
                    <a:gd name="T30" fmla="*/ 19 w 420"/>
                    <a:gd name="T31" fmla="*/ 64 h 800"/>
                    <a:gd name="T32" fmla="*/ 17 w 420"/>
                    <a:gd name="T33" fmla="*/ 102 h 800"/>
                    <a:gd name="T34" fmla="*/ 8 w 420"/>
                    <a:gd name="T35" fmla="*/ 120 h 800"/>
                    <a:gd name="T36" fmla="*/ 22 w 420"/>
                    <a:gd name="T37" fmla="*/ 145 h 800"/>
                    <a:gd name="T38" fmla="*/ 67 w 420"/>
                    <a:gd name="T39" fmla="*/ 188 h 800"/>
                    <a:gd name="T40" fmla="*/ 79 w 420"/>
                    <a:gd name="T41" fmla="*/ 219 h 800"/>
                    <a:gd name="T42" fmla="*/ 73 w 420"/>
                    <a:gd name="T43" fmla="*/ 236 h 800"/>
                    <a:gd name="T44" fmla="*/ 65 w 420"/>
                    <a:gd name="T45" fmla="*/ 279 h 800"/>
                    <a:gd name="T46" fmla="*/ 79 w 420"/>
                    <a:gd name="T47" fmla="*/ 326 h 800"/>
                    <a:gd name="T48" fmla="*/ 112 w 420"/>
                    <a:gd name="T49" fmla="*/ 409 h 800"/>
                    <a:gd name="T50" fmla="*/ 133 w 420"/>
                    <a:gd name="T51" fmla="*/ 450 h 800"/>
                    <a:gd name="T52" fmla="*/ 110 w 420"/>
                    <a:gd name="T53" fmla="*/ 522 h 800"/>
                    <a:gd name="T54" fmla="*/ 98 w 420"/>
                    <a:gd name="T55" fmla="*/ 567 h 800"/>
                    <a:gd name="T56" fmla="*/ 84 w 420"/>
                    <a:gd name="T57" fmla="*/ 676 h 800"/>
                    <a:gd name="T58" fmla="*/ 101 w 420"/>
                    <a:gd name="T59" fmla="*/ 653 h 800"/>
                    <a:gd name="T60" fmla="*/ 132 w 420"/>
                    <a:gd name="T61" fmla="*/ 698 h 800"/>
                    <a:gd name="T62" fmla="*/ 159 w 420"/>
                    <a:gd name="T63" fmla="*/ 743 h 800"/>
                    <a:gd name="T64" fmla="*/ 184 w 420"/>
                    <a:gd name="T65" fmla="*/ 754 h 800"/>
                    <a:gd name="T66" fmla="*/ 198 w 420"/>
                    <a:gd name="T67" fmla="*/ 749 h 800"/>
                    <a:gd name="T68" fmla="*/ 222 w 420"/>
                    <a:gd name="T69" fmla="*/ 765 h 800"/>
                    <a:gd name="T70" fmla="*/ 226 w 420"/>
                    <a:gd name="T71" fmla="*/ 791 h 800"/>
                    <a:gd name="T72" fmla="*/ 268 w 420"/>
                    <a:gd name="T73" fmla="*/ 792 h 800"/>
                    <a:gd name="T74" fmla="*/ 261 w 420"/>
                    <a:gd name="T75" fmla="*/ 755 h 800"/>
                    <a:gd name="T76" fmla="*/ 215 w 420"/>
                    <a:gd name="T77" fmla="*/ 727 h 800"/>
                    <a:gd name="T78" fmla="*/ 190 w 420"/>
                    <a:gd name="T79" fmla="*/ 705 h 800"/>
                    <a:gd name="T80" fmla="*/ 190 w 420"/>
                    <a:gd name="T81" fmla="*/ 679 h 800"/>
                    <a:gd name="T82" fmla="*/ 165 w 420"/>
                    <a:gd name="T83" fmla="*/ 635 h 800"/>
                    <a:gd name="T84" fmla="*/ 131 w 420"/>
                    <a:gd name="T85" fmla="*/ 608 h 800"/>
                    <a:gd name="T86" fmla="*/ 120 w 420"/>
                    <a:gd name="T87" fmla="*/ 524 h 800"/>
                    <a:gd name="T88" fmla="*/ 138 w 420"/>
                    <a:gd name="T89" fmla="*/ 456 h 800"/>
                    <a:gd name="T90" fmla="*/ 147 w 420"/>
                    <a:gd name="T91" fmla="*/ 396 h 800"/>
                    <a:gd name="T92" fmla="*/ 158 w 420"/>
                    <a:gd name="T93" fmla="*/ 374 h 800"/>
                    <a:gd name="T94" fmla="*/ 201 w 420"/>
                    <a:gd name="T95" fmla="*/ 381 h 800"/>
                    <a:gd name="T96" fmla="*/ 199 w 420"/>
                    <a:gd name="T97" fmla="*/ 419 h 800"/>
                    <a:gd name="T98" fmla="*/ 265 w 420"/>
                    <a:gd name="T99" fmla="*/ 457 h 800"/>
                    <a:gd name="T100" fmla="*/ 287 w 420"/>
                    <a:gd name="T101" fmla="*/ 431 h 800"/>
                    <a:gd name="T102" fmla="*/ 276 w 420"/>
                    <a:gd name="T103" fmla="*/ 402 h 800"/>
                    <a:gd name="T104" fmla="*/ 267 w 420"/>
                    <a:gd name="T105" fmla="*/ 371 h 800"/>
                    <a:gd name="T106" fmla="*/ 313 w 420"/>
                    <a:gd name="T107" fmla="*/ 327 h 800"/>
                    <a:gd name="T108" fmla="*/ 368 w 420"/>
                    <a:gd name="T109" fmla="*/ 325 h 800"/>
                    <a:gd name="T110" fmla="*/ 410 w 420"/>
                    <a:gd name="T111" fmla="*/ 316 h 8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20" h="800">
                      <a:moveTo>
                        <a:pt x="395" y="285"/>
                      </a:moveTo>
                      <a:cubicBezTo>
                        <a:pt x="393" y="281"/>
                        <a:pt x="408" y="268"/>
                        <a:pt x="402" y="258"/>
                      </a:cubicBezTo>
                      <a:cubicBezTo>
                        <a:pt x="396" y="248"/>
                        <a:pt x="393" y="255"/>
                        <a:pt x="393" y="255"/>
                      </a:cubicBezTo>
                      <a:cubicBezTo>
                        <a:pt x="393" y="255"/>
                        <a:pt x="391" y="242"/>
                        <a:pt x="391" y="238"/>
                      </a:cubicBezTo>
                      <a:cubicBezTo>
                        <a:pt x="391" y="234"/>
                        <a:pt x="373" y="227"/>
                        <a:pt x="368" y="218"/>
                      </a:cubicBezTo>
                      <a:cubicBezTo>
                        <a:pt x="363" y="209"/>
                        <a:pt x="356" y="189"/>
                        <a:pt x="356" y="189"/>
                      </a:cubicBezTo>
                      <a:cubicBezTo>
                        <a:pt x="355" y="161"/>
                        <a:pt x="355" y="161"/>
                        <a:pt x="355" y="161"/>
                      </a:cubicBezTo>
                      <a:cubicBezTo>
                        <a:pt x="355" y="161"/>
                        <a:pt x="341" y="149"/>
                        <a:pt x="323" y="138"/>
                      </a:cubicBezTo>
                      <a:cubicBezTo>
                        <a:pt x="305" y="127"/>
                        <a:pt x="318" y="121"/>
                        <a:pt x="310" y="119"/>
                      </a:cubicBezTo>
                      <a:cubicBezTo>
                        <a:pt x="302" y="117"/>
                        <a:pt x="295" y="119"/>
                        <a:pt x="295" y="119"/>
                      </a:cubicBezTo>
                      <a:cubicBezTo>
                        <a:pt x="295" y="119"/>
                        <a:pt x="282" y="110"/>
                        <a:pt x="272" y="111"/>
                      </a:cubicBezTo>
                      <a:cubicBezTo>
                        <a:pt x="262" y="112"/>
                        <a:pt x="265" y="137"/>
                        <a:pt x="251" y="136"/>
                      </a:cubicBezTo>
                      <a:cubicBezTo>
                        <a:pt x="237" y="135"/>
                        <a:pt x="223" y="124"/>
                        <a:pt x="216" y="122"/>
                      </a:cubicBezTo>
                      <a:cubicBezTo>
                        <a:pt x="209" y="120"/>
                        <a:pt x="196" y="145"/>
                        <a:pt x="196" y="145"/>
                      </a:cubicBezTo>
                      <a:cubicBezTo>
                        <a:pt x="196" y="145"/>
                        <a:pt x="177" y="161"/>
                        <a:pt x="167" y="158"/>
                      </a:cubicBezTo>
                      <a:cubicBezTo>
                        <a:pt x="157" y="155"/>
                        <a:pt x="181" y="124"/>
                        <a:pt x="181" y="115"/>
                      </a:cubicBezTo>
                      <a:cubicBezTo>
                        <a:pt x="181" y="106"/>
                        <a:pt x="168" y="107"/>
                        <a:pt x="168" y="107"/>
                      </a:cubicBezTo>
                      <a:cubicBezTo>
                        <a:pt x="168" y="107"/>
                        <a:pt x="182" y="96"/>
                        <a:pt x="182" y="87"/>
                      </a:cubicBezTo>
                      <a:cubicBezTo>
                        <a:pt x="182" y="78"/>
                        <a:pt x="174" y="71"/>
                        <a:pt x="174" y="71"/>
                      </a:cubicBezTo>
                      <a:cubicBezTo>
                        <a:pt x="174" y="71"/>
                        <a:pt x="176" y="65"/>
                        <a:pt x="176" y="51"/>
                      </a:cubicBezTo>
                      <a:cubicBezTo>
                        <a:pt x="176" y="37"/>
                        <a:pt x="153" y="46"/>
                        <a:pt x="153" y="46"/>
                      </a:cubicBezTo>
                      <a:cubicBezTo>
                        <a:pt x="155" y="54"/>
                        <a:pt x="155" y="54"/>
                        <a:pt x="155" y="54"/>
                      </a:cubicBezTo>
                      <a:cubicBezTo>
                        <a:pt x="155" y="54"/>
                        <a:pt x="142" y="54"/>
                        <a:pt x="136" y="49"/>
                      </a:cubicBezTo>
                      <a:cubicBezTo>
                        <a:pt x="130" y="44"/>
                        <a:pt x="137" y="23"/>
                        <a:pt x="136" y="15"/>
                      </a:cubicBezTo>
                      <a:cubicBezTo>
                        <a:pt x="135" y="7"/>
                        <a:pt x="125" y="12"/>
                        <a:pt x="125" y="12"/>
                      </a:cubicBezTo>
                      <a:cubicBezTo>
                        <a:pt x="125" y="12"/>
                        <a:pt x="114" y="2"/>
                        <a:pt x="110" y="1"/>
                      </a:cubicBezTo>
                      <a:cubicBezTo>
                        <a:pt x="106" y="0"/>
                        <a:pt x="87" y="6"/>
                        <a:pt x="87" y="6"/>
                      </a:cubicBezTo>
                      <a:cubicBezTo>
                        <a:pt x="82" y="21"/>
                        <a:pt x="82" y="21"/>
                        <a:pt x="82" y="21"/>
                      </a:cubicBezTo>
                      <a:cubicBezTo>
                        <a:pt x="65" y="22"/>
                        <a:pt x="65" y="22"/>
                        <a:pt x="65" y="22"/>
                      </a:cubicBezTo>
                      <a:cubicBezTo>
                        <a:pt x="65" y="22"/>
                        <a:pt x="63" y="40"/>
                        <a:pt x="53" y="43"/>
                      </a:cubicBezTo>
                      <a:cubicBezTo>
                        <a:pt x="43" y="46"/>
                        <a:pt x="34" y="35"/>
                        <a:pt x="23" y="37"/>
                      </a:cubicBezTo>
                      <a:cubicBezTo>
                        <a:pt x="12" y="39"/>
                        <a:pt x="20" y="55"/>
                        <a:pt x="19" y="64"/>
                      </a:cubicBezTo>
                      <a:cubicBezTo>
                        <a:pt x="18" y="73"/>
                        <a:pt x="8" y="74"/>
                        <a:pt x="7" y="78"/>
                      </a:cubicBezTo>
                      <a:cubicBezTo>
                        <a:pt x="6" y="82"/>
                        <a:pt x="17" y="93"/>
                        <a:pt x="17" y="102"/>
                      </a:cubicBezTo>
                      <a:cubicBezTo>
                        <a:pt x="17" y="111"/>
                        <a:pt x="6" y="105"/>
                        <a:pt x="3" y="108"/>
                      </a:cubicBezTo>
                      <a:cubicBezTo>
                        <a:pt x="0" y="111"/>
                        <a:pt x="3" y="116"/>
                        <a:pt x="8" y="120"/>
                      </a:cubicBezTo>
                      <a:cubicBezTo>
                        <a:pt x="13" y="124"/>
                        <a:pt x="26" y="130"/>
                        <a:pt x="26" y="130"/>
                      </a:cubicBezTo>
                      <a:cubicBezTo>
                        <a:pt x="22" y="145"/>
                        <a:pt x="22" y="145"/>
                        <a:pt x="22" y="145"/>
                      </a:cubicBezTo>
                      <a:cubicBezTo>
                        <a:pt x="22" y="145"/>
                        <a:pt x="27" y="148"/>
                        <a:pt x="30" y="158"/>
                      </a:cubicBezTo>
                      <a:cubicBezTo>
                        <a:pt x="33" y="168"/>
                        <a:pt x="59" y="177"/>
                        <a:pt x="67" y="188"/>
                      </a:cubicBezTo>
                      <a:cubicBezTo>
                        <a:pt x="75" y="199"/>
                        <a:pt x="61" y="194"/>
                        <a:pt x="66" y="206"/>
                      </a:cubicBezTo>
                      <a:cubicBezTo>
                        <a:pt x="71" y="218"/>
                        <a:pt x="79" y="219"/>
                        <a:pt x="79" y="219"/>
                      </a:cubicBezTo>
                      <a:cubicBezTo>
                        <a:pt x="79" y="219"/>
                        <a:pt x="85" y="211"/>
                        <a:pt x="85" y="224"/>
                      </a:cubicBezTo>
                      <a:cubicBezTo>
                        <a:pt x="85" y="237"/>
                        <a:pt x="73" y="236"/>
                        <a:pt x="73" y="236"/>
                      </a:cubicBezTo>
                      <a:cubicBezTo>
                        <a:pt x="73" y="236"/>
                        <a:pt x="76" y="247"/>
                        <a:pt x="76" y="253"/>
                      </a:cubicBezTo>
                      <a:cubicBezTo>
                        <a:pt x="76" y="259"/>
                        <a:pt x="75" y="269"/>
                        <a:pt x="65" y="279"/>
                      </a:cubicBezTo>
                      <a:cubicBezTo>
                        <a:pt x="55" y="289"/>
                        <a:pt x="63" y="302"/>
                        <a:pt x="63" y="302"/>
                      </a:cubicBezTo>
                      <a:cubicBezTo>
                        <a:pt x="63" y="302"/>
                        <a:pt x="75" y="316"/>
                        <a:pt x="79" y="326"/>
                      </a:cubicBezTo>
                      <a:cubicBezTo>
                        <a:pt x="83" y="336"/>
                        <a:pt x="105" y="349"/>
                        <a:pt x="109" y="364"/>
                      </a:cubicBezTo>
                      <a:cubicBezTo>
                        <a:pt x="113" y="379"/>
                        <a:pt x="108" y="403"/>
                        <a:pt x="112" y="409"/>
                      </a:cubicBezTo>
                      <a:cubicBezTo>
                        <a:pt x="116" y="415"/>
                        <a:pt x="131" y="427"/>
                        <a:pt x="131" y="427"/>
                      </a:cubicBezTo>
                      <a:cubicBezTo>
                        <a:pt x="131" y="427"/>
                        <a:pt x="129" y="437"/>
                        <a:pt x="133" y="450"/>
                      </a:cubicBezTo>
                      <a:cubicBezTo>
                        <a:pt x="137" y="463"/>
                        <a:pt x="130" y="488"/>
                        <a:pt x="127" y="498"/>
                      </a:cubicBezTo>
                      <a:cubicBezTo>
                        <a:pt x="124" y="508"/>
                        <a:pt x="119" y="515"/>
                        <a:pt x="110" y="522"/>
                      </a:cubicBezTo>
                      <a:cubicBezTo>
                        <a:pt x="101" y="529"/>
                        <a:pt x="109" y="536"/>
                        <a:pt x="108" y="545"/>
                      </a:cubicBezTo>
                      <a:cubicBezTo>
                        <a:pt x="107" y="554"/>
                        <a:pt x="98" y="567"/>
                        <a:pt x="98" y="567"/>
                      </a:cubicBezTo>
                      <a:cubicBezTo>
                        <a:pt x="98" y="567"/>
                        <a:pt x="86" y="599"/>
                        <a:pt x="84" y="615"/>
                      </a:cubicBezTo>
                      <a:cubicBezTo>
                        <a:pt x="82" y="631"/>
                        <a:pt x="84" y="676"/>
                        <a:pt x="84" y="676"/>
                      </a:cubicBezTo>
                      <a:cubicBezTo>
                        <a:pt x="84" y="676"/>
                        <a:pt x="94" y="686"/>
                        <a:pt x="96" y="676"/>
                      </a:cubicBezTo>
                      <a:cubicBezTo>
                        <a:pt x="97" y="666"/>
                        <a:pt x="97" y="642"/>
                        <a:pt x="101" y="653"/>
                      </a:cubicBezTo>
                      <a:cubicBezTo>
                        <a:pt x="104" y="665"/>
                        <a:pt x="96" y="665"/>
                        <a:pt x="110" y="667"/>
                      </a:cubicBezTo>
                      <a:cubicBezTo>
                        <a:pt x="124" y="668"/>
                        <a:pt x="132" y="698"/>
                        <a:pt x="132" y="698"/>
                      </a:cubicBezTo>
                      <a:cubicBezTo>
                        <a:pt x="155" y="718"/>
                        <a:pt x="155" y="718"/>
                        <a:pt x="155" y="718"/>
                      </a:cubicBezTo>
                      <a:cubicBezTo>
                        <a:pt x="155" y="718"/>
                        <a:pt x="150" y="729"/>
                        <a:pt x="159" y="743"/>
                      </a:cubicBezTo>
                      <a:cubicBezTo>
                        <a:pt x="165" y="754"/>
                        <a:pt x="173" y="762"/>
                        <a:pt x="177" y="766"/>
                      </a:cubicBezTo>
                      <a:cubicBezTo>
                        <a:pt x="181" y="762"/>
                        <a:pt x="184" y="758"/>
                        <a:pt x="184" y="754"/>
                      </a:cubicBezTo>
                      <a:cubicBezTo>
                        <a:pt x="183" y="745"/>
                        <a:pt x="182" y="739"/>
                        <a:pt x="189" y="738"/>
                      </a:cubicBezTo>
                      <a:cubicBezTo>
                        <a:pt x="196" y="737"/>
                        <a:pt x="198" y="749"/>
                        <a:pt x="198" y="749"/>
                      </a:cubicBezTo>
                      <a:cubicBezTo>
                        <a:pt x="198" y="749"/>
                        <a:pt x="209" y="749"/>
                        <a:pt x="216" y="753"/>
                      </a:cubicBezTo>
                      <a:cubicBezTo>
                        <a:pt x="223" y="757"/>
                        <a:pt x="222" y="765"/>
                        <a:pt x="222" y="765"/>
                      </a:cubicBezTo>
                      <a:cubicBezTo>
                        <a:pt x="222" y="765"/>
                        <a:pt x="229" y="763"/>
                        <a:pt x="229" y="769"/>
                      </a:cubicBezTo>
                      <a:cubicBezTo>
                        <a:pt x="229" y="775"/>
                        <a:pt x="213" y="787"/>
                        <a:pt x="226" y="791"/>
                      </a:cubicBezTo>
                      <a:cubicBezTo>
                        <a:pt x="239" y="795"/>
                        <a:pt x="238" y="785"/>
                        <a:pt x="249" y="784"/>
                      </a:cubicBezTo>
                      <a:cubicBezTo>
                        <a:pt x="260" y="783"/>
                        <a:pt x="262" y="800"/>
                        <a:pt x="268" y="792"/>
                      </a:cubicBezTo>
                      <a:cubicBezTo>
                        <a:pt x="272" y="787"/>
                        <a:pt x="277" y="776"/>
                        <a:pt x="280" y="768"/>
                      </a:cubicBezTo>
                      <a:cubicBezTo>
                        <a:pt x="271" y="761"/>
                        <a:pt x="261" y="755"/>
                        <a:pt x="261" y="755"/>
                      </a:cubicBezTo>
                      <a:cubicBezTo>
                        <a:pt x="261" y="755"/>
                        <a:pt x="256" y="731"/>
                        <a:pt x="253" y="721"/>
                      </a:cubicBezTo>
                      <a:cubicBezTo>
                        <a:pt x="250" y="711"/>
                        <a:pt x="223" y="731"/>
                        <a:pt x="215" y="727"/>
                      </a:cubicBezTo>
                      <a:cubicBezTo>
                        <a:pt x="208" y="723"/>
                        <a:pt x="201" y="686"/>
                        <a:pt x="196" y="689"/>
                      </a:cubicBezTo>
                      <a:cubicBezTo>
                        <a:pt x="191" y="693"/>
                        <a:pt x="196" y="704"/>
                        <a:pt x="190" y="705"/>
                      </a:cubicBezTo>
                      <a:cubicBezTo>
                        <a:pt x="184" y="706"/>
                        <a:pt x="169" y="683"/>
                        <a:pt x="177" y="675"/>
                      </a:cubicBezTo>
                      <a:cubicBezTo>
                        <a:pt x="185" y="667"/>
                        <a:pt x="182" y="682"/>
                        <a:pt x="190" y="679"/>
                      </a:cubicBezTo>
                      <a:cubicBezTo>
                        <a:pt x="198" y="676"/>
                        <a:pt x="180" y="645"/>
                        <a:pt x="178" y="639"/>
                      </a:cubicBezTo>
                      <a:cubicBezTo>
                        <a:pt x="176" y="633"/>
                        <a:pt x="165" y="635"/>
                        <a:pt x="165" y="635"/>
                      </a:cubicBezTo>
                      <a:cubicBezTo>
                        <a:pt x="166" y="598"/>
                        <a:pt x="166" y="598"/>
                        <a:pt x="166" y="598"/>
                      </a:cubicBezTo>
                      <a:cubicBezTo>
                        <a:pt x="131" y="608"/>
                        <a:pt x="131" y="608"/>
                        <a:pt x="131" y="608"/>
                      </a:cubicBezTo>
                      <a:cubicBezTo>
                        <a:pt x="131" y="608"/>
                        <a:pt x="127" y="549"/>
                        <a:pt x="126" y="542"/>
                      </a:cubicBezTo>
                      <a:cubicBezTo>
                        <a:pt x="125" y="534"/>
                        <a:pt x="120" y="524"/>
                        <a:pt x="120" y="524"/>
                      </a:cubicBezTo>
                      <a:cubicBezTo>
                        <a:pt x="120" y="524"/>
                        <a:pt x="136" y="516"/>
                        <a:pt x="137" y="498"/>
                      </a:cubicBezTo>
                      <a:cubicBezTo>
                        <a:pt x="138" y="479"/>
                        <a:pt x="138" y="456"/>
                        <a:pt x="138" y="456"/>
                      </a:cubicBezTo>
                      <a:cubicBezTo>
                        <a:pt x="138" y="456"/>
                        <a:pt x="152" y="449"/>
                        <a:pt x="153" y="425"/>
                      </a:cubicBezTo>
                      <a:cubicBezTo>
                        <a:pt x="154" y="400"/>
                        <a:pt x="147" y="396"/>
                        <a:pt x="147" y="396"/>
                      </a:cubicBezTo>
                      <a:cubicBezTo>
                        <a:pt x="151" y="374"/>
                        <a:pt x="151" y="374"/>
                        <a:pt x="151" y="374"/>
                      </a:cubicBezTo>
                      <a:cubicBezTo>
                        <a:pt x="158" y="374"/>
                        <a:pt x="158" y="374"/>
                        <a:pt x="158" y="374"/>
                      </a:cubicBezTo>
                      <a:cubicBezTo>
                        <a:pt x="158" y="374"/>
                        <a:pt x="159" y="366"/>
                        <a:pt x="171" y="367"/>
                      </a:cubicBezTo>
                      <a:cubicBezTo>
                        <a:pt x="182" y="367"/>
                        <a:pt x="201" y="381"/>
                        <a:pt x="201" y="381"/>
                      </a:cubicBezTo>
                      <a:cubicBezTo>
                        <a:pt x="193" y="387"/>
                        <a:pt x="193" y="387"/>
                        <a:pt x="193" y="387"/>
                      </a:cubicBezTo>
                      <a:cubicBezTo>
                        <a:pt x="193" y="387"/>
                        <a:pt x="188" y="419"/>
                        <a:pt x="199" y="419"/>
                      </a:cubicBezTo>
                      <a:cubicBezTo>
                        <a:pt x="211" y="420"/>
                        <a:pt x="247" y="403"/>
                        <a:pt x="247" y="403"/>
                      </a:cubicBezTo>
                      <a:cubicBezTo>
                        <a:pt x="265" y="457"/>
                        <a:pt x="265" y="457"/>
                        <a:pt x="265" y="457"/>
                      </a:cubicBezTo>
                      <a:cubicBezTo>
                        <a:pt x="265" y="457"/>
                        <a:pt x="273" y="445"/>
                        <a:pt x="284" y="450"/>
                      </a:cubicBezTo>
                      <a:cubicBezTo>
                        <a:pt x="287" y="431"/>
                        <a:pt x="287" y="431"/>
                        <a:pt x="287" y="431"/>
                      </a:cubicBezTo>
                      <a:cubicBezTo>
                        <a:pt x="276" y="421"/>
                        <a:pt x="276" y="421"/>
                        <a:pt x="276" y="421"/>
                      </a:cubicBezTo>
                      <a:cubicBezTo>
                        <a:pt x="276" y="402"/>
                        <a:pt x="276" y="402"/>
                        <a:pt x="276" y="402"/>
                      </a:cubicBezTo>
                      <a:cubicBezTo>
                        <a:pt x="269" y="396"/>
                        <a:pt x="269" y="396"/>
                        <a:pt x="269" y="396"/>
                      </a:cubicBezTo>
                      <a:cubicBezTo>
                        <a:pt x="267" y="371"/>
                        <a:pt x="267" y="371"/>
                        <a:pt x="267" y="371"/>
                      </a:cubicBezTo>
                      <a:cubicBezTo>
                        <a:pt x="286" y="351"/>
                        <a:pt x="286" y="351"/>
                        <a:pt x="286" y="351"/>
                      </a:cubicBezTo>
                      <a:cubicBezTo>
                        <a:pt x="286" y="351"/>
                        <a:pt x="286" y="332"/>
                        <a:pt x="313" y="327"/>
                      </a:cubicBezTo>
                      <a:cubicBezTo>
                        <a:pt x="340" y="322"/>
                        <a:pt x="341" y="332"/>
                        <a:pt x="341" y="332"/>
                      </a:cubicBezTo>
                      <a:cubicBezTo>
                        <a:pt x="341" y="332"/>
                        <a:pt x="363" y="326"/>
                        <a:pt x="368" y="325"/>
                      </a:cubicBezTo>
                      <a:cubicBezTo>
                        <a:pt x="373" y="324"/>
                        <a:pt x="390" y="333"/>
                        <a:pt x="390" y="333"/>
                      </a:cubicBezTo>
                      <a:cubicBezTo>
                        <a:pt x="390" y="333"/>
                        <a:pt x="400" y="328"/>
                        <a:pt x="410" y="316"/>
                      </a:cubicBezTo>
                      <a:cubicBezTo>
                        <a:pt x="420" y="304"/>
                        <a:pt x="397" y="289"/>
                        <a:pt x="395" y="285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7" name="Tajikistan">
                  <a:extLst>
                    <a:ext uri="{FF2B5EF4-FFF2-40B4-BE49-F238E27FC236}">
                      <a16:creationId xmlns:a16="http://schemas.microsoft.com/office/drawing/2014/main" id="{A0879003-76A5-863B-F795-20A1F0FFE32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289714" y="2849049"/>
                  <a:ext cx="207998" cy="133288"/>
                </a:xfrm>
                <a:custGeom>
                  <a:avLst/>
                  <a:gdLst>
                    <a:gd name="T0" fmla="*/ 345 w 372"/>
                    <a:gd name="T1" fmla="*/ 142 h 238"/>
                    <a:gd name="T2" fmla="*/ 291 w 372"/>
                    <a:gd name="T3" fmla="*/ 132 h 238"/>
                    <a:gd name="T4" fmla="*/ 275 w 372"/>
                    <a:gd name="T5" fmla="*/ 99 h 238"/>
                    <a:gd name="T6" fmla="*/ 266 w 372"/>
                    <a:gd name="T7" fmla="*/ 79 h 238"/>
                    <a:gd name="T8" fmla="*/ 230 w 372"/>
                    <a:gd name="T9" fmla="*/ 87 h 238"/>
                    <a:gd name="T10" fmla="*/ 210 w 372"/>
                    <a:gd name="T11" fmla="*/ 90 h 238"/>
                    <a:gd name="T12" fmla="*/ 176 w 372"/>
                    <a:gd name="T13" fmla="*/ 76 h 238"/>
                    <a:gd name="T14" fmla="*/ 142 w 372"/>
                    <a:gd name="T15" fmla="*/ 77 h 238"/>
                    <a:gd name="T16" fmla="*/ 108 w 372"/>
                    <a:gd name="T17" fmla="*/ 75 h 238"/>
                    <a:gd name="T18" fmla="*/ 76 w 372"/>
                    <a:gd name="T19" fmla="*/ 62 h 238"/>
                    <a:gd name="T20" fmla="*/ 101 w 372"/>
                    <a:gd name="T21" fmla="*/ 43 h 238"/>
                    <a:gd name="T22" fmla="*/ 141 w 372"/>
                    <a:gd name="T23" fmla="*/ 45 h 238"/>
                    <a:gd name="T24" fmla="*/ 133 w 372"/>
                    <a:gd name="T25" fmla="*/ 12 h 238"/>
                    <a:gd name="T26" fmla="*/ 91 w 372"/>
                    <a:gd name="T27" fmla="*/ 21 h 238"/>
                    <a:gd name="T28" fmla="*/ 65 w 372"/>
                    <a:gd name="T29" fmla="*/ 25 h 238"/>
                    <a:gd name="T30" fmla="*/ 46 w 372"/>
                    <a:gd name="T31" fmla="*/ 43 h 238"/>
                    <a:gd name="T32" fmla="*/ 49 w 372"/>
                    <a:gd name="T33" fmla="*/ 66 h 238"/>
                    <a:gd name="T34" fmla="*/ 6 w 372"/>
                    <a:gd name="T35" fmla="*/ 82 h 238"/>
                    <a:gd name="T36" fmla="*/ 14 w 372"/>
                    <a:gd name="T37" fmla="*/ 100 h 238"/>
                    <a:gd name="T38" fmla="*/ 42 w 372"/>
                    <a:gd name="T39" fmla="*/ 114 h 238"/>
                    <a:gd name="T40" fmla="*/ 61 w 372"/>
                    <a:gd name="T41" fmla="*/ 158 h 238"/>
                    <a:gd name="T42" fmla="*/ 42 w 372"/>
                    <a:gd name="T43" fmla="*/ 206 h 238"/>
                    <a:gd name="T44" fmla="*/ 89 w 372"/>
                    <a:gd name="T45" fmla="*/ 199 h 238"/>
                    <a:gd name="T46" fmla="*/ 111 w 372"/>
                    <a:gd name="T47" fmla="*/ 189 h 238"/>
                    <a:gd name="T48" fmla="*/ 145 w 372"/>
                    <a:gd name="T49" fmla="*/ 189 h 238"/>
                    <a:gd name="T50" fmla="*/ 142 w 372"/>
                    <a:gd name="T51" fmla="*/ 168 h 238"/>
                    <a:gd name="T52" fmla="*/ 164 w 372"/>
                    <a:gd name="T53" fmla="*/ 135 h 238"/>
                    <a:gd name="T54" fmla="*/ 184 w 372"/>
                    <a:gd name="T55" fmla="*/ 168 h 238"/>
                    <a:gd name="T56" fmla="*/ 205 w 372"/>
                    <a:gd name="T57" fmla="*/ 210 h 238"/>
                    <a:gd name="T58" fmla="*/ 249 w 372"/>
                    <a:gd name="T59" fmla="*/ 216 h 238"/>
                    <a:gd name="T60" fmla="*/ 273 w 372"/>
                    <a:gd name="T61" fmla="*/ 197 h 238"/>
                    <a:gd name="T62" fmla="*/ 306 w 372"/>
                    <a:gd name="T63" fmla="*/ 202 h 238"/>
                    <a:gd name="T64" fmla="*/ 343 w 372"/>
                    <a:gd name="T65" fmla="*/ 194 h 238"/>
                    <a:gd name="T66" fmla="*/ 364 w 372"/>
                    <a:gd name="T67" fmla="*/ 197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72" h="238">
                      <a:moveTo>
                        <a:pt x="353" y="181"/>
                      </a:moveTo>
                      <a:cubicBezTo>
                        <a:pt x="346" y="174"/>
                        <a:pt x="345" y="152"/>
                        <a:pt x="345" y="142"/>
                      </a:cubicBezTo>
                      <a:cubicBezTo>
                        <a:pt x="345" y="132"/>
                        <a:pt x="333" y="129"/>
                        <a:pt x="319" y="125"/>
                      </a:cubicBezTo>
                      <a:cubicBezTo>
                        <a:pt x="305" y="121"/>
                        <a:pt x="301" y="136"/>
                        <a:pt x="291" y="132"/>
                      </a:cubicBezTo>
                      <a:cubicBezTo>
                        <a:pt x="281" y="128"/>
                        <a:pt x="289" y="110"/>
                        <a:pt x="289" y="103"/>
                      </a:cubicBezTo>
                      <a:cubicBezTo>
                        <a:pt x="289" y="96"/>
                        <a:pt x="275" y="99"/>
                        <a:pt x="275" y="99"/>
                      </a:cubicBezTo>
                      <a:cubicBezTo>
                        <a:pt x="275" y="82"/>
                        <a:pt x="275" y="82"/>
                        <a:pt x="275" y="82"/>
                      </a:cubicBezTo>
                      <a:cubicBezTo>
                        <a:pt x="266" y="79"/>
                        <a:pt x="266" y="79"/>
                        <a:pt x="266" y="79"/>
                      </a:cubicBezTo>
                      <a:cubicBezTo>
                        <a:pt x="258" y="88"/>
                        <a:pt x="258" y="88"/>
                        <a:pt x="258" y="88"/>
                      </a:cubicBezTo>
                      <a:cubicBezTo>
                        <a:pt x="230" y="87"/>
                        <a:pt x="230" y="87"/>
                        <a:pt x="230" y="87"/>
                      </a:cubicBezTo>
                      <a:cubicBezTo>
                        <a:pt x="230" y="87"/>
                        <a:pt x="226" y="90"/>
                        <a:pt x="216" y="93"/>
                      </a:cubicBezTo>
                      <a:cubicBezTo>
                        <a:pt x="206" y="96"/>
                        <a:pt x="210" y="90"/>
                        <a:pt x="210" y="90"/>
                      </a:cubicBezTo>
                      <a:cubicBezTo>
                        <a:pt x="210" y="90"/>
                        <a:pt x="198" y="93"/>
                        <a:pt x="195" y="93"/>
                      </a:cubicBezTo>
                      <a:cubicBezTo>
                        <a:pt x="192" y="93"/>
                        <a:pt x="181" y="75"/>
                        <a:pt x="176" y="76"/>
                      </a:cubicBezTo>
                      <a:cubicBezTo>
                        <a:pt x="171" y="77"/>
                        <a:pt x="160" y="85"/>
                        <a:pt x="154" y="86"/>
                      </a:cubicBezTo>
                      <a:cubicBezTo>
                        <a:pt x="148" y="87"/>
                        <a:pt x="142" y="77"/>
                        <a:pt x="142" y="77"/>
                      </a:cubicBezTo>
                      <a:cubicBezTo>
                        <a:pt x="142" y="77"/>
                        <a:pt x="135" y="76"/>
                        <a:pt x="130" y="78"/>
                      </a:cubicBezTo>
                      <a:cubicBezTo>
                        <a:pt x="125" y="80"/>
                        <a:pt x="108" y="75"/>
                        <a:pt x="108" y="75"/>
                      </a:cubicBezTo>
                      <a:cubicBezTo>
                        <a:pt x="108" y="75"/>
                        <a:pt x="93" y="80"/>
                        <a:pt x="86" y="81"/>
                      </a:cubicBezTo>
                      <a:cubicBezTo>
                        <a:pt x="79" y="82"/>
                        <a:pt x="76" y="62"/>
                        <a:pt x="76" y="62"/>
                      </a:cubicBezTo>
                      <a:cubicBezTo>
                        <a:pt x="85" y="59"/>
                        <a:pt x="85" y="59"/>
                        <a:pt x="85" y="59"/>
                      </a:cubicBezTo>
                      <a:cubicBezTo>
                        <a:pt x="85" y="59"/>
                        <a:pt x="88" y="44"/>
                        <a:pt x="101" y="43"/>
                      </a:cubicBezTo>
                      <a:cubicBezTo>
                        <a:pt x="114" y="42"/>
                        <a:pt x="124" y="52"/>
                        <a:pt x="131" y="56"/>
                      </a:cubicBezTo>
                      <a:cubicBezTo>
                        <a:pt x="138" y="60"/>
                        <a:pt x="140" y="49"/>
                        <a:pt x="141" y="45"/>
                      </a:cubicBezTo>
                      <a:cubicBezTo>
                        <a:pt x="142" y="41"/>
                        <a:pt x="117" y="33"/>
                        <a:pt x="117" y="33"/>
                      </a:cubicBezTo>
                      <a:cubicBezTo>
                        <a:pt x="133" y="12"/>
                        <a:pt x="133" y="12"/>
                        <a:pt x="133" y="12"/>
                      </a:cubicBezTo>
                      <a:cubicBezTo>
                        <a:pt x="133" y="12"/>
                        <a:pt x="118" y="0"/>
                        <a:pt x="114" y="2"/>
                      </a:cubicBezTo>
                      <a:cubicBezTo>
                        <a:pt x="110" y="4"/>
                        <a:pt x="99" y="16"/>
                        <a:pt x="91" y="21"/>
                      </a:cubicBezTo>
                      <a:cubicBezTo>
                        <a:pt x="83" y="26"/>
                        <a:pt x="80" y="12"/>
                        <a:pt x="74" y="12"/>
                      </a:cubicBezTo>
                      <a:cubicBezTo>
                        <a:pt x="68" y="12"/>
                        <a:pt x="66" y="21"/>
                        <a:pt x="65" y="25"/>
                      </a:cubicBezTo>
                      <a:cubicBezTo>
                        <a:pt x="64" y="29"/>
                        <a:pt x="77" y="36"/>
                        <a:pt x="71" y="42"/>
                      </a:cubicBezTo>
                      <a:cubicBezTo>
                        <a:pt x="65" y="48"/>
                        <a:pt x="46" y="43"/>
                        <a:pt x="46" y="43"/>
                      </a:cubicBezTo>
                      <a:cubicBezTo>
                        <a:pt x="59" y="57"/>
                        <a:pt x="59" y="57"/>
                        <a:pt x="59" y="57"/>
                      </a:cubicBezTo>
                      <a:cubicBezTo>
                        <a:pt x="49" y="66"/>
                        <a:pt x="49" y="66"/>
                        <a:pt x="49" y="66"/>
                      </a:cubicBezTo>
                      <a:cubicBezTo>
                        <a:pt x="49" y="66"/>
                        <a:pt x="61" y="71"/>
                        <a:pt x="46" y="80"/>
                      </a:cubicBezTo>
                      <a:cubicBezTo>
                        <a:pt x="31" y="89"/>
                        <a:pt x="12" y="77"/>
                        <a:pt x="6" y="82"/>
                      </a:cubicBezTo>
                      <a:cubicBezTo>
                        <a:pt x="0" y="87"/>
                        <a:pt x="0" y="97"/>
                        <a:pt x="0" y="97"/>
                      </a:cubicBezTo>
                      <a:cubicBezTo>
                        <a:pt x="14" y="100"/>
                        <a:pt x="14" y="100"/>
                        <a:pt x="14" y="100"/>
                      </a:cubicBezTo>
                      <a:cubicBezTo>
                        <a:pt x="21" y="108"/>
                        <a:pt x="21" y="108"/>
                        <a:pt x="21" y="108"/>
                      </a:cubicBezTo>
                      <a:cubicBezTo>
                        <a:pt x="21" y="108"/>
                        <a:pt x="37" y="109"/>
                        <a:pt x="42" y="114"/>
                      </a:cubicBezTo>
                      <a:cubicBezTo>
                        <a:pt x="47" y="119"/>
                        <a:pt x="36" y="128"/>
                        <a:pt x="42" y="138"/>
                      </a:cubicBezTo>
                      <a:cubicBezTo>
                        <a:pt x="48" y="148"/>
                        <a:pt x="61" y="147"/>
                        <a:pt x="61" y="158"/>
                      </a:cubicBezTo>
                      <a:cubicBezTo>
                        <a:pt x="61" y="169"/>
                        <a:pt x="51" y="179"/>
                        <a:pt x="44" y="187"/>
                      </a:cubicBezTo>
                      <a:cubicBezTo>
                        <a:pt x="40" y="191"/>
                        <a:pt x="41" y="200"/>
                        <a:pt x="42" y="206"/>
                      </a:cubicBezTo>
                      <a:cubicBezTo>
                        <a:pt x="48" y="211"/>
                        <a:pt x="56" y="217"/>
                        <a:pt x="58" y="218"/>
                      </a:cubicBezTo>
                      <a:cubicBezTo>
                        <a:pt x="61" y="219"/>
                        <a:pt x="86" y="199"/>
                        <a:pt x="89" y="199"/>
                      </a:cubicBezTo>
                      <a:cubicBezTo>
                        <a:pt x="92" y="199"/>
                        <a:pt x="103" y="216"/>
                        <a:pt x="107" y="214"/>
                      </a:cubicBezTo>
                      <a:cubicBezTo>
                        <a:pt x="111" y="212"/>
                        <a:pt x="106" y="194"/>
                        <a:pt x="111" y="189"/>
                      </a:cubicBezTo>
                      <a:cubicBezTo>
                        <a:pt x="116" y="184"/>
                        <a:pt x="138" y="183"/>
                        <a:pt x="138" y="183"/>
                      </a:cubicBezTo>
                      <a:cubicBezTo>
                        <a:pt x="145" y="189"/>
                        <a:pt x="145" y="189"/>
                        <a:pt x="145" y="189"/>
                      </a:cubicBezTo>
                      <a:cubicBezTo>
                        <a:pt x="150" y="175"/>
                        <a:pt x="150" y="175"/>
                        <a:pt x="150" y="175"/>
                      </a:cubicBezTo>
                      <a:cubicBezTo>
                        <a:pt x="150" y="175"/>
                        <a:pt x="142" y="175"/>
                        <a:pt x="142" y="168"/>
                      </a:cubicBezTo>
                      <a:cubicBezTo>
                        <a:pt x="142" y="161"/>
                        <a:pt x="156" y="158"/>
                        <a:pt x="156" y="154"/>
                      </a:cubicBezTo>
                      <a:cubicBezTo>
                        <a:pt x="156" y="150"/>
                        <a:pt x="155" y="135"/>
                        <a:pt x="164" y="135"/>
                      </a:cubicBezTo>
                      <a:cubicBezTo>
                        <a:pt x="173" y="135"/>
                        <a:pt x="184" y="144"/>
                        <a:pt x="184" y="149"/>
                      </a:cubicBezTo>
                      <a:cubicBezTo>
                        <a:pt x="184" y="154"/>
                        <a:pt x="184" y="168"/>
                        <a:pt x="184" y="168"/>
                      </a:cubicBezTo>
                      <a:cubicBezTo>
                        <a:pt x="198" y="168"/>
                        <a:pt x="198" y="168"/>
                        <a:pt x="198" y="168"/>
                      </a:cubicBezTo>
                      <a:cubicBezTo>
                        <a:pt x="205" y="210"/>
                        <a:pt x="205" y="210"/>
                        <a:pt x="205" y="210"/>
                      </a:cubicBezTo>
                      <a:cubicBezTo>
                        <a:pt x="205" y="210"/>
                        <a:pt x="221" y="238"/>
                        <a:pt x="228" y="235"/>
                      </a:cubicBezTo>
                      <a:cubicBezTo>
                        <a:pt x="235" y="232"/>
                        <a:pt x="249" y="216"/>
                        <a:pt x="249" y="216"/>
                      </a:cubicBezTo>
                      <a:cubicBezTo>
                        <a:pt x="259" y="216"/>
                        <a:pt x="259" y="216"/>
                        <a:pt x="259" y="216"/>
                      </a:cubicBezTo>
                      <a:cubicBezTo>
                        <a:pt x="259" y="216"/>
                        <a:pt x="266" y="205"/>
                        <a:pt x="273" y="197"/>
                      </a:cubicBezTo>
                      <a:cubicBezTo>
                        <a:pt x="280" y="189"/>
                        <a:pt x="304" y="192"/>
                        <a:pt x="304" y="192"/>
                      </a:cubicBezTo>
                      <a:cubicBezTo>
                        <a:pt x="306" y="202"/>
                        <a:pt x="306" y="202"/>
                        <a:pt x="306" y="202"/>
                      </a:cubicBezTo>
                      <a:cubicBezTo>
                        <a:pt x="330" y="194"/>
                        <a:pt x="330" y="194"/>
                        <a:pt x="330" y="194"/>
                      </a:cubicBezTo>
                      <a:cubicBezTo>
                        <a:pt x="343" y="194"/>
                        <a:pt x="343" y="194"/>
                        <a:pt x="343" y="194"/>
                      </a:cubicBezTo>
                      <a:cubicBezTo>
                        <a:pt x="350" y="199"/>
                        <a:pt x="350" y="199"/>
                        <a:pt x="350" y="199"/>
                      </a:cubicBezTo>
                      <a:cubicBezTo>
                        <a:pt x="355" y="199"/>
                        <a:pt x="361" y="199"/>
                        <a:pt x="364" y="197"/>
                      </a:cubicBezTo>
                      <a:cubicBezTo>
                        <a:pt x="372" y="191"/>
                        <a:pt x="360" y="188"/>
                        <a:pt x="353" y="18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8" name="Taiwan">
                  <a:extLst>
                    <a:ext uri="{FF2B5EF4-FFF2-40B4-BE49-F238E27FC236}">
                      <a16:creationId xmlns:a16="http://schemas.microsoft.com/office/drawing/2014/main" id="{CEA06552-2B70-3918-5E7D-D187C2191A8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728239" y="3320318"/>
                  <a:ext cx="47633" cy="101553"/>
                </a:xfrm>
                <a:custGeom>
                  <a:avLst/>
                  <a:gdLst>
                    <a:gd name="T0" fmla="*/ 62 w 85"/>
                    <a:gd name="T1" fmla="*/ 181 h 181"/>
                    <a:gd name="T2" fmla="*/ 62 w 85"/>
                    <a:gd name="T3" fmla="*/ 148 h 181"/>
                    <a:gd name="T4" fmla="*/ 75 w 85"/>
                    <a:gd name="T5" fmla="*/ 118 h 181"/>
                    <a:gd name="T6" fmla="*/ 75 w 85"/>
                    <a:gd name="T7" fmla="*/ 68 h 181"/>
                    <a:gd name="T8" fmla="*/ 84 w 85"/>
                    <a:gd name="T9" fmla="*/ 43 h 181"/>
                    <a:gd name="T10" fmla="*/ 85 w 85"/>
                    <a:gd name="T11" fmla="*/ 17 h 181"/>
                    <a:gd name="T12" fmla="*/ 56 w 85"/>
                    <a:gd name="T13" fmla="*/ 0 h 181"/>
                    <a:gd name="T14" fmla="*/ 39 w 85"/>
                    <a:gd name="T15" fmla="*/ 20 h 181"/>
                    <a:gd name="T16" fmla="*/ 8 w 85"/>
                    <a:gd name="T17" fmla="*/ 114 h 181"/>
                    <a:gd name="T18" fmla="*/ 34 w 85"/>
                    <a:gd name="T19" fmla="*/ 147 h 181"/>
                    <a:gd name="T20" fmla="*/ 62 w 85"/>
                    <a:gd name="T21" fmla="*/ 18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" h="181">
                      <a:moveTo>
                        <a:pt x="62" y="181"/>
                      </a:moveTo>
                      <a:cubicBezTo>
                        <a:pt x="62" y="148"/>
                        <a:pt x="62" y="148"/>
                        <a:pt x="62" y="148"/>
                      </a:cubicBezTo>
                      <a:cubicBezTo>
                        <a:pt x="62" y="148"/>
                        <a:pt x="75" y="139"/>
                        <a:pt x="75" y="118"/>
                      </a:cubicBezTo>
                      <a:cubicBezTo>
                        <a:pt x="75" y="97"/>
                        <a:pt x="75" y="68"/>
                        <a:pt x="75" y="68"/>
                      </a:cubicBezTo>
                      <a:cubicBezTo>
                        <a:pt x="75" y="68"/>
                        <a:pt x="85" y="55"/>
                        <a:pt x="84" y="43"/>
                      </a:cubicBezTo>
                      <a:cubicBezTo>
                        <a:pt x="83" y="31"/>
                        <a:pt x="85" y="17"/>
                        <a:pt x="85" y="17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39" y="20"/>
                        <a:pt x="39" y="20"/>
                        <a:pt x="39" y="20"/>
                      </a:cubicBezTo>
                      <a:cubicBezTo>
                        <a:pt x="39" y="20"/>
                        <a:pt x="0" y="102"/>
                        <a:pt x="8" y="114"/>
                      </a:cubicBezTo>
                      <a:cubicBezTo>
                        <a:pt x="16" y="126"/>
                        <a:pt x="34" y="147"/>
                        <a:pt x="34" y="147"/>
                      </a:cubicBezTo>
                      <a:cubicBezTo>
                        <a:pt x="34" y="147"/>
                        <a:pt x="47" y="181"/>
                        <a:pt x="62" y="18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79" name="Syria">
                  <a:extLst>
                    <a:ext uri="{FF2B5EF4-FFF2-40B4-BE49-F238E27FC236}">
                      <a16:creationId xmlns:a16="http://schemas.microsoft.com/office/drawing/2014/main" id="{454C09F9-1645-142F-E1B6-7C7D163C3A8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18056" y="2958536"/>
                  <a:ext cx="166716" cy="153917"/>
                </a:xfrm>
                <a:custGeom>
                  <a:avLst/>
                  <a:gdLst>
                    <a:gd name="T0" fmla="*/ 281 w 297"/>
                    <a:gd name="T1" fmla="*/ 39 h 275"/>
                    <a:gd name="T2" fmla="*/ 297 w 297"/>
                    <a:gd name="T3" fmla="*/ 19 h 275"/>
                    <a:gd name="T4" fmla="*/ 290 w 297"/>
                    <a:gd name="T5" fmla="*/ 2 h 275"/>
                    <a:gd name="T6" fmla="*/ 277 w 297"/>
                    <a:gd name="T7" fmla="*/ 12 h 275"/>
                    <a:gd name="T8" fmla="*/ 264 w 297"/>
                    <a:gd name="T9" fmla="*/ 15 h 275"/>
                    <a:gd name="T10" fmla="*/ 250 w 297"/>
                    <a:gd name="T11" fmla="*/ 22 h 275"/>
                    <a:gd name="T12" fmla="*/ 241 w 297"/>
                    <a:gd name="T13" fmla="*/ 16 h 275"/>
                    <a:gd name="T14" fmla="*/ 217 w 297"/>
                    <a:gd name="T15" fmla="*/ 16 h 275"/>
                    <a:gd name="T16" fmla="*/ 188 w 297"/>
                    <a:gd name="T17" fmla="*/ 32 h 275"/>
                    <a:gd name="T18" fmla="*/ 163 w 297"/>
                    <a:gd name="T19" fmla="*/ 39 h 275"/>
                    <a:gd name="T20" fmla="*/ 140 w 297"/>
                    <a:gd name="T21" fmla="*/ 35 h 275"/>
                    <a:gd name="T22" fmla="*/ 114 w 297"/>
                    <a:gd name="T23" fmla="*/ 22 h 275"/>
                    <a:gd name="T24" fmla="*/ 100 w 297"/>
                    <a:gd name="T25" fmla="*/ 33 h 275"/>
                    <a:gd name="T26" fmla="*/ 64 w 297"/>
                    <a:gd name="T27" fmla="*/ 41 h 275"/>
                    <a:gd name="T28" fmla="*/ 58 w 297"/>
                    <a:gd name="T29" fmla="*/ 31 h 275"/>
                    <a:gd name="T30" fmla="*/ 42 w 297"/>
                    <a:gd name="T31" fmla="*/ 32 h 275"/>
                    <a:gd name="T32" fmla="*/ 43 w 297"/>
                    <a:gd name="T33" fmla="*/ 53 h 275"/>
                    <a:gd name="T34" fmla="*/ 48 w 297"/>
                    <a:gd name="T35" fmla="*/ 64 h 275"/>
                    <a:gd name="T36" fmla="*/ 33 w 297"/>
                    <a:gd name="T37" fmla="*/ 66 h 275"/>
                    <a:gd name="T38" fmla="*/ 33 w 297"/>
                    <a:gd name="T39" fmla="*/ 75 h 275"/>
                    <a:gd name="T40" fmla="*/ 27 w 297"/>
                    <a:gd name="T41" fmla="*/ 84 h 275"/>
                    <a:gd name="T42" fmla="*/ 14 w 297"/>
                    <a:gd name="T43" fmla="*/ 78 h 275"/>
                    <a:gd name="T44" fmla="*/ 5 w 297"/>
                    <a:gd name="T45" fmla="*/ 98 h 275"/>
                    <a:gd name="T46" fmla="*/ 1 w 297"/>
                    <a:gd name="T47" fmla="*/ 99 h 275"/>
                    <a:gd name="T48" fmla="*/ 0 w 297"/>
                    <a:gd name="T49" fmla="*/ 131 h 275"/>
                    <a:gd name="T50" fmla="*/ 17 w 297"/>
                    <a:gd name="T51" fmla="*/ 147 h 275"/>
                    <a:gd name="T52" fmla="*/ 20 w 297"/>
                    <a:gd name="T53" fmla="*/ 147 h 275"/>
                    <a:gd name="T54" fmla="*/ 45 w 297"/>
                    <a:gd name="T55" fmla="*/ 147 h 275"/>
                    <a:gd name="T56" fmla="*/ 44 w 297"/>
                    <a:gd name="T57" fmla="*/ 157 h 275"/>
                    <a:gd name="T58" fmla="*/ 51 w 297"/>
                    <a:gd name="T59" fmla="*/ 181 h 275"/>
                    <a:gd name="T60" fmla="*/ 30 w 297"/>
                    <a:gd name="T61" fmla="*/ 193 h 275"/>
                    <a:gd name="T62" fmla="*/ 26 w 297"/>
                    <a:gd name="T63" fmla="*/ 213 h 275"/>
                    <a:gd name="T64" fmla="*/ 16 w 297"/>
                    <a:gd name="T65" fmla="*/ 224 h 275"/>
                    <a:gd name="T66" fmla="*/ 19 w 297"/>
                    <a:gd name="T67" fmla="*/ 254 h 275"/>
                    <a:gd name="T68" fmla="*/ 23 w 297"/>
                    <a:gd name="T69" fmla="*/ 251 h 275"/>
                    <a:gd name="T70" fmla="*/ 45 w 297"/>
                    <a:gd name="T71" fmla="*/ 263 h 275"/>
                    <a:gd name="T72" fmla="*/ 73 w 297"/>
                    <a:gd name="T73" fmla="*/ 275 h 275"/>
                    <a:gd name="T74" fmla="*/ 157 w 297"/>
                    <a:gd name="T75" fmla="*/ 218 h 275"/>
                    <a:gd name="T76" fmla="*/ 200 w 297"/>
                    <a:gd name="T77" fmla="*/ 183 h 275"/>
                    <a:gd name="T78" fmla="*/ 261 w 297"/>
                    <a:gd name="T79" fmla="*/ 156 h 275"/>
                    <a:gd name="T80" fmla="*/ 255 w 297"/>
                    <a:gd name="T81" fmla="*/ 131 h 275"/>
                    <a:gd name="T82" fmla="*/ 264 w 297"/>
                    <a:gd name="T83" fmla="*/ 112 h 275"/>
                    <a:gd name="T84" fmla="*/ 260 w 297"/>
                    <a:gd name="T85" fmla="*/ 77 h 275"/>
                    <a:gd name="T86" fmla="*/ 249 w 297"/>
                    <a:gd name="T87" fmla="*/ 55 h 275"/>
                    <a:gd name="T88" fmla="*/ 281 w 297"/>
                    <a:gd name="T89" fmla="*/ 39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97" h="275">
                      <a:moveTo>
                        <a:pt x="281" y="39"/>
                      </a:moveTo>
                      <a:cubicBezTo>
                        <a:pt x="290" y="35"/>
                        <a:pt x="295" y="26"/>
                        <a:pt x="297" y="19"/>
                      </a:cubicBezTo>
                      <a:cubicBezTo>
                        <a:pt x="288" y="20"/>
                        <a:pt x="293" y="4"/>
                        <a:pt x="290" y="2"/>
                      </a:cubicBezTo>
                      <a:cubicBezTo>
                        <a:pt x="287" y="0"/>
                        <a:pt x="285" y="11"/>
                        <a:pt x="277" y="12"/>
                      </a:cubicBezTo>
                      <a:cubicBezTo>
                        <a:pt x="269" y="13"/>
                        <a:pt x="264" y="15"/>
                        <a:pt x="264" y="15"/>
                      </a:cubicBezTo>
                      <a:cubicBezTo>
                        <a:pt x="264" y="15"/>
                        <a:pt x="259" y="21"/>
                        <a:pt x="250" y="22"/>
                      </a:cubicBezTo>
                      <a:cubicBezTo>
                        <a:pt x="241" y="23"/>
                        <a:pt x="246" y="18"/>
                        <a:pt x="241" y="16"/>
                      </a:cubicBezTo>
                      <a:cubicBezTo>
                        <a:pt x="236" y="14"/>
                        <a:pt x="230" y="15"/>
                        <a:pt x="217" y="16"/>
                      </a:cubicBezTo>
                      <a:cubicBezTo>
                        <a:pt x="204" y="17"/>
                        <a:pt x="197" y="29"/>
                        <a:pt x="188" y="32"/>
                      </a:cubicBezTo>
                      <a:cubicBezTo>
                        <a:pt x="179" y="35"/>
                        <a:pt x="174" y="38"/>
                        <a:pt x="163" y="39"/>
                      </a:cubicBezTo>
                      <a:cubicBezTo>
                        <a:pt x="152" y="40"/>
                        <a:pt x="140" y="35"/>
                        <a:pt x="140" y="35"/>
                      </a:cubicBezTo>
                      <a:cubicBezTo>
                        <a:pt x="140" y="35"/>
                        <a:pt x="117" y="23"/>
                        <a:pt x="114" y="22"/>
                      </a:cubicBezTo>
                      <a:cubicBezTo>
                        <a:pt x="111" y="21"/>
                        <a:pt x="100" y="33"/>
                        <a:pt x="100" y="33"/>
                      </a:cubicBezTo>
                      <a:cubicBezTo>
                        <a:pt x="100" y="33"/>
                        <a:pt x="85" y="41"/>
                        <a:pt x="64" y="41"/>
                      </a:cubicBezTo>
                      <a:cubicBezTo>
                        <a:pt x="43" y="41"/>
                        <a:pt x="60" y="35"/>
                        <a:pt x="58" y="31"/>
                      </a:cubicBezTo>
                      <a:cubicBezTo>
                        <a:pt x="56" y="27"/>
                        <a:pt x="42" y="32"/>
                        <a:pt x="42" y="32"/>
                      </a:cubicBezTo>
                      <a:cubicBezTo>
                        <a:pt x="43" y="53"/>
                        <a:pt x="43" y="53"/>
                        <a:pt x="43" y="53"/>
                      </a:cubicBezTo>
                      <a:cubicBezTo>
                        <a:pt x="43" y="53"/>
                        <a:pt x="50" y="51"/>
                        <a:pt x="48" y="64"/>
                      </a:cubicBezTo>
                      <a:cubicBezTo>
                        <a:pt x="47" y="72"/>
                        <a:pt x="33" y="66"/>
                        <a:pt x="33" y="66"/>
                      </a:cubicBezTo>
                      <a:cubicBezTo>
                        <a:pt x="33" y="75"/>
                        <a:pt x="33" y="75"/>
                        <a:pt x="33" y="75"/>
                      </a:cubicBezTo>
                      <a:cubicBezTo>
                        <a:pt x="33" y="75"/>
                        <a:pt x="31" y="83"/>
                        <a:pt x="27" y="84"/>
                      </a:cubicBezTo>
                      <a:cubicBezTo>
                        <a:pt x="24" y="85"/>
                        <a:pt x="17" y="80"/>
                        <a:pt x="14" y="78"/>
                      </a:cubicBezTo>
                      <a:cubicBezTo>
                        <a:pt x="12" y="83"/>
                        <a:pt x="2" y="91"/>
                        <a:pt x="5" y="98"/>
                      </a:cubicBezTo>
                      <a:cubicBezTo>
                        <a:pt x="1" y="99"/>
                        <a:pt x="1" y="99"/>
                        <a:pt x="1" y="99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131"/>
                        <a:pt x="14" y="139"/>
                        <a:pt x="17" y="147"/>
                      </a:cubicBezTo>
                      <a:cubicBezTo>
                        <a:pt x="20" y="147"/>
                        <a:pt x="20" y="147"/>
                        <a:pt x="20" y="147"/>
                      </a:cubicBezTo>
                      <a:cubicBezTo>
                        <a:pt x="45" y="147"/>
                        <a:pt x="45" y="147"/>
                        <a:pt x="45" y="147"/>
                      </a:cubicBezTo>
                      <a:cubicBezTo>
                        <a:pt x="44" y="157"/>
                        <a:pt x="44" y="157"/>
                        <a:pt x="44" y="157"/>
                      </a:cubicBezTo>
                      <a:cubicBezTo>
                        <a:pt x="44" y="157"/>
                        <a:pt x="56" y="169"/>
                        <a:pt x="51" y="181"/>
                      </a:cubicBezTo>
                      <a:cubicBezTo>
                        <a:pt x="46" y="193"/>
                        <a:pt x="39" y="190"/>
                        <a:pt x="30" y="193"/>
                      </a:cubicBezTo>
                      <a:cubicBezTo>
                        <a:pt x="21" y="196"/>
                        <a:pt x="26" y="213"/>
                        <a:pt x="26" y="213"/>
                      </a:cubicBezTo>
                      <a:cubicBezTo>
                        <a:pt x="16" y="224"/>
                        <a:pt x="16" y="224"/>
                        <a:pt x="16" y="224"/>
                      </a:cubicBezTo>
                      <a:cubicBezTo>
                        <a:pt x="19" y="254"/>
                        <a:pt x="19" y="254"/>
                        <a:pt x="19" y="254"/>
                      </a:cubicBezTo>
                      <a:cubicBezTo>
                        <a:pt x="23" y="251"/>
                        <a:pt x="23" y="251"/>
                        <a:pt x="23" y="251"/>
                      </a:cubicBezTo>
                      <a:cubicBezTo>
                        <a:pt x="45" y="263"/>
                        <a:pt x="45" y="263"/>
                        <a:pt x="45" y="263"/>
                      </a:cubicBezTo>
                      <a:cubicBezTo>
                        <a:pt x="45" y="263"/>
                        <a:pt x="52" y="275"/>
                        <a:pt x="73" y="275"/>
                      </a:cubicBezTo>
                      <a:cubicBezTo>
                        <a:pt x="94" y="275"/>
                        <a:pt x="157" y="218"/>
                        <a:pt x="157" y="218"/>
                      </a:cubicBezTo>
                      <a:cubicBezTo>
                        <a:pt x="200" y="183"/>
                        <a:pt x="200" y="183"/>
                        <a:pt x="200" y="183"/>
                      </a:cubicBezTo>
                      <a:cubicBezTo>
                        <a:pt x="200" y="183"/>
                        <a:pt x="249" y="165"/>
                        <a:pt x="261" y="156"/>
                      </a:cubicBezTo>
                      <a:cubicBezTo>
                        <a:pt x="273" y="147"/>
                        <a:pt x="256" y="138"/>
                        <a:pt x="255" y="131"/>
                      </a:cubicBezTo>
                      <a:cubicBezTo>
                        <a:pt x="254" y="124"/>
                        <a:pt x="260" y="117"/>
                        <a:pt x="264" y="112"/>
                      </a:cubicBezTo>
                      <a:cubicBezTo>
                        <a:pt x="268" y="107"/>
                        <a:pt x="260" y="77"/>
                        <a:pt x="260" y="77"/>
                      </a:cubicBezTo>
                      <a:cubicBezTo>
                        <a:pt x="260" y="77"/>
                        <a:pt x="245" y="69"/>
                        <a:pt x="249" y="55"/>
                      </a:cubicBezTo>
                      <a:cubicBezTo>
                        <a:pt x="253" y="41"/>
                        <a:pt x="265" y="46"/>
                        <a:pt x="281" y="39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0" name="Sri Lanka">
                  <a:extLst>
                    <a:ext uri="{FF2B5EF4-FFF2-40B4-BE49-F238E27FC236}">
                      <a16:creationId xmlns:a16="http://schemas.microsoft.com/office/drawing/2014/main" id="{BAD5E669-8FAE-369C-AEA9-C05B1392EE2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23177" y="3788414"/>
                  <a:ext cx="76213" cy="128528"/>
                </a:xfrm>
                <a:custGeom>
                  <a:avLst/>
                  <a:gdLst>
                    <a:gd name="T0" fmla="*/ 19 w 136"/>
                    <a:gd name="T1" fmla="*/ 9 h 228"/>
                    <a:gd name="T2" fmla="*/ 62 w 136"/>
                    <a:gd name="T3" fmla="*/ 29 h 228"/>
                    <a:gd name="T4" fmla="*/ 91 w 136"/>
                    <a:gd name="T5" fmla="*/ 65 h 228"/>
                    <a:gd name="T6" fmla="*/ 87 w 136"/>
                    <a:gd name="T7" fmla="*/ 86 h 228"/>
                    <a:gd name="T8" fmla="*/ 104 w 136"/>
                    <a:gd name="T9" fmla="*/ 82 h 228"/>
                    <a:gd name="T10" fmla="*/ 105 w 136"/>
                    <a:gd name="T11" fmla="*/ 120 h 228"/>
                    <a:gd name="T12" fmla="*/ 105 w 136"/>
                    <a:gd name="T13" fmla="*/ 190 h 228"/>
                    <a:gd name="T14" fmla="*/ 19 w 136"/>
                    <a:gd name="T15" fmla="*/ 194 h 228"/>
                    <a:gd name="T16" fmla="*/ 10 w 136"/>
                    <a:gd name="T17" fmla="*/ 99 h 228"/>
                    <a:gd name="T18" fmla="*/ 25 w 136"/>
                    <a:gd name="T19" fmla="*/ 59 h 228"/>
                    <a:gd name="T20" fmla="*/ 5 w 136"/>
                    <a:gd name="T21" fmla="*/ 32 h 228"/>
                    <a:gd name="T22" fmla="*/ 18 w 136"/>
                    <a:gd name="T23" fmla="*/ 32 h 228"/>
                    <a:gd name="T24" fmla="*/ 19 w 136"/>
                    <a:gd name="T25" fmla="*/ 9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36" h="228">
                      <a:moveTo>
                        <a:pt x="19" y="9"/>
                      </a:moveTo>
                      <a:cubicBezTo>
                        <a:pt x="35" y="0"/>
                        <a:pt x="46" y="7"/>
                        <a:pt x="62" y="29"/>
                      </a:cubicBezTo>
                      <a:cubicBezTo>
                        <a:pt x="78" y="50"/>
                        <a:pt x="91" y="65"/>
                        <a:pt x="91" y="65"/>
                      </a:cubicBezTo>
                      <a:cubicBezTo>
                        <a:pt x="87" y="86"/>
                        <a:pt x="87" y="86"/>
                        <a:pt x="87" y="86"/>
                      </a:cubicBezTo>
                      <a:cubicBezTo>
                        <a:pt x="104" y="82"/>
                        <a:pt x="104" y="82"/>
                        <a:pt x="104" y="82"/>
                      </a:cubicBezTo>
                      <a:cubicBezTo>
                        <a:pt x="105" y="120"/>
                        <a:pt x="105" y="120"/>
                        <a:pt x="105" y="120"/>
                      </a:cubicBezTo>
                      <a:cubicBezTo>
                        <a:pt x="105" y="120"/>
                        <a:pt x="136" y="176"/>
                        <a:pt x="105" y="190"/>
                      </a:cubicBezTo>
                      <a:cubicBezTo>
                        <a:pt x="75" y="204"/>
                        <a:pt x="37" y="228"/>
                        <a:pt x="19" y="194"/>
                      </a:cubicBezTo>
                      <a:cubicBezTo>
                        <a:pt x="1" y="160"/>
                        <a:pt x="0" y="106"/>
                        <a:pt x="10" y="99"/>
                      </a:cubicBezTo>
                      <a:cubicBezTo>
                        <a:pt x="21" y="91"/>
                        <a:pt x="25" y="59"/>
                        <a:pt x="25" y="59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lnTo>
                        <a:pt x="19" y="9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1" name="South Korea">
                  <a:extLst>
                    <a:ext uri="{FF2B5EF4-FFF2-40B4-BE49-F238E27FC236}">
                      <a16:creationId xmlns:a16="http://schemas.microsoft.com/office/drawing/2014/main" id="{F03B3164-9AF0-566E-D097-E115E64F9B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8763171" y="2925214"/>
                  <a:ext cx="106380" cy="158677"/>
                </a:xfrm>
                <a:custGeom>
                  <a:avLst/>
                  <a:gdLst>
                    <a:gd name="T0" fmla="*/ 100 w 191"/>
                    <a:gd name="T1" fmla="*/ 267 h 284"/>
                    <a:gd name="T2" fmla="*/ 101 w 191"/>
                    <a:gd name="T3" fmla="*/ 284 h 284"/>
                    <a:gd name="T4" fmla="*/ 100 w 191"/>
                    <a:gd name="T5" fmla="*/ 267 h 284"/>
                    <a:gd name="T6" fmla="*/ 185 w 191"/>
                    <a:gd name="T7" fmla="*/ 165 h 284"/>
                    <a:gd name="T8" fmla="*/ 166 w 191"/>
                    <a:gd name="T9" fmla="*/ 132 h 284"/>
                    <a:gd name="T10" fmla="*/ 162 w 191"/>
                    <a:gd name="T11" fmla="*/ 101 h 284"/>
                    <a:gd name="T12" fmla="*/ 111 w 191"/>
                    <a:gd name="T13" fmla="*/ 50 h 284"/>
                    <a:gd name="T14" fmla="*/ 98 w 191"/>
                    <a:gd name="T15" fmla="*/ 45 h 284"/>
                    <a:gd name="T16" fmla="*/ 82 w 191"/>
                    <a:gd name="T17" fmla="*/ 21 h 284"/>
                    <a:gd name="T18" fmla="*/ 64 w 191"/>
                    <a:gd name="T19" fmla="*/ 0 h 284"/>
                    <a:gd name="T20" fmla="*/ 54 w 191"/>
                    <a:gd name="T21" fmla="*/ 10 h 284"/>
                    <a:gd name="T22" fmla="*/ 16 w 191"/>
                    <a:gd name="T23" fmla="*/ 16 h 284"/>
                    <a:gd name="T24" fmla="*/ 13 w 191"/>
                    <a:gd name="T25" fmla="*/ 29 h 284"/>
                    <a:gd name="T26" fmla="*/ 0 w 191"/>
                    <a:gd name="T27" fmla="*/ 39 h 284"/>
                    <a:gd name="T28" fmla="*/ 8 w 191"/>
                    <a:gd name="T29" fmla="*/ 56 h 284"/>
                    <a:gd name="T30" fmla="*/ 30 w 191"/>
                    <a:gd name="T31" fmla="*/ 64 h 284"/>
                    <a:gd name="T32" fmla="*/ 41 w 191"/>
                    <a:gd name="T33" fmla="*/ 89 h 284"/>
                    <a:gd name="T34" fmla="*/ 6 w 191"/>
                    <a:gd name="T35" fmla="*/ 82 h 284"/>
                    <a:gd name="T36" fmla="*/ 27 w 191"/>
                    <a:gd name="T37" fmla="*/ 102 h 284"/>
                    <a:gd name="T38" fmla="*/ 37 w 191"/>
                    <a:gd name="T39" fmla="*/ 130 h 284"/>
                    <a:gd name="T40" fmla="*/ 60 w 191"/>
                    <a:gd name="T41" fmla="*/ 134 h 284"/>
                    <a:gd name="T42" fmla="*/ 60 w 191"/>
                    <a:gd name="T43" fmla="*/ 153 h 284"/>
                    <a:gd name="T44" fmla="*/ 54 w 191"/>
                    <a:gd name="T45" fmla="*/ 180 h 284"/>
                    <a:gd name="T46" fmla="*/ 74 w 191"/>
                    <a:gd name="T47" fmla="*/ 199 h 284"/>
                    <a:gd name="T48" fmla="*/ 80 w 191"/>
                    <a:gd name="T49" fmla="*/ 222 h 284"/>
                    <a:gd name="T50" fmla="*/ 100 w 191"/>
                    <a:gd name="T51" fmla="*/ 203 h 284"/>
                    <a:gd name="T52" fmla="*/ 133 w 191"/>
                    <a:gd name="T53" fmla="*/ 188 h 284"/>
                    <a:gd name="T54" fmla="*/ 150 w 191"/>
                    <a:gd name="T55" fmla="*/ 193 h 284"/>
                    <a:gd name="T56" fmla="*/ 155 w 191"/>
                    <a:gd name="T57" fmla="*/ 181 h 284"/>
                    <a:gd name="T58" fmla="*/ 185 w 191"/>
                    <a:gd name="T59" fmla="*/ 165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91" h="284">
                      <a:moveTo>
                        <a:pt x="100" y="267"/>
                      </a:moveTo>
                      <a:cubicBezTo>
                        <a:pt x="76" y="275"/>
                        <a:pt x="86" y="284"/>
                        <a:pt x="101" y="284"/>
                      </a:cubicBezTo>
                      <a:cubicBezTo>
                        <a:pt x="120" y="284"/>
                        <a:pt x="124" y="259"/>
                        <a:pt x="100" y="267"/>
                      </a:cubicBezTo>
                      <a:close/>
                      <a:moveTo>
                        <a:pt x="185" y="165"/>
                      </a:moveTo>
                      <a:cubicBezTo>
                        <a:pt x="179" y="146"/>
                        <a:pt x="166" y="132"/>
                        <a:pt x="166" y="132"/>
                      </a:cubicBezTo>
                      <a:cubicBezTo>
                        <a:pt x="166" y="132"/>
                        <a:pt x="171" y="115"/>
                        <a:pt x="162" y="101"/>
                      </a:cubicBezTo>
                      <a:cubicBezTo>
                        <a:pt x="153" y="87"/>
                        <a:pt x="111" y="50"/>
                        <a:pt x="111" y="50"/>
                      </a:cubicBezTo>
                      <a:cubicBezTo>
                        <a:pt x="98" y="45"/>
                        <a:pt x="98" y="45"/>
                        <a:pt x="98" y="45"/>
                      </a:cubicBezTo>
                      <a:cubicBezTo>
                        <a:pt x="98" y="45"/>
                        <a:pt x="94" y="34"/>
                        <a:pt x="82" y="21"/>
                      </a:cubicBezTo>
                      <a:cubicBezTo>
                        <a:pt x="76" y="14"/>
                        <a:pt x="69" y="6"/>
                        <a:pt x="64" y="0"/>
                      </a:cubicBezTo>
                      <a:cubicBezTo>
                        <a:pt x="54" y="10"/>
                        <a:pt x="54" y="10"/>
                        <a:pt x="54" y="10"/>
                      </a:cubicBezTo>
                      <a:cubicBezTo>
                        <a:pt x="54" y="10"/>
                        <a:pt x="30" y="9"/>
                        <a:pt x="16" y="16"/>
                      </a:cubicBezTo>
                      <a:cubicBezTo>
                        <a:pt x="2" y="24"/>
                        <a:pt x="14" y="26"/>
                        <a:pt x="13" y="29"/>
                      </a:cubicBezTo>
                      <a:cubicBezTo>
                        <a:pt x="12" y="32"/>
                        <a:pt x="0" y="39"/>
                        <a:pt x="0" y="39"/>
                      </a:cubicBezTo>
                      <a:cubicBezTo>
                        <a:pt x="0" y="39"/>
                        <a:pt x="1" y="50"/>
                        <a:pt x="8" y="56"/>
                      </a:cubicBezTo>
                      <a:cubicBezTo>
                        <a:pt x="15" y="62"/>
                        <a:pt x="30" y="64"/>
                        <a:pt x="30" y="64"/>
                      </a:cubicBezTo>
                      <a:cubicBezTo>
                        <a:pt x="41" y="89"/>
                        <a:pt x="41" y="89"/>
                        <a:pt x="41" y="89"/>
                      </a:cubicBezTo>
                      <a:cubicBezTo>
                        <a:pt x="41" y="89"/>
                        <a:pt x="7" y="75"/>
                        <a:pt x="6" y="82"/>
                      </a:cubicBezTo>
                      <a:cubicBezTo>
                        <a:pt x="5" y="89"/>
                        <a:pt x="27" y="102"/>
                        <a:pt x="27" y="102"/>
                      </a:cubicBezTo>
                      <a:cubicBezTo>
                        <a:pt x="37" y="130"/>
                        <a:pt x="37" y="130"/>
                        <a:pt x="37" y="130"/>
                      </a:cubicBezTo>
                      <a:cubicBezTo>
                        <a:pt x="60" y="134"/>
                        <a:pt x="60" y="134"/>
                        <a:pt x="60" y="134"/>
                      </a:cubicBezTo>
                      <a:cubicBezTo>
                        <a:pt x="60" y="153"/>
                        <a:pt x="60" y="153"/>
                        <a:pt x="60" y="153"/>
                      </a:cubicBezTo>
                      <a:cubicBezTo>
                        <a:pt x="60" y="153"/>
                        <a:pt x="49" y="161"/>
                        <a:pt x="54" y="180"/>
                      </a:cubicBezTo>
                      <a:cubicBezTo>
                        <a:pt x="59" y="199"/>
                        <a:pt x="74" y="199"/>
                        <a:pt x="74" y="199"/>
                      </a:cubicBezTo>
                      <a:cubicBezTo>
                        <a:pt x="74" y="199"/>
                        <a:pt x="61" y="225"/>
                        <a:pt x="80" y="222"/>
                      </a:cubicBezTo>
                      <a:cubicBezTo>
                        <a:pt x="99" y="219"/>
                        <a:pt x="100" y="203"/>
                        <a:pt x="100" y="203"/>
                      </a:cubicBezTo>
                      <a:cubicBezTo>
                        <a:pt x="133" y="188"/>
                        <a:pt x="133" y="188"/>
                        <a:pt x="133" y="188"/>
                      </a:cubicBezTo>
                      <a:cubicBezTo>
                        <a:pt x="150" y="193"/>
                        <a:pt x="150" y="193"/>
                        <a:pt x="150" y="193"/>
                      </a:cubicBezTo>
                      <a:cubicBezTo>
                        <a:pt x="155" y="181"/>
                        <a:pt x="155" y="181"/>
                        <a:pt x="155" y="181"/>
                      </a:cubicBezTo>
                      <a:cubicBezTo>
                        <a:pt x="155" y="181"/>
                        <a:pt x="191" y="184"/>
                        <a:pt x="185" y="165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2" name="Saudi Arabia">
                  <a:extLst>
                    <a:ext uri="{FF2B5EF4-FFF2-40B4-BE49-F238E27FC236}">
                      <a16:creationId xmlns:a16="http://schemas.microsoft.com/office/drawing/2014/main" id="{C79325BA-1F16-505A-937F-31A4941F19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10117" y="3115625"/>
                  <a:ext cx="558897" cy="476030"/>
                </a:xfrm>
                <a:custGeom>
                  <a:avLst/>
                  <a:gdLst>
                    <a:gd name="T0" fmla="*/ 976 w 998"/>
                    <a:gd name="T1" fmla="*/ 516 h 851"/>
                    <a:gd name="T2" fmla="*/ 804 w 998"/>
                    <a:gd name="T3" fmla="*/ 446 h 851"/>
                    <a:gd name="T4" fmla="*/ 794 w 998"/>
                    <a:gd name="T5" fmla="*/ 413 h 851"/>
                    <a:gd name="T6" fmla="*/ 780 w 998"/>
                    <a:gd name="T7" fmla="*/ 407 h 851"/>
                    <a:gd name="T8" fmla="*/ 764 w 998"/>
                    <a:gd name="T9" fmla="*/ 400 h 851"/>
                    <a:gd name="T10" fmla="*/ 719 w 998"/>
                    <a:gd name="T11" fmla="*/ 332 h 851"/>
                    <a:gd name="T12" fmla="*/ 669 w 998"/>
                    <a:gd name="T13" fmla="*/ 265 h 851"/>
                    <a:gd name="T14" fmla="*/ 646 w 998"/>
                    <a:gd name="T15" fmla="*/ 218 h 851"/>
                    <a:gd name="T16" fmla="*/ 637 w 998"/>
                    <a:gd name="T17" fmla="*/ 195 h 851"/>
                    <a:gd name="T18" fmla="*/ 588 w 998"/>
                    <a:gd name="T19" fmla="*/ 170 h 851"/>
                    <a:gd name="T20" fmla="*/ 332 w 998"/>
                    <a:gd name="T21" fmla="*/ 63 h 851"/>
                    <a:gd name="T22" fmla="*/ 250 w 998"/>
                    <a:gd name="T23" fmla="*/ 9 h 851"/>
                    <a:gd name="T24" fmla="*/ 200 w 998"/>
                    <a:gd name="T25" fmla="*/ 0 h 851"/>
                    <a:gd name="T26" fmla="*/ 147 w 998"/>
                    <a:gd name="T27" fmla="*/ 18 h 851"/>
                    <a:gd name="T28" fmla="*/ 111 w 998"/>
                    <a:gd name="T29" fmla="*/ 32 h 851"/>
                    <a:gd name="T30" fmla="*/ 111 w 998"/>
                    <a:gd name="T31" fmla="*/ 46 h 851"/>
                    <a:gd name="T32" fmla="*/ 123 w 998"/>
                    <a:gd name="T33" fmla="*/ 118 h 851"/>
                    <a:gd name="T34" fmla="*/ 70 w 998"/>
                    <a:gd name="T35" fmla="*/ 163 h 851"/>
                    <a:gd name="T36" fmla="*/ 12 w 998"/>
                    <a:gd name="T37" fmla="*/ 161 h 851"/>
                    <a:gd name="T38" fmla="*/ 12 w 998"/>
                    <a:gd name="T39" fmla="*/ 249 h 851"/>
                    <a:gd name="T40" fmla="*/ 85 w 998"/>
                    <a:gd name="T41" fmla="*/ 334 h 851"/>
                    <a:gd name="T42" fmla="*/ 145 w 998"/>
                    <a:gd name="T43" fmla="*/ 433 h 851"/>
                    <a:gd name="T44" fmla="*/ 232 w 998"/>
                    <a:gd name="T45" fmla="*/ 560 h 851"/>
                    <a:gd name="T46" fmla="*/ 300 w 998"/>
                    <a:gd name="T47" fmla="*/ 631 h 851"/>
                    <a:gd name="T48" fmla="*/ 419 w 998"/>
                    <a:gd name="T49" fmla="*/ 826 h 851"/>
                    <a:gd name="T50" fmla="*/ 427 w 998"/>
                    <a:gd name="T51" fmla="*/ 837 h 851"/>
                    <a:gd name="T52" fmla="*/ 437 w 998"/>
                    <a:gd name="T53" fmla="*/ 790 h 851"/>
                    <a:gd name="T54" fmla="*/ 470 w 998"/>
                    <a:gd name="T55" fmla="*/ 798 h 851"/>
                    <a:gd name="T56" fmla="*/ 522 w 998"/>
                    <a:gd name="T57" fmla="*/ 791 h 851"/>
                    <a:gd name="T58" fmla="*/ 593 w 998"/>
                    <a:gd name="T59" fmla="*/ 799 h 851"/>
                    <a:gd name="T60" fmla="*/ 628 w 998"/>
                    <a:gd name="T61" fmla="*/ 804 h 851"/>
                    <a:gd name="T62" fmla="*/ 653 w 998"/>
                    <a:gd name="T63" fmla="*/ 755 h 851"/>
                    <a:gd name="T64" fmla="*/ 839 w 998"/>
                    <a:gd name="T65" fmla="*/ 710 h 851"/>
                    <a:gd name="T66" fmla="*/ 998 w 998"/>
                    <a:gd name="T67" fmla="*/ 546 h 8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998" h="851">
                      <a:moveTo>
                        <a:pt x="980" y="527"/>
                      </a:moveTo>
                      <a:cubicBezTo>
                        <a:pt x="980" y="525"/>
                        <a:pt x="978" y="521"/>
                        <a:pt x="976" y="516"/>
                      </a:cubicBezTo>
                      <a:cubicBezTo>
                        <a:pt x="942" y="512"/>
                        <a:pt x="853" y="501"/>
                        <a:pt x="851" y="501"/>
                      </a:cubicBezTo>
                      <a:cubicBezTo>
                        <a:pt x="848" y="501"/>
                        <a:pt x="811" y="453"/>
                        <a:pt x="804" y="446"/>
                      </a:cubicBezTo>
                      <a:cubicBezTo>
                        <a:pt x="799" y="441"/>
                        <a:pt x="799" y="433"/>
                        <a:pt x="800" y="428"/>
                      </a:cubicBezTo>
                      <a:cubicBezTo>
                        <a:pt x="796" y="423"/>
                        <a:pt x="793" y="417"/>
                        <a:pt x="794" y="413"/>
                      </a:cubicBezTo>
                      <a:cubicBezTo>
                        <a:pt x="788" y="415"/>
                        <a:pt x="788" y="415"/>
                        <a:pt x="788" y="415"/>
                      </a:cubicBezTo>
                      <a:cubicBezTo>
                        <a:pt x="780" y="407"/>
                        <a:pt x="780" y="407"/>
                        <a:pt x="780" y="407"/>
                      </a:cubicBezTo>
                      <a:cubicBezTo>
                        <a:pt x="770" y="410"/>
                        <a:pt x="770" y="410"/>
                        <a:pt x="770" y="410"/>
                      </a:cubicBezTo>
                      <a:cubicBezTo>
                        <a:pt x="764" y="400"/>
                        <a:pt x="764" y="400"/>
                        <a:pt x="764" y="400"/>
                      </a:cubicBezTo>
                      <a:cubicBezTo>
                        <a:pt x="757" y="398"/>
                        <a:pt x="750" y="359"/>
                        <a:pt x="744" y="354"/>
                      </a:cubicBezTo>
                      <a:cubicBezTo>
                        <a:pt x="738" y="349"/>
                        <a:pt x="722" y="346"/>
                        <a:pt x="719" y="332"/>
                      </a:cubicBezTo>
                      <a:cubicBezTo>
                        <a:pt x="715" y="318"/>
                        <a:pt x="720" y="296"/>
                        <a:pt x="707" y="286"/>
                      </a:cubicBezTo>
                      <a:cubicBezTo>
                        <a:pt x="693" y="275"/>
                        <a:pt x="675" y="277"/>
                        <a:pt x="669" y="265"/>
                      </a:cubicBezTo>
                      <a:cubicBezTo>
                        <a:pt x="663" y="252"/>
                        <a:pt x="670" y="239"/>
                        <a:pt x="664" y="235"/>
                      </a:cubicBezTo>
                      <a:cubicBezTo>
                        <a:pt x="658" y="231"/>
                        <a:pt x="646" y="218"/>
                        <a:pt x="646" y="218"/>
                      </a:cubicBezTo>
                      <a:cubicBezTo>
                        <a:pt x="645" y="201"/>
                        <a:pt x="645" y="201"/>
                        <a:pt x="645" y="201"/>
                      </a:cubicBezTo>
                      <a:cubicBezTo>
                        <a:pt x="645" y="201"/>
                        <a:pt x="642" y="198"/>
                        <a:pt x="637" y="195"/>
                      </a:cubicBezTo>
                      <a:cubicBezTo>
                        <a:pt x="624" y="196"/>
                        <a:pt x="606" y="196"/>
                        <a:pt x="598" y="196"/>
                      </a:cubicBezTo>
                      <a:cubicBezTo>
                        <a:pt x="584" y="195"/>
                        <a:pt x="594" y="177"/>
                        <a:pt x="588" y="170"/>
                      </a:cubicBezTo>
                      <a:cubicBezTo>
                        <a:pt x="582" y="163"/>
                        <a:pt x="460" y="160"/>
                        <a:pt x="460" y="160"/>
                      </a:cubicBezTo>
                      <a:cubicBezTo>
                        <a:pt x="332" y="63"/>
                        <a:pt x="332" y="63"/>
                        <a:pt x="332" y="63"/>
                      </a:cubicBezTo>
                      <a:cubicBezTo>
                        <a:pt x="332" y="63"/>
                        <a:pt x="311" y="49"/>
                        <a:pt x="299" y="43"/>
                      </a:cubicBezTo>
                      <a:cubicBezTo>
                        <a:pt x="287" y="37"/>
                        <a:pt x="250" y="9"/>
                        <a:pt x="250" y="9"/>
                      </a:cubicBezTo>
                      <a:cubicBezTo>
                        <a:pt x="250" y="9"/>
                        <a:pt x="225" y="8"/>
                        <a:pt x="216" y="9"/>
                      </a:cubicBezTo>
                      <a:cubicBezTo>
                        <a:pt x="207" y="10"/>
                        <a:pt x="200" y="0"/>
                        <a:pt x="200" y="0"/>
                      </a:cubicBezTo>
                      <a:cubicBezTo>
                        <a:pt x="200" y="0"/>
                        <a:pt x="187" y="8"/>
                        <a:pt x="181" y="14"/>
                      </a:cubicBezTo>
                      <a:cubicBezTo>
                        <a:pt x="175" y="20"/>
                        <a:pt x="147" y="18"/>
                        <a:pt x="147" y="18"/>
                      </a:cubicBezTo>
                      <a:cubicBezTo>
                        <a:pt x="139" y="32"/>
                        <a:pt x="139" y="32"/>
                        <a:pt x="139" y="32"/>
                      </a:cubicBezTo>
                      <a:cubicBezTo>
                        <a:pt x="111" y="32"/>
                        <a:pt x="111" y="32"/>
                        <a:pt x="111" y="32"/>
                      </a:cubicBezTo>
                      <a:cubicBezTo>
                        <a:pt x="111" y="32"/>
                        <a:pt x="86" y="31"/>
                        <a:pt x="79" y="38"/>
                      </a:cubicBezTo>
                      <a:cubicBezTo>
                        <a:pt x="72" y="45"/>
                        <a:pt x="104" y="42"/>
                        <a:pt x="111" y="46"/>
                      </a:cubicBezTo>
                      <a:cubicBezTo>
                        <a:pt x="118" y="50"/>
                        <a:pt x="137" y="85"/>
                        <a:pt x="137" y="85"/>
                      </a:cubicBezTo>
                      <a:cubicBezTo>
                        <a:pt x="137" y="85"/>
                        <a:pt x="131" y="111"/>
                        <a:pt x="123" y="118"/>
                      </a:cubicBezTo>
                      <a:cubicBezTo>
                        <a:pt x="115" y="125"/>
                        <a:pt x="98" y="121"/>
                        <a:pt x="92" y="123"/>
                      </a:cubicBezTo>
                      <a:cubicBezTo>
                        <a:pt x="86" y="125"/>
                        <a:pt x="84" y="152"/>
                        <a:pt x="70" y="163"/>
                      </a:cubicBezTo>
                      <a:cubicBezTo>
                        <a:pt x="56" y="174"/>
                        <a:pt x="25" y="154"/>
                        <a:pt x="18" y="155"/>
                      </a:cubicBezTo>
                      <a:cubicBezTo>
                        <a:pt x="12" y="156"/>
                        <a:pt x="12" y="160"/>
                        <a:pt x="12" y="161"/>
                      </a:cubicBezTo>
                      <a:cubicBezTo>
                        <a:pt x="12" y="161"/>
                        <a:pt x="12" y="161"/>
                        <a:pt x="12" y="161"/>
                      </a:cubicBezTo>
                      <a:cubicBezTo>
                        <a:pt x="12" y="170"/>
                        <a:pt x="0" y="237"/>
                        <a:pt x="12" y="249"/>
                      </a:cubicBezTo>
                      <a:cubicBezTo>
                        <a:pt x="24" y="260"/>
                        <a:pt x="49" y="260"/>
                        <a:pt x="54" y="274"/>
                      </a:cubicBezTo>
                      <a:cubicBezTo>
                        <a:pt x="60" y="288"/>
                        <a:pt x="76" y="325"/>
                        <a:pt x="85" y="334"/>
                      </a:cubicBezTo>
                      <a:cubicBezTo>
                        <a:pt x="94" y="343"/>
                        <a:pt x="113" y="358"/>
                        <a:pt x="120" y="370"/>
                      </a:cubicBezTo>
                      <a:cubicBezTo>
                        <a:pt x="128" y="383"/>
                        <a:pt x="132" y="421"/>
                        <a:pt x="145" y="433"/>
                      </a:cubicBezTo>
                      <a:cubicBezTo>
                        <a:pt x="157" y="445"/>
                        <a:pt x="184" y="434"/>
                        <a:pt x="201" y="453"/>
                      </a:cubicBezTo>
                      <a:cubicBezTo>
                        <a:pt x="218" y="472"/>
                        <a:pt x="232" y="531"/>
                        <a:pt x="232" y="560"/>
                      </a:cubicBezTo>
                      <a:cubicBezTo>
                        <a:pt x="232" y="590"/>
                        <a:pt x="267" y="626"/>
                        <a:pt x="267" y="626"/>
                      </a:cubicBezTo>
                      <a:cubicBezTo>
                        <a:pt x="267" y="626"/>
                        <a:pt x="291" y="623"/>
                        <a:pt x="300" y="631"/>
                      </a:cubicBezTo>
                      <a:cubicBezTo>
                        <a:pt x="308" y="639"/>
                        <a:pt x="344" y="704"/>
                        <a:pt x="358" y="728"/>
                      </a:cubicBezTo>
                      <a:cubicBezTo>
                        <a:pt x="372" y="752"/>
                        <a:pt x="420" y="810"/>
                        <a:pt x="419" y="826"/>
                      </a:cubicBezTo>
                      <a:cubicBezTo>
                        <a:pt x="419" y="833"/>
                        <a:pt x="417" y="842"/>
                        <a:pt x="414" y="851"/>
                      </a:cubicBezTo>
                      <a:cubicBezTo>
                        <a:pt x="418" y="848"/>
                        <a:pt x="423" y="844"/>
                        <a:pt x="427" y="837"/>
                      </a:cubicBezTo>
                      <a:cubicBezTo>
                        <a:pt x="434" y="826"/>
                        <a:pt x="428" y="824"/>
                        <a:pt x="428" y="824"/>
                      </a:cubicBezTo>
                      <a:cubicBezTo>
                        <a:pt x="428" y="824"/>
                        <a:pt x="427" y="795"/>
                        <a:pt x="437" y="790"/>
                      </a:cubicBezTo>
                      <a:cubicBezTo>
                        <a:pt x="447" y="785"/>
                        <a:pt x="452" y="799"/>
                        <a:pt x="452" y="799"/>
                      </a:cubicBezTo>
                      <a:cubicBezTo>
                        <a:pt x="470" y="798"/>
                        <a:pt x="470" y="798"/>
                        <a:pt x="470" y="798"/>
                      </a:cubicBezTo>
                      <a:cubicBezTo>
                        <a:pt x="470" y="798"/>
                        <a:pt x="477" y="792"/>
                        <a:pt x="482" y="792"/>
                      </a:cubicBezTo>
                      <a:cubicBezTo>
                        <a:pt x="487" y="792"/>
                        <a:pt x="506" y="791"/>
                        <a:pt x="522" y="791"/>
                      </a:cubicBezTo>
                      <a:cubicBezTo>
                        <a:pt x="538" y="791"/>
                        <a:pt x="549" y="799"/>
                        <a:pt x="549" y="799"/>
                      </a:cubicBezTo>
                      <a:cubicBezTo>
                        <a:pt x="549" y="799"/>
                        <a:pt x="589" y="797"/>
                        <a:pt x="593" y="799"/>
                      </a:cubicBezTo>
                      <a:cubicBezTo>
                        <a:pt x="597" y="801"/>
                        <a:pt x="611" y="816"/>
                        <a:pt x="616" y="816"/>
                      </a:cubicBezTo>
                      <a:cubicBezTo>
                        <a:pt x="621" y="816"/>
                        <a:pt x="628" y="804"/>
                        <a:pt x="628" y="804"/>
                      </a:cubicBezTo>
                      <a:cubicBezTo>
                        <a:pt x="628" y="792"/>
                        <a:pt x="628" y="792"/>
                        <a:pt x="628" y="792"/>
                      </a:cubicBezTo>
                      <a:cubicBezTo>
                        <a:pt x="628" y="792"/>
                        <a:pt x="643" y="768"/>
                        <a:pt x="653" y="755"/>
                      </a:cubicBezTo>
                      <a:cubicBezTo>
                        <a:pt x="663" y="742"/>
                        <a:pt x="705" y="723"/>
                        <a:pt x="717" y="723"/>
                      </a:cubicBezTo>
                      <a:cubicBezTo>
                        <a:pt x="729" y="723"/>
                        <a:pt x="839" y="710"/>
                        <a:pt x="839" y="710"/>
                      </a:cubicBezTo>
                      <a:cubicBezTo>
                        <a:pt x="972" y="661"/>
                        <a:pt x="972" y="661"/>
                        <a:pt x="972" y="661"/>
                      </a:cubicBezTo>
                      <a:cubicBezTo>
                        <a:pt x="998" y="546"/>
                        <a:pt x="998" y="546"/>
                        <a:pt x="998" y="546"/>
                      </a:cubicBezTo>
                      <a:cubicBezTo>
                        <a:pt x="998" y="546"/>
                        <a:pt x="980" y="531"/>
                        <a:pt x="980" y="527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3" name="Russia">
                  <a:extLst>
                    <a:ext uri="{FF2B5EF4-FFF2-40B4-BE49-F238E27FC236}">
                      <a16:creationId xmlns:a16="http://schemas.microsoft.com/office/drawing/2014/main" id="{C9F12CF1-4432-D866-4499-0ECE6A62E5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128359" y="2323829"/>
                  <a:ext cx="111144" cy="444294"/>
                </a:xfrm>
                <a:custGeom>
                  <a:avLst/>
                  <a:gdLst>
                    <a:gd name="T0" fmla="*/ 0 w 199"/>
                    <a:gd name="T1" fmla="*/ 794 h 794"/>
                    <a:gd name="T2" fmla="*/ 9 w 199"/>
                    <a:gd name="T3" fmla="*/ 791 h 794"/>
                    <a:gd name="T4" fmla="*/ 25 w 199"/>
                    <a:gd name="T5" fmla="*/ 764 h 794"/>
                    <a:gd name="T6" fmla="*/ 12 w 199"/>
                    <a:gd name="T7" fmla="*/ 755 h 794"/>
                    <a:gd name="T8" fmla="*/ 0 w 199"/>
                    <a:gd name="T9" fmla="*/ 794 h 794"/>
                    <a:gd name="T10" fmla="*/ 76 w 199"/>
                    <a:gd name="T11" fmla="*/ 712 h 794"/>
                    <a:gd name="T12" fmla="*/ 49 w 199"/>
                    <a:gd name="T13" fmla="*/ 708 h 794"/>
                    <a:gd name="T14" fmla="*/ 36 w 199"/>
                    <a:gd name="T15" fmla="*/ 755 h 794"/>
                    <a:gd name="T16" fmla="*/ 43 w 199"/>
                    <a:gd name="T17" fmla="*/ 757 h 794"/>
                    <a:gd name="T18" fmla="*/ 55 w 199"/>
                    <a:gd name="T19" fmla="*/ 733 h 794"/>
                    <a:gd name="T20" fmla="*/ 88 w 199"/>
                    <a:gd name="T21" fmla="*/ 715 h 794"/>
                    <a:gd name="T22" fmla="*/ 79 w 199"/>
                    <a:gd name="T23" fmla="*/ 699 h 794"/>
                    <a:gd name="T24" fmla="*/ 76 w 199"/>
                    <a:gd name="T25" fmla="*/ 712 h 794"/>
                    <a:gd name="T26" fmla="*/ 128 w 199"/>
                    <a:gd name="T27" fmla="*/ 672 h 794"/>
                    <a:gd name="T28" fmla="*/ 117 w 199"/>
                    <a:gd name="T29" fmla="*/ 697 h 794"/>
                    <a:gd name="T30" fmla="*/ 128 w 199"/>
                    <a:gd name="T31" fmla="*/ 672 h 794"/>
                    <a:gd name="T32" fmla="*/ 189 w 199"/>
                    <a:gd name="T33" fmla="*/ 423 h 794"/>
                    <a:gd name="T34" fmla="*/ 177 w 199"/>
                    <a:gd name="T35" fmla="*/ 434 h 794"/>
                    <a:gd name="T36" fmla="*/ 185 w 199"/>
                    <a:gd name="T37" fmla="*/ 449 h 794"/>
                    <a:gd name="T38" fmla="*/ 173 w 199"/>
                    <a:gd name="T39" fmla="*/ 449 h 794"/>
                    <a:gd name="T40" fmla="*/ 173 w 199"/>
                    <a:gd name="T41" fmla="*/ 469 h 794"/>
                    <a:gd name="T42" fmla="*/ 189 w 199"/>
                    <a:gd name="T43" fmla="*/ 467 h 794"/>
                    <a:gd name="T44" fmla="*/ 198 w 199"/>
                    <a:gd name="T45" fmla="*/ 456 h 794"/>
                    <a:gd name="T46" fmla="*/ 189 w 199"/>
                    <a:gd name="T47" fmla="*/ 437 h 794"/>
                    <a:gd name="T48" fmla="*/ 199 w 199"/>
                    <a:gd name="T49" fmla="*/ 435 h 794"/>
                    <a:gd name="T50" fmla="*/ 189 w 199"/>
                    <a:gd name="T51" fmla="*/ 423 h 794"/>
                    <a:gd name="T52" fmla="*/ 184 w 199"/>
                    <a:gd name="T53" fmla="*/ 513 h 794"/>
                    <a:gd name="T54" fmla="*/ 195 w 199"/>
                    <a:gd name="T55" fmla="*/ 499 h 794"/>
                    <a:gd name="T56" fmla="*/ 178 w 199"/>
                    <a:gd name="T57" fmla="*/ 485 h 794"/>
                    <a:gd name="T58" fmla="*/ 184 w 199"/>
                    <a:gd name="T59" fmla="*/ 513 h 794"/>
                    <a:gd name="T60" fmla="*/ 170 w 199"/>
                    <a:gd name="T61" fmla="*/ 636 h 794"/>
                    <a:gd name="T62" fmla="*/ 171 w 199"/>
                    <a:gd name="T63" fmla="*/ 615 h 794"/>
                    <a:gd name="T64" fmla="*/ 162 w 199"/>
                    <a:gd name="T65" fmla="*/ 632 h 794"/>
                    <a:gd name="T66" fmla="*/ 170 w 199"/>
                    <a:gd name="T67" fmla="*/ 636 h 794"/>
                    <a:gd name="T68" fmla="*/ 169 w 199"/>
                    <a:gd name="T69" fmla="*/ 573 h 794"/>
                    <a:gd name="T70" fmla="*/ 181 w 199"/>
                    <a:gd name="T71" fmla="*/ 571 h 794"/>
                    <a:gd name="T72" fmla="*/ 169 w 199"/>
                    <a:gd name="T73" fmla="*/ 559 h 794"/>
                    <a:gd name="T74" fmla="*/ 169 w 199"/>
                    <a:gd name="T75" fmla="*/ 573 h 794"/>
                    <a:gd name="T76" fmla="*/ 82 w 199"/>
                    <a:gd name="T77" fmla="*/ 14 h 794"/>
                    <a:gd name="T78" fmla="*/ 94 w 199"/>
                    <a:gd name="T79" fmla="*/ 38 h 794"/>
                    <a:gd name="T80" fmla="*/ 114 w 199"/>
                    <a:gd name="T81" fmla="*/ 14 h 794"/>
                    <a:gd name="T82" fmla="*/ 106 w 199"/>
                    <a:gd name="T83" fmla="*/ 0 h 794"/>
                    <a:gd name="T84" fmla="*/ 82 w 199"/>
                    <a:gd name="T85" fmla="*/ 14 h 7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99" h="794">
                      <a:moveTo>
                        <a:pt x="0" y="794"/>
                      </a:moveTo>
                      <a:cubicBezTo>
                        <a:pt x="9" y="791"/>
                        <a:pt x="9" y="791"/>
                        <a:pt x="9" y="791"/>
                      </a:cubicBezTo>
                      <a:cubicBezTo>
                        <a:pt x="25" y="764"/>
                        <a:pt x="25" y="764"/>
                        <a:pt x="25" y="764"/>
                      </a:cubicBezTo>
                      <a:cubicBezTo>
                        <a:pt x="12" y="755"/>
                        <a:pt x="12" y="755"/>
                        <a:pt x="12" y="755"/>
                      </a:cubicBezTo>
                      <a:lnTo>
                        <a:pt x="0" y="794"/>
                      </a:lnTo>
                      <a:close/>
                      <a:moveTo>
                        <a:pt x="76" y="712"/>
                      </a:moveTo>
                      <a:cubicBezTo>
                        <a:pt x="49" y="708"/>
                        <a:pt x="49" y="708"/>
                        <a:pt x="49" y="708"/>
                      </a:cubicBezTo>
                      <a:cubicBezTo>
                        <a:pt x="36" y="755"/>
                        <a:pt x="36" y="755"/>
                        <a:pt x="36" y="755"/>
                      </a:cubicBezTo>
                      <a:cubicBezTo>
                        <a:pt x="43" y="757"/>
                        <a:pt x="43" y="757"/>
                        <a:pt x="43" y="757"/>
                      </a:cubicBezTo>
                      <a:cubicBezTo>
                        <a:pt x="55" y="733"/>
                        <a:pt x="55" y="733"/>
                        <a:pt x="55" y="733"/>
                      </a:cubicBezTo>
                      <a:cubicBezTo>
                        <a:pt x="88" y="715"/>
                        <a:pt x="88" y="715"/>
                        <a:pt x="88" y="715"/>
                      </a:cubicBezTo>
                      <a:cubicBezTo>
                        <a:pt x="79" y="699"/>
                        <a:pt x="79" y="699"/>
                        <a:pt x="79" y="699"/>
                      </a:cubicBezTo>
                      <a:lnTo>
                        <a:pt x="76" y="712"/>
                      </a:lnTo>
                      <a:close/>
                      <a:moveTo>
                        <a:pt x="128" y="672"/>
                      </a:moveTo>
                      <a:cubicBezTo>
                        <a:pt x="119" y="670"/>
                        <a:pt x="109" y="694"/>
                        <a:pt x="117" y="697"/>
                      </a:cubicBezTo>
                      <a:cubicBezTo>
                        <a:pt x="128" y="701"/>
                        <a:pt x="138" y="675"/>
                        <a:pt x="128" y="672"/>
                      </a:cubicBezTo>
                      <a:close/>
                      <a:moveTo>
                        <a:pt x="189" y="423"/>
                      </a:moveTo>
                      <a:cubicBezTo>
                        <a:pt x="177" y="434"/>
                        <a:pt x="177" y="434"/>
                        <a:pt x="177" y="434"/>
                      </a:cubicBezTo>
                      <a:cubicBezTo>
                        <a:pt x="185" y="449"/>
                        <a:pt x="185" y="449"/>
                        <a:pt x="185" y="449"/>
                      </a:cubicBezTo>
                      <a:cubicBezTo>
                        <a:pt x="173" y="449"/>
                        <a:pt x="173" y="449"/>
                        <a:pt x="173" y="449"/>
                      </a:cubicBezTo>
                      <a:cubicBezTo>
                        <a:pt x="173" y="469"/>
                        <a:pt x="173" y="469"/>
                        <a:pt x="173" y="469"/>
                      </a:cubicBezTo>
                      <a:cubicBezTo>
                        <a:pt x="189" y="467"/>
                        <a:pt x="189" y="467"/>
                        <a:pt x="189" y="467"/>
                      </a:cubicBezTo>
                      <a:cubicBezTo>
                        <a:pt x="198" y="456"/>
                        <a:pt x="198" y="456"/>
                        <a:pt x="198" y="456"/>
                      </a:cubicBezTo>
                      <a:cubicBezTo>
                        <a:pt x="189" y="437"/>
                        <a:pt x="189" y="437"/>
                        <a:pt x="189" y="437"/>
                      </a:cubicBezTo>
                      <a:cubicBezTo>
                        <a:pt x="199" y="435"/>
                        <a:pt x="199" y="435"/>
                        <a:pt x="199" y="435"/>
                      </a:cubicBezTo>
                      <a:lnTo>
                        <a:pt x="189" y="423"/>
                      </a:lnTo>
                      <a:close/>
                      <a:moveTo>
                        <a:pt x="184" y="513"/>
                      </a:moveTo>
                      <a:cubicBezTo>
                        <a:pt x="195" y="499"/>
                        <a:pt x="195" y="499"/>
                        <a:pt x="195" y="499"/>
                      </a:cubicBezTo>
                      <a:cubicBezTo>
                        <a:pt x="178" y="485"/>
                        <a:pt x="178" y="485"/>
                        <a:pt x="178" y="485"/>
                      </a:cubicBezTo>
                      <a:lnTo>
                        <a:pt x="184" y="513"/>
                      </a:lnTo>
                      <a:close/>
                      <a:moveTo>
                        <a:pt x="170" y="636"/>
                      </a:moveTo>
                      <a:cubicBezTo>
                        <a:pt x="171" y="615"/>
                        <a:pt x="171" y="615"/>
                        <a:pt x="171" y="615"/>
                      </a:cubicBezTo>
                      <a:cubicBezTo>
                        <a:pt x="162" y="632"/>
                        <a:pt x="162" y="632"/>
                        <a:pt x="162" y="632"/>
                      </a:cubicBezTo>
                      <a:lnTo>
                        <a:pt x="170" y="636"/>
                      </a:lnTo>
                      <a:close/>
                      <a:moveTo>
                        <a:pt x="169" y="573"/>
                      </a:moveTo>
                      <a:cubicBezTo>
                        <a:pt x="181" y="571"/>
                        <a:pt x="181" y="571"/>
                        <a:pt x="181" y="571"/>
                      </a:cubicBezTo>
                      <a:cubicBezTo>
                        <a:pt x="169" y="559"/>
                        <a:pt x="169" y="559"/>
                        <a:pt x="169" y="559"/>
                      </a:cubicBezTo>
                      <a:lnTo>
                        <a:pt x="169" y="573"/>
                      </a:lnTo>
                      <a:close/>
                      <a:moveTo>
                        <a:pt x="82" y="14"/>
                      </a:moveTo>
                      <a:cubicBezTo>
                        <a:pt x="94" y="38"/>
                        <a:pt x="94" y="38"/>
                        <a:pt x="94" y="38"/>
                      </a:cubicBezTo>
                      <a:cubicBezTo>
                        <a:pt x="114" y="14"/>
                        <a:pt x="114" y="14"/>
                        <a:pt x="114" y="14"/>
                      </a:cubicBezTo>
                      <a:cubicBezTo>
                        <a:pt x="106" y="0"/>
                        <a:pt x="106" y="0"/>
                        <a:pt x="106" y="0"/>
                      </a:cubicBezTo>
                      <a:lnTo>
                        <a:pt x="82" y="14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4" name="Russia">
                  <a:extLst>
                    <a:ext uri="{FF2B5EF4-FFF2-40B4-BE49-F238E27FC236}">
                      <a16:creationId xmlns:a16="http://schemas.microsoft.com/office/drawing/2014/main" id="{CE00F073-2E0D-63B8-D7C7-638A09288C5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097295" y="1770048"/>
                  <a:ext cx="3383550" cy="1075828"/>
                </a:xfrm>
                <a:custGeom>
                  <a:avLst/>
                  <a:gdLst>
                    <a:gd name="T0" fmla="*/ 1604 w 6045"/>
                    <a:gd name="T1" fmla="*/ 319 h 1923"/>
                    <a:gd name="T2" fmla="*/ 1125 w 6045"/>
                    <a:gd name="T3" fmla="*/ 38 h 1923"/>
                    <a:gd name="T4" fmla="*/ 1119 w 6045"/>
                    <a:gd name="T5" fmla="*/ 335 h 1923"/>
                    <a:gd name="T6" fmla="*/ 1136 w 6045"/>
                    <a:gd name="T7" fmla="*/ 227 h 1923"/>
                    <a:gd name="T8" fmla="*/ 1032 w 6045"/>
                    <a:gd name="T9" fmla="*/ 349 h 1923"/>
                    <a:gd name="T10" fmla="*/ 4026 w 6045"/>
                    <a:gd name="T11" fmla="*/ 259 h 1923"/>
                    <a:gd name="T12" fmla="*/ 2394 w 6045"/>
                    <a:gd name="T13" fmla="*/ 103 h 1923"/>
                    <a:gd name="T14" fmla="*/ 3618 w 6045"/>
                    <a:gd name="T15" fmla="*/ 235 h 1923"/>
                    <a:gd name="T16" fmla="*/ 113 w 6045"/>
                    <a:gd name="T17" fmla="*/ 1236 h 1923"/>
                    <a:gd name="T18" fmla="*/ 755 w 6045"/>
                    <a:gd name="T19" fmla="*/ 45 h 1923"/>
                    <a:gd name="T20" fmla="*/ 5033 w 6045"/>
                    <a:gd name="T21" fmla="*/ 1361 h 1923"/>
                    <a:gd name="T22" fmla="*/ 5193 w 6045"/>
                    <a:gd name="T23" fmla="*/ 1629 h 1923"/>
                    <a:gd name="T24" fmla="*/ 5935 w 6045"/>
                    <a:gd name="T25" fmla="*/ 632 h 1923"/>
                    <a:gd name="T26" fmla="*/ 5061 w 6045"/>
                    <a:gd name="T27" fmla="*/ 515 h 1923"/>
                    <a:gd name="T28" fmla="*/ 4321 w 6045"/>
                    <a:gd name="T29" fmla="*/ 409 h 1923"/>
                    <a:gd name="T30" fmla="*/ 3936 w 6045"/>
                    <a:gd name="T31" fmla="*/ 365 h 1923"/>
                    <a:gd name="T32" fmla="*/ 3577 w 6045"/>
                    <a:gd name="T33" fmla="*/ 386 h 1923"/>
                    <a:gd name="T34" fmla="*/ 3251 w 6045"/>
                    <a:gd name="T35" fmla="*/ 351 h 1923"/>
                    <a:gd name="T36" fmla="*/ 2915 w 6045"/>
                    <a:gd name="T37" fmla="*/ 313 h 1923"/>
                    <a:gd name="T38" fmla="*/ 2906 w 6045"/>
                    <a:gd name="T39" fmla="*/ 254 h 1923"/>
                    <a:gd name="T40" fmla="*/ 2423 w 6045"/>
                    <a:gd name="T41" fmla="*/ 210 h 1923"/>
                    <a:gd name="T42" fmla="*/ 2038 w 6045"/>
                    <a:gd name="T43" fmla="*/ 402 h 1923"/>
                    <a:gd name="T44" fmla="*/ 1740 w 6045"/>
                    <a:gd name="T45" fmla="*/ 389 h 1923"/>
                    <a:gd name="T46" fmla="*/ 1845 w 6045"/>
                    <a:gd name="T47" fmla="*/ 542 h 1923"/>
                    <a:gd name="T48" fmla="*/ 1684 w 6045"/>
                    <a:gd name="T49" fmla="*/ 417 h 1923"/>
                    <a:gd name="T50" fmla="*/ 1499 w 6045"/>
                    <a:gd name="T51" fmla="*/ 522 h 1923"/>
                    <a:gd name="T52" fmla="*/ 1060 w 6045"/>
                    <a:gd name="T53" fmla="*/ 545 h 1923"/>
                    <a:gd name="T54" fmla="*/ 795 w 6045"/>
                    <a:gd name="T55" fmla="*/ 644 h 1923"/>
                    <a:gd name="T56" fmla="*/ 508 w 6045"/>
                    <a:gd name="T57" fmla="*/ 670 h 1923"/>
                    <a:gd name="T58" fmla="*/ 357 w 6045"/>
                    <a:gd name="T59" fmla="*/ 475 h 1923"/>
                    <a:gd name="T60" fmla="*/ 323 w 6045"/>
                    <a:gd name="T61" fmla="*/ 703 h 1923"/>
                    <a:gd name="T62" fmla="*/ 303 w 6045"/>
                    <a:gd name="T63" fmla="*/ 980 h 1923"/>
                    <a:gd name="T64" fmla="*/ 382 w 6045"/>
                    <a:gd name="T65" fmla="*/ 1163 h 1923"/>
                    <a:gd name="T66" fmla="*/ 538 w 6045"/>
                    <a:gd name="T67" fmla="*/ 1342 h 1923"/>
                    <a:gd name="T68" fmla="*/ 827 w 6045"/>
                    <a:gd name="T69" fmla="*/ 1472 h 1923"/>
                    <a:gd name="T70" fmla="*/ 752 w 6045"/>
                    <a:gd name="T71" fmla="*/ 1694 h 1923"/>
                    <a:gd name="T72" fmla="*/ 1214 w 6045"/>
                    <a:gd name="T73" fmla="*/ 1892 h 1923"/>
                    <a:gd name="T74" fmla="*/ 1231 w 6045"/>
                    <a:gd name="T75" fmla="*/ 1631 h 1923"/>
                    <a:gd name="T76" fmla="*/ 1419 w 6045"/>
                    <a:gd name="T77" fmla="*/ 1396 h 1923"/>
                    <a:gd name="T78" fmla="*/ 1765 w 6045"/>
                    <a:gd name="T79" fmla="*/ 1244 h 1923"/>
                    <a:gd name="T80" fmla="*/ 2222 w 6045"/>
                    <a:gd name="T81" fmla="*/ 1256 h 1923"/>
                    <a:gd name="T82" fmla="*/ 2847 w 6045"/>
                    <a:gd name="T83" fmla="*/ 1496 h 1923"/>
                    <a:gd name="T84" fmla="*/ 3152 w 6045"/>
                    <a:gd name="T85" fmla="*/ 1456 h 1923"/>
                    <a:gd name="T86" fmla="*/ 3428 w 6045"/>
                    <a:gd name="T87" fmla="*/ 1441 h 1923"/>
                    <a:gd name="T88" fmla="*/ 3929 w 6045"/>
                    <a:gd name="T89" fmla="*/ 1447 h 1923"/>
                    <a:gd name="T90" fmla="*/ 4174 w 6045"/>
                    <a:gd name="T91" fmla="*/ 1268 h 1923"/>
                    <a:gd name="T92" fmla="*/ 4630 w 6045"/>
                    <a:gd name="T93" fmla="*/ 1533 h 1923"/>
                    <a:gd name="T94" fmla="*/ 4843 w 6045"/>
                    <a:gd name="T95" fmla="*/ 1667 h 1923"/>
                    <a:gd name="T96" fmla="*/ 4985 w 6045"/>
                    <a:gd name="T97" fmla="*/ 1754 h 1923"/>
                    <a:gd name="T98" fmla="*/ 4903 w 6045"/>
                    <a:gd name="T99" fmla="*/ 1298 h 1923"/>
                    <a:gd name="T100" fmla="*/ 4580 w 6045"/>
                    <a:gd name="T101" fmla="*/ 1205 h 1923"/>
                    <a:gd name="T102" fmla="*/ 4885 w 6045"/>
                    <a:gd name="T103" fmla="*/ 977 h 1923"/>
                    <a:gd name="T104" fmla="*/ 5110 w 6045"/>
                    <a:gd name="T105" fmla="*/ 890 h 1923"/>
                    <a:gd name="T106" fmla="*/ 5374 w 6045"/>
                    <a:gd name="T107" fmla="*/ 897 h 1923"/>
                    <a:gd name="T108" fmla="*/ 5630 w 6045"/>
                    <a:gd name="T109" fmla="*/ 1386 h 1923"/>
                    <a:gd name="T110" fmla="*/ 5463 w 6045"/>
                    <a:gd name="T111" fmla="*/ 992 h 1923"/>
                    <a:gd name="T112" fmla="*/ 5791 w 6045"/>
                    <a:gd name="T113" fmla="*/ 813 h 1923"/>
                    <a:gd name="T114" fmla="*/ 5719 w 6045"/>
                    <a:gd name="T115" fmla="*/ 660 h 1923"/>
                    <a:gd name="T116" fmla="*/ 3494 w 6045"/>
                    <a:gd name="T117" fmla="*/ 1368 h 1923"/>
                    <a:gd name="T118" fmla="*/ 3579 w 6045"/>
                    <a:gd name="T119" fmla="*/ 1259 h 1923"/>
                    <a:gd name="T120" fmla="*/ 943 w 6045"/>
                    <a:gd name="T121" fmla="*/ 537 h 1923"/>
                    <a:gd name="T122" fmla="*/ 924 w 6045"/>
                    <a:gd name="T123" fmla="*/ 25 h 19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6045" h="1923">
                      <a:moveTo>
                        <a:pt x="1866" y="364"/>
                      </a:moveTo>
                      <a:cubicBezTo>
                        <a:pt x="1845" y="359"/>
                        <a:pt x="1845" y="359"/>
                        <a:pt x="1845" y="359"/>
                      </a:cubicBezTo>
                      <a:cubicBezTo>
                        <a:pt x="1828" y="373"/>
                        <a:pt x="1828" y="373"/>
                        <a:pt x="1828" y="373"/>
                      </a:cubicBezTo>
                      <a:cubicBezTo>
                        <a:pt x="1854" y="380"/>
                        <a:pt x="1854" y="380"/>
                        <a:pt x="1854" y="380"/>
                      </a:cubicBezTo>
                      <a:lnTo>
                        <a:pt x="1866" y="364"/>
                      </a:lnTo>
                      <a:close/>
                      <a:moveTo>
                        <a:pt x="1894" y="346"/>
                      </a:moveTo>
                      <a:cubicBezTo>
                        <a:pt x="1869" y="329"/>
                        <a:pt x="1876" y="352"/>
                        <a:pt x="1876" y="352"/>
                      </a:cubicBezTo>
                      <a:cubicBezTo>
                        <a:pt x="1901" y="362"/>
                        <a:pt x="1919" y="363"/>
                        <a:pt x="1894" y="346"/>
                      </a:cubicBezTo>
                      <a:close/>
                      <a:moveTo>
                        <a:pt x="1138" y="13"/>
                      </a:moveTo>
                      <a:cubicBezTo>
                        <a:pt x="1148" y="11"/>
                        <a:pt x="1162" y="1"/>
                        <a:pt x="1155" y="1"/>
                      </a:cubicBezTo>
                      <a:cubicBezTo>
                        <a:pt x="1148" y="1"/>
                        <a:pt x="1100" y="1"/>
                        <a:pt x="1100" y="1"/>
                      </a:cubicBezTo>
                      <a:cubicBezTo>
                        <a:pt x="1097" y="10"/>
                        <a:pt x="1097" y="10"/>
                        <a:pt x="1097" y="10"/>
                      </a:cubicBezTo>
                      <a:cubicBezTo>
                        <a:pt x="1124" y="7"/>
                        <a:pt x="1124" y="7"/>
                        <a:pt x="1124" y="7"/>
                      </a:cubicBezTo>
                      <a:cubicBezTo>
                        <a:pt x="1124" y="7"/>
                        <a:pt x="1128" y="14"/>
                        <a:pt x="1138" y="13"/>
                      </a:cubicBezTo>
                      <a:close/>
                      <a:moveTo>
                        <a:pt x="1163" y="39"/>
                      </a:moveTo>
                      <a:cubicBezTo>
                        <a:pt x="1168" y="39"/>
                        <a:pt x="1176" y="34"/>
                        <a:pt x="1176" y="34"/>
                      </a:cubicBezTo>
                      <a:cubicBezTo>
                        <a:pt x="1176" y="34"/>
                        <a:pt x="1203" y="42"/>
                        <a:pt x="1210" y="35"/>
                      </a:cubicBezTo>
                      <a:cubicBezTo>
                        <a:pt x="1217" y="28"/>
                        <a:pt x="1211" y="17"/>
                        <a:pt x="1189" y="17"/>
                      </a:cubicBezTo>
                      <a:cubicBezTo>
                        <a:pt x="1166" y="17"/>
                        <a:pt x="1145" y="34"/>
                        <a:pt x="1145" y="34"/>
                      </a:cubicBezTo>
                      <a:cubicBezTo>
                        <a:pt x="1149" y="39"/>
                        <a:pt x="1159" y="39"/>
                        <a:pt x="1163" y="39"/>
                      </a:cubicBezTo>
                      <a:close/>
                      <a:moveTo>
                        <a:pt x="1590" y="341"/>
                      </a:moveTo>
                      <a:cubicBezTo>
                        <a:pt x="1623" y="333"/>
                        <a:pt x="1612" y="323"/>
                        <a:pt x="1604" y="319"/>
                      </a:cubicBezTo>
                      <a:cubicBezTo>
                        <a:pt x="1596" y="315"/>
                        <a:pt x="1566" y="319"/>
                        <a:pt x="1566" y="319"/>
                      </a:cubicBezTo>
                      <a:cubicBezTo>
                        <a:pt x="1566" y="319"/>
                        <a:pt x="1572" y="345"/>
                        <a:pt x="1590" y="341"/>
                      </a:cubicBezTo>
                      <a:close/>
                      <a:moveTo>
                        <a:pt x="1062" y="20"/>
                      </a:moveTo>
                      <a:cubicBezTo>
                        <a:pt x="1034" y="17"/>
                        <a:pt x="1034" y="17"/>
                        <a:pt x="1034" y="17"/>
                      </a:cubicBezTo>
                      <a:cubicBezTo>
                        <a:pt x="1041" y="25"/>
                        <a:pt x="1041" y="25"/>
                        <a:pt x="1041" y="25"/>
                      </a:cubicBezTo>
                      <a:lnTo>
                        <a:pt x="1062" y="20"/>
                      </a:lnTo>
                      <a:close/>
                      <a:moveTo>
                        <a:pt x="1264" y="465"/>
                      </a:moveTo>
                      <a:cubicBezTo>
                        <a:pt x="1259" y="473"/>
                        <a:pt x="1324" y="507"/>
                        <a:pt x="1330" y="491"/>
                      </a:cubicBezTo>
                      <a:cubicBezTo>
                        <a:pt x="1336" y="475"/>
                        <a:pt x="1270" y="455"/>
                        <a:pt x="1264" y="465"/>
                      </a:cubicBezTo>
                      <a:close/>
                      <a:moveTo>
                        <a:pt x="2074" y="83"/>
                      </a:moveTo>
                      <a:cubicBezTo>
                        <a:pt x="2084" y="73"/>
                        <a:pt x="2084" y="73"/>
                        <a:pt x="2084" y="73"/>
                      </a:cubicBezTo>
                      <a:cubicBezTo>
                        <a:pt x="2024" y="73"/>
                        <a:pt x="2024" y="73"/>
                        <a:pt x="2024" y="73"/>
                      </a:cubicBezTo>
                      <a:lnTo>
                        <a:pt x="2074" y="83"/>
                      </a:lnTo>
                      <a:close/>
                      <a:moveTo>
                        <a:pt x="1044" y="68"/>
                      </a:moveTo>
                      <a:cubicBezTo>
                        <a:pt x="1090" y="66"/>
                        <a:pt x="1090" y="66"/>
                        <a:pt x="1090" y="66"/>
                      </a:cubicBezTo>
                      <a:cubicBezTo>
                        <a:pt x="1075" y="56"/>
                        <a:pt x="1075" y="56"/>
                        <a:pt x="1075" y="56"/>
                      </a:cubicBezTo>
                      <a:lnTo>
                        <a:pt x="1044" y="68"/>
                      </a:lnTo>
                      <a:close/>
                      <a:moveTo>
                        <a:pt x="1051" y="39"/>
                      </a:moveTo>
                      <a:cubicBezTo>
                        <a:pt x="1064" y="48"/>
                        <a:pt x="1066" y="52"/>
                        <a:pt x="1066" y="52"/>
                      </a:cubicBezTo>
                      <a:cubicBezTo>
                        <a:pt x="1083" y="44"/>
                        <a:pt x="1083" y="44"/>
                        <a:pt x="1083" y="44"/>
                      </a:cubicBezTo>
                      <a:cubicBezTo>
                        <a:pt x="1083" y="44"/>
                        <a:pt x="1076" y="49"/>
                        <a:pt x="1090" y="49"/>
                      </a:cubicBezTo>
                      <a:cubicBezTo>
                        <a:pt x="1104" y="49"/>
                        <a:pt x="1125" y="38"/>
                        <a:pt x="1125" y="38"/>
                      </a:cubicBezTo>
                      <a:cubicBezTo>
                        <a:pt x="1089" y="32"/>
                        <a:pt x="1089" y="32"/>
                        <a:pt x="1089" y="32"/>
                      </a:cubicBezTo>
                      <a:cubicBezTo>
                        <a:pt x="1079" y="38"/>
                        <a:pt x="1079" y="38"/>
                        <a:pt x="1079" y="38"/>
                      </a:cubicBezTo>
                      <a:cubicBezTo>
                        <a:pt x="1079" y="38"/>
                        <a:pt x="1065" y="32"/>
                        <a:pt x="1061" y="34"/>
                      </a:cubicBezTo>
                      <a:cubicBezTo>
                        <a:pt x="1057" y="35"/>
                        <a:pt x="1051" y="39"/>
                        <a:pt x="1051" y="39"/>
                      </a:cubicBezTo>
                      <a:close/>
                      <a:moveTo>
                        <a:pt x="1113" y="23"/>
                      </a:moveTo>
                      <a:cubicBezTo>
                        <a:pt x="1071" y="23"/>
                        <a:pt x="1071" y="23"/>
                        <a:pt x="1071" y="23"/>
                      </a:cubicBezTo>
                      <a:cubicBezTo>
                        <a:pt x="1106" y="31"/>
                        <a:pt x="1106" y="31"/>
                        <a:pt x="1106" y="31"/>
                      </a:cubicBezTo>
                      <a:lnTo>
                        <a:pt x="1113" y="23"/>
                      </a:lnTo>
                      <a:close/>
                      <a:moveTo>
                        <a:pt x="1032" y="349"/>
                      </a:moveTo>
                      <a:cubicBezTo>
                        <a:pt x="1002" y="354"/>
                        <a:pt x="1002" y="354"/>
                        <a:pt x="1002" y="354"/>
                      </a:cubicBezTo>
                      <a:cubicBezTo>
                        <a:pt x="1011" y="366"/>
                        <a:pt x="1011" y="366"/>
                        <a:pt x="1011" y="366"/>
                      </a:cubicBezTo>
                      <a:cubicBezTo>
                        <a:pt x="1030" y="357"/>
                        <a:pt x="1030" y="357"/>
                        <a:pt x="1030" y="357"/>
                      </a:cubicBezTo>
                      <a:cubicBezTo>
                        <a:pt x="1020" y="373"/>
                        <a:pt x="1020" y="373"/>
                        <a:pt x="1020" y="373"/>
                      </a:cubicBezTo>
                      <a:cubicBezTo>
                        <a:pt x="1020" y="373"/>
                        <a:pt x="992" y="379"/>
                        <a:pt x="994" y="390"/>
                      </a:cubicBezTo>
                      <a:cubicBezTo>
                        <a:pt x="996" y="401"/>
                        <a:pt x="1023" y="405"/>
                        <a:pt x="1035" y="405"/>
                      </a:cubicBezTo>
                      <a:cubicBezTo>
                        <a:pt x="1048" y="405"/>
                        <a:pt x="1065" y="408"/>
                        <a:pt x="1076" y="414"/>
                      </a:cubicBezTo>
                      <a:cubicBezTo>
                        <a:pt x="1086" y="420"/>
                        <a:pt x="1085" y="437"/>
                        <a:pt x="1088" y="438"/>
                      </a:cubicBezTo>
                      <a:cubicBezTo>
                        <a:pt x="1091" y="440"/>
                        <a:pt x="1140" y="447"/>
                        <a:pt x="1140" y="447"/>
                      </a:cubicBezTo>
                      <a:cubicBezTo>
                        <a:pt x="1214" y="443"/>
                        <a:pt x="1214" y="443"/>
                        <a:pt x="1214" y="443"/>
                      </a:cubicBezTo>
                      <a:cubicBezTo>
                        <a:pt x="1214" y="443"/>
                        <a:pt x="1154" y="437"/>
                        <a:pt x="1138" y="411"/>
                      </a:cubicBezTo>
                      <a:cubicBezTo>
                        <a:pt x="1122" y="385"/>
                        <a:pt x="1106" y="385"/>
                        <a:pt x="1122" y="361"/>
                      </a:cubicBezTo>
                      <a:cubicBezTo>
                        <a:pt x="1138" y="337"/>
                        <a:pt x="1119" y="335"/>
                        <a:pt x="1119" y="335"/>
                      </a:cubicBezTo>
                      <a:cubicBezTo>
                        <a:pt x="1146" y="331"/>
                        <a:pt x="1146" y="331"/>
                        <a:pt x="1146" y="331"/>
                      </a:cubicBezTo>
                      <a:cubicBezTo>
                        <a:pt x="1135" y="319"/>
                        <a:pt x="1135" y="319"/>
                        <a:pt x="1135" y="319"/>
                      </a:cubicBezTo>
                      <a:cubicBezTo>
                        <a:pt x="1158" y="322"/>
                        <a:pt x="1158" y="322"/>
                        <a:pt x="1158" y="322"/>
                      </a:cubicBezTo>
                      <a:cubicBezTo>
                        <a:pt x="1145" y="314"/>
                        <a:pt x="1145" y="314"/>
                        <a:pt x="1145" y="314"/>
                      </a:cubicBezTo>
                      <a:cubicBezTo>
                        <a:pt x="1161" y="316"/>
                        <a:pt x="1161" y="316"/>
                        <a:pt x="1161" y="316"/>
                      </a:cubicBezTo>
                      <a:cubicBezTo>
                        <a:pt x="1165" y="306"/>
                        <a:pt x="1165" y="306"/>
                        <a:pt x="1165" y="306"/>
                      </a:cubicBezTo>
                      <a:cubicBezTo>
                        <a:pt x="1151" y="299"/>
                        <a:pt x="1151" y="299"/>
                        <a:pt x="1151" y="299"/>
                      </a:cubicBezTo>
                      <a:cubicBezTo>
                        <a:pt x="1151" y="299"/>
                        <a:pt x="1178" y="303"/>
                        <a:pt x="1182" y="299"/>
                      </a:cubicBezTo>
                      <a:cubicBezTo>
                        <a:pt x="1186" y="295"/>
                        <a:pt x="1171" y="285"/>
                        <a:pt x="1171" y="285"/>
                      </a:cubicBezTo>
                      <a:cubicBezTo>
                        <a:pt x="1193" y="287"/>
                        <a:pt x="1193" y="287"/>
                        <a:pt x="1193" y="287"/>
                      </a:cubicBezTo>
                      <a:cubicBezTo>
                        <a:pt x="1191" y="268"/>
                        <a:pt x="1191" y="268"/>
                        <a:pt x="1191" y="268"/>
                      </a:cubicBezTo>
                      <a:cubicBezTo>
                        <a:pt x="1191" y="268"/>
                        <a:pt x="1205" y="279"/>
                        <a:pt x="1223" y="271"/>
                      </a:cubicBezTo>
                      <a:cubicBezTo>
                        <a:pt x="1242" y="264"/>
                        <a:pt x="1254" y="250"/>
                        <a:pt x="1254" y="250"/>
                      </a:cubicBezTo>
                      <a:cubicBezTo>
                        <a:pt x="1254" y="250"/>
                        <a:pt x="1399" y="229"/>
                        <a:pt x="1420" y="220"/>
                      </a:cubicBezTo>
                      <a:cubicBezTo>
                        <a:pt x="1442" y="210"/>
                        <a:pt x="1463" y="195"/>
                        <a:pt x="1430" y="184"/>
                      </a:cubicBezTo>
                      <a:cubicBezTo>
                        <a:pt x="1397" y="172"/>
                        <a:pt x="1363" y="188"/>
                        <a:pt x="1348" y="194"/>
                      </a:cubicBezTo>
                      <a:cubicBezTo>
                        <a:pt x="1334" y="200"/>
                        <a:pt x="1290" y="215"/>
                        <a:pt x="1270" y="212"/>
                      </a:cubicBezTo>
                      <a:cubicBezTo>
                        <a:pt x="1249" y="210"/>
                        <a:pt x="1218" y="206"/>
                        <a:pt x="1218" y="206"/>
                      </a:cubicBezTo>
                      <a:cubicBezTo>
                        <a:pt x="1207" y="223"/>
                        <a:pt x="1207" y="223"/>
                        <a:pt x="1207" y="223"/>
                      </a:cubicBezTo>
                      <a:cubicBezTo>
                        <a:pt x="1190" y="214"/>
                        <a:pt x="1190" y="214"/>
                        <a:pt x="1190" y="214"/>
                      </a:cubicBezTo>
                      <a:cubicBezTo>
                        <a:pt x="1155" y="228"/>
                        <a:pt x="1155" y="228"/>
                        <a:pt x="1155" y="228"/>
                      </a:cubicBezTo>
                      <a:cubicBezTo>
                        <a:pt x="1136" y="227"/>
                        <a:pt x="1136" y="227"/>
                        <a:pt x="1136" y="227"/>
                      </a:cubicBezTo>
                      <a:cubicBezTo>
                        <a:pt x="1117" y="242"/>
                        <a:pt x="1117" y="242"/>
                        <a:pt x="1117" y="242"/>
                      </a:cubicBezTo>
                      <a:cubicBezTo>
                        <a:pt x="1131" y="247"/>
                        <a:pt x="1131" y="247"/>
                        <a:pt x="1131" y="247"/>
                      </a:cubicBezTo>
                      <a:cubicBezTo>
                        <a:pt x="1098" y="248"/>
                        <a:pt x="1098" y="248"/>
                        <a:pt x="1098" y="248"/>
                      </a:cubicBezTo>
                      <a:cubicBezTo>
                        <a:pt x="1079" y="254"/>
                        <a:pt x="1079" y="254"/>
                        <a:pt x="1079" y="254"/>
                      </a:cubicBezTo>
                      <a:cubicBezTo>
                        <a:pt x="1080" y="263"/>
                        <a:pt x="1080" y="263"/>
                        <a:pt x="1080" y="263"/>
                      </a:cubicBezTo>
                      <a:cubicBezTo>
                        <a:pt x="1097" y="254"/>
                        <a:pt x="1097" y="254"/>
                        <a:pt x="1097" y="254"/>
                      </a:cubicBezTo>
                      <a:cubicBezTo>
                        <a:pt x="1098" y="263"/>
                        <a:pt x="1098" y="263"/>
                        <a:pt x="1098" y="263"/>
                      </a:cubicBezTo>
                      <a:cubicBezTo>
                        <a:pt x="1117" y="265"/>
                        <a:pt x="1117" y="265"/>
                        <a:pt x="1117" y="265"/>
                      </a:cubicBezTo>
                      <a:cubicBezTo>
                        <a:pt x="1111" y="273"/>
                        <a:pt x="1111" y="273"/>
                        <a:pt x="1111" y="273"/>
                      </a:cubicBezTo>
                      <a:cubicBezTo>
                        <a:pt x="1085" y="273"/>
                        <a:pt x="1085" y="273"/>
                        <a:pt x="1085" y="273"/>
                      </a:cubicBezTo>
                      <a:cubicBezTo>
                        <a:pt x="1081" y="282"/>
                        <a:pt x="1081" y="282"/>
                        <a:pt x="1081" y="282"/>
                      </a:cubicBezTo>
                      <a:cubicBezTo>
                        <a:pt x="1099" y="285"/>
                        <a:pt x="1099" y="285"/>
                        <a:pt x="1099" y="285"/>
                      </a:cubicBezTo>
                      <a:cubicBezTo>
                        <a:pt x="1068" y="287"/>
                        <a:pt x="1068" y="287"/>
                        <a:pt x="1068" y="287"/>
                      </a:cubicBezTo>
                      <a:cubicBezTo>
                        <a:pt x="1090" y="293"/>
                        <a:pt x="1090" y="293"/>
                        <a:pt x="1090" y="293"/>
                      </a:cubicBezTo>
                      <a:cubicBezTo>
                        <a:pt x="1061" y="295"/>
                        <a:pt x="1061" y="295"/>
                        <a:pt x="1061" y="295"/>
                      </a:cubicBezTo>
                      <a:cubicBezTo>
                        <a:pt x="1059" y="309"/>
                        <a:pt x="1059" y="309"/>
                        <a:pt x="1059" y="309"/>
                      </a:cubicBezTo>
                      <a:cubicBezTo>
                        <a:pt x="1039" y="316"/>
                        <a:pt x="1039" y="316"/>
                        <a:pt x="1039" y="316"/>
                      </a:cubicBezTo>
                      <a:cubicBezTo>
                        <a:pt x="1046" y="326"/>
                        <a:pt x="1046" y="326"/>
                        <a:pt x="1046" y="326"/>
                      </a:cubicBezTo>
                      <a:cubicBezTo>
                        <a:pt x="1073" y="314"/>
                        <a:pt x="1073" y="314"/>
                        <a:pt x="1073" y="314"/>
                      </a:cubicBezTo>
                      <a:cubicBezTo>
                        <a:pt x="1062" y="332"/>
                        <a:pt x="1062" y="332"/>
                        <a:pt x="1062" y="332"/>
                      </a:cubicBezTo>
                      <a:cubicBezTo>
                        <a:pt x="1062" y="332"/>
                        <a:pt x="1041" y="327"/>
                        <a:pt x="1033" y="334"/>
                      </a:cubicBezTo>
                      <a:cubicBezTo>
                        <a:pt x="1026" y="341"/>
                        <a:pt x="1032" y="349"/>
                        <a:pt x="1032" y="349"/>
                      </a:cubicBezTo>
                      <a:close/>
                      <a:moveTo>
                        <a:pt x="3856" y="331"/>
                      </a:moveTo>
                      <a:cubicBezTo>
                        <a:pt x="3904" y="325"/>
                        <a:pt x="3904" y="325"/>
                        <a:pt x="3904" y="325"/>
                      </a:cubicBezTo>
                      <a:cubicBezTo>
                        <a:pt x="3976" y="335"/>
                        <a:pt x="3976" y="335"/>
                        <a:pt x="3976" y="335"/>
                      </a:cubicBezTo>
                      <a:cubicBezTo>
                        <a:pt x="3976" y="335"/>
                        <a:pt x="3954" y="311"/>
                        <a:pt x="3938" y="307"/>
                      </a:cubicBezTo>
                      <a:cubicBezTo>
                        <a:pt x="3922" y="303"/>
                        <a:pt x="3866" y="311"/>
                        <a:pt x="3866" y="311"/>
                      </a:cubicBezTo>
                      <a:lnTo>
                        <a:pt x="3856" y="331"/>
                      </a:lnTo>
                      <a:close/>
                      <a:moveTo>
                        <a:pt x="3858" y="253"/>
                      </a:moveTo>
                      <a:cubicBezTo>
                        <a:pt x="3896" y="257"/>
                        <a:pt x="3896" y="257"/>
                        <a:pt x="3896" y="257"/>
                      </a:cubicBezTo>
                      <a:cubicBezTo>
                        <a:pt x="3906" y="247"/>
                        <a:pt x="3904" y="235"/>
                        <a:pt x="3886" y="235"/>
                      </a:cubicBezTo>
                      <a:cubicBezTo>
                        <a:pt x="3868" y="235"/>
                        <a:pt x="3808" y="221"/>
                        <a:pt x="3816" y="233"/>
                      </a:cubicBezTo>
                      <a:cubicBezTo>
                        <a:pt x="3824" y="245"/>
                        <a:pt x="3858" y="253"/>
                        <a:pt x="3858" y="253"/>
                      </a:cubicBezTo>
                      <a:close/>
                      <a:moveTo>
                        <a:pt x="3818" y="289"/>
                      </a:moveTo>
                      <a:cubicBezTo>
                        <a:pt x="3792" y="315"/>
                        <a:pt x="3848" y="313"/>
                        <a:pt x="3856" y="303"/>
                      </a:cubicBezTo>
                      <a:cubicBezTo>
                        <a:pt x="3864" y="293"/>
                        <a:pt x="3825" y="282"/>
                        <a:pt x="3818" y="289"/>
                      </a:cubicBezTo>
                      <a:close/>
                      <a:moveTo>
                        <a:pt x="2050" y="65"/>
                      </a:moveTo>
                      <a:cubicBezTo>
                        <a:pt x="2050" y="65"/>
                        <a:pt x="2106" y="69"/>
                        <a:pt x="2118" y="65"/>
                      </a:cubicBezTo>
                      <a:cubicBezTo>
                        <a:pt x="2130" y="61"/>
                        <a:pt x="2172" y="65"/>
                        <a:pt x="2164" y="49"/>
                      </a:cubicBezTo>
                      <a:cubicBezTo>
                        <a:pt x="2156" y="33"/>
                        <a:pt x="2082" y="11"/>
                        <a:pt x="2082" y="11"/>
                      </a:cubicBezTo>
                      <a:cubicBezTo>
                        <a:pt x="2082" y="11"/>
                        <a:pt x="2026" y="1"/>
                        <a:pt x="2024" y="21"/>
                      </a:cubicBezTo>
                      <a:cubicBezTo>
                        <a:pt x="2022" y="41"/>
                        <a:pt x="2050" y="65"/>
                        <a:pt x="2050" y="65"/>
                      </a:cubicBezTo>
                      <a:close/>
                      <a:moveTo>
                        <a:pt x="4094" y="273"/>
                      </a:moveTo>
                      <a:cubicBezTo>
                        <a:pt x="4122" y="259"/>
                        <a:pt x="4026" y="259"/>
                        <a:pt x="4026" y="259"/>
                      </a:cubicBezTo>
                      <a:cubicBezTo>
                        <a:pt x="4026" y="259"/>
                        <a:pt x="4006" y="241"/>
                        <a:pt x="3998" y="241"/>
                      </a:cubicBezTo>
                      <a:cubicBezTo>
                        <a:pt x="3990" y="241"/>
                        <a:pt x="3966" y="245"/>
                        <a:pt x="3966" y="245"/>
                      </a:cubicBezTo>
                      <a:cubicBezTo>
                        <a:pt x="3942" y="243"/>
                        <a:pt x="3942" y="243"/>
                        <a:pt x="3942" y="243"/>
                      </a:cubicBezTo>
                      <a:cubicBezTo>
                        <a:pt x="3966" y="259"/>
                        <a:pt x="3966" y="259"/>
                        <a:pt x="3966" y="259"/>
                      </a:cubicBezTo>
                      <a:cubicBezTo>
                        <a:pt x="3966" y="259"/>
                        <a:pt x="4066" y="287"/>
                        <a:pt x="4094" y="273"/>
                      </a:cubicBezTo>
                      <a:close/>
                      <a:moveTo>
                        <a:pt x="5070" y="495"/>
                      </a:moveTo>
                      <a:cubicBezTo>
                        <a:pt x="5078" y="485"/>
                        <a:pt x="5004" y="475"/>
                        <a:pt x="5004" y="475"/>
                      </a:cubicBezTo>
                      <a:cubicBezTo>
                        <a:pt x="5004" y="483"/>
                        <a:pt x="5062" y="505"/>
                        <a:pt x="5070" y="495"/>
                      </a:cubicBezTo>
                      <a:close/>
                      <a:moveTo>
                        <a:pt x="2112" y="81"/>
                      </a:moveTo>
                      <a:cubicBezTo>
                        <a:pt x="2112" y="89"/>
                        <a:pt x="2178" y="95"/>
                        <a:pt x="2178" y="95"/>
                      </a:cubicBezTo>
                      <a:cubicBezTo>
                        <a:pt x="2212" y="91"/>
                        <a:pt x="2212" y="91"/>
                        <a:pt x="2212" y="91"/>
                      </a:cubicBezTo>
                      <a:cubicBezTo>
                        <a:pt x="2250" y="105"/>
                        <a:pt x="2250" y="105"/>
                        <a:pt x="2250" y="105"/>
                      </a:cubicBezTo>
                      <a:cubicBezTo>
                        <a:pt x="2292" y="103"/>
                        <a:pt x="2292" y="103"/>
                        <a:pt x="2292" y="103"/>
                      </a:cubicBezTo>
                      <a:cubicBezTo>
                        <a:pt x="2286" y="85"/>
                        <a:pt x="2268" y="59"/>
                        <a:pt x="2250" y="61"/>
                      </a:cubicBezTo>
                      <a:cubicBezTo>
                        <a:pt x="2232" y="63"/>
                        <a:pt x="2214" y="75"/>
                        <a:pt x="2214" y="75"/>
                      </a:cubicBezTo>
                      <a:cubicBezTo>
                        <a:pt x="2200" y="59"/>
                        <a:pt x="2200" y="59"/>
                        <a:pt x="2200" y="59"/>
                      </a:cubicBezTo>
                      <a:cubicBezTo>
                        <a:pt x="2200" y="59"/>
                        <a:pt x="2112" y="73"/>
                        <a:pt x="2112" y="81"/>
                      </a:cubicBezTo>
                      <a:close/>
                      <a:moveTo>
                        <a:pt x="2392" y="133"/>
                      </a:moveTo>
                      <a:cubicBezTo>
                        <a:pt x="2498" y="127"/>
                        <a:pt x="2498" y="127"/>
                        <a:pt x="2498" y="127"/>
                      </a:cubicBezTo>
                      <a:cubicBezTo>
                        <a:pt x="2470" y="111"/>
                        <a:pt x="2470" y="111"/>
                        <a:pt x="2470" y="111"/>
                      </a:cubicBezTo>
                      <a:cubicBezTo>
                        <a:pt x="2470" y="111"/>
                        <a:pt x="2432" y="91"/>
                        <a:pt x="2422" y="91"/>
                      </a:cubicBezTo>
                      <a:cubicBezTo>
                        <a:pt x="2412" y="91"/>
                        <a:pt x="2394" y="103"/>
                        <a:pt x="2394" y="103"/>
                      </a:cubicBezTo>
                      <a:cubicBezTo>
                        <a:pt x="2394" y="103"/>
                        <a:pt x="2388" y="75"/>
                        <a:pt x="2366" y="75"/>
                      </a:cubicBezTo>
                      <a:cubicBezTo>
                        <a:pt x="2344" y="75"/>
                        <a:pt x="2332" y="141"/>
                        <a:pt x="2332" y="141"/>
                      </a:cubicBezTo>
                      <a:cubicBezTo>
                        <a:pt x="2348" y="149"/>
                        <a:pt x="2348" y="149"/>
                        <a:pt x="2348" y="149"/>
                      </a:cubicBezTo>
                      <a:cubicBezTo>
                        <a:pt x="2366" y="145"/>
                        <a:pt x="2392" y="133"/>
                        <a:pt x="2392" y="133"/>
                      </a:cubicBezTo>
                      <a:close/>
                      <a:moveTo>
                        <a:pt x="3752" y="279"/>
                      </a:moveTo>
                      <a:cubicBezTo>
                        <a:pt x="3762" y="261"/>
                        <a:pt x="3762" y="261"/>
                        <a:pt x="3762" y="261"/>
                      </a:cubicBezTo>
                      <a:cubicBezTo>
                        <a:pt x="3762" y="261"/>
                        <a:pt x="3788" y="261"/>
                        <a:pt x="3798" y="261"/>
                      </a:cubicBezTo>
                      <a:cubicBezTo>
                        <a:pt x="3808" y="261"/>
                        <a:pt x="3838" y="259"/>
                        <a:pt x="3838" y="259"/>
                      </a:cubicBezTo>
                      <a:cubicBezTo>
                        <a:pt x="3796" y="239"/>
                        <a:pt x="3796" y="239"/>
                        <a:pt x="3796" y="239"/>
                      </a:cubicBezTo>
                      <a:cubicBezTo>
                        <a:pt x="3804" y="225"/>
                        <a:pt x="3804" y="225"/>
                        <a:pt x="3804" y="225"/>
                      </a:cubicBezTo>
                      <a:cubicBezTo>
                        <a:pt x="3744" y="213"/>
                        <a:pt x="3744" y="213"/>
                        <a:pt x="3744" y="213"/>
                      </a:cubicBezTo>
                      <a:cubicBezTo>
                        <a:pt x="3754" y="231"/>
                        <a:pt x="3754" y="231"/>
                        <a:pt x="3754" y="231"/>
                      </a:cubicBezTo>
                      <a:cubicBezTo>
                        <a:pt x="3754" y="231"/>
                        <a:pt x="3632" y="191"/>
                        <a:pt x="3634" y="221"/>
                      </a:cubicBezTo>
                      <a:cubicBezTo>
                        <a:pt x="3636" y="251"/>
                        <a:pt x="3752" y="279"/>
                        <a:pt x="3752" y="279"/>
                      </a:cubicBezTo>
                      <a:close/>
                      <a:moveTo>
                        <a:pt x="2882" y="289"/>
                      </a:moveTo>
                      <a:cubicBezTo>
                        <a:pt x="2914" y="295"/>
                        <a:pt x="2914" y="295"/>
                        <a:pt x="2914" y="295"/>
                      </a:cubicBezTo>
                      <a:cubicBezTo>
                        <a:pt x="2934" y="297"/>
                        <a:pt x="2954" y="285"/>
                        <a:pt x="2924" y="279"/>
                      </a:cubicBezTo>
                      <a:cubicBezTo>
                        <a:pt x="2894" y="273"/>
                        <a:pt x="2882" y="289"/>
                        <a:pt x="2882" y="289"/>
                      </a:cubicBezTo>
                      <a:close/>
                      <a:moveTo>
                        <a:pt x="3618" y="235"/>
                      </a:moveTo>
                      <a:cubicBezTo>
                        <a:pt x="3582" y="223"/>
                        <a:pt x="3582" y="223"/>
                        <a:pt x="3582" y="223"/>
                      </a:cubicBezTo>
                      <a:cubicBezTo>
                        <a:pt x="3598" y="245"/>
                        <a:pt x="3598" y="245"/>
                        <a:pt x="3598" y="245"/>
                      </a:cubicBezTo>
                      <a:lnTo>
                        <a:pt x="3618" y="235"/>
                      </a:lnTo>
                      <a:close/>
                      <a:moveTo>
                        <a:pt x="5328" y="443"/>
                      </a:moveTo>
                      <a:cubicBezTo>
                        <a:pt x="5340" y="439"/>
                        <a:pt x="5358" y="437"/>
                        <a:pt x="5384" y="437"/>
                      </a:cubicBezTo>
                      <a:cubicBezTo>
                        <a:pt x="5410" y="437"/>
                        <a:pt x="5414" y="421"/>
                        <a:pt x="5396" y="419"/>
                      </a:cubicBezTo>
                      <a:cubicBezTo>
                        <a:pt x="5378" y="417"/>
                        <a:pt x="5346" y="405"/>
                        <a:pt x="5334" y="405"/>
                      </a:cubicBezTo>
                      <a:cubicBezTo>
                        <a:pt x="5322" y="405"/>
                        <a:pt x="5294" y="405"/>
                        <a:pt x="5294" y="427"/>
                      </a:cubicBezTo>
                      <a:cubicBezTo>
                        <a:pt x="5294" y="451"/>
                        <a:pt x="5316" y="447"/>
                        <a:pt x="5328" y="443"/>
                      </a:cubicBezTo>
                      <a:close/>
                      <a:moveTo>
                        <a:pt x="111" y="1194"/>
                      </a:moveTo>
                      <a:cubicBezTo>
                        <a:pt x="103" y="1195"/>
                        <a:pt x="79" y="1198"/>
                        <a:pt x="79" y="1198"/>
                      </a:cubicBezTo>
                      <a:cubicBezTo>
                        <a:pt x="77" y="1192"/>
                        <a:pt x="77" y="1192"/>
                        <a:pt x="77" y="1192"/>
                      </a:cubicBezTo>
                      <a:cubicBezTo>
                        <a:pt x="69" y="1193"/>
                        <a:pt x="69" y="1193"/>
                        <a:pt x="69" y="1193"/>
                      </a:cubicBezTo>
                      <a:cubicBezTo>
                        <a:pt x="66" y="1187"/>
                        <a:pt x="66" y="1187"/>
                        <a:pt x="66" y="1187"/>
                      </a:cubicBezTo>
                      <a:cubicBezTo>
                        <a:pt x="61" y="1187"/>
                        <a:pt x="61" y="1187"/>
                        <a:pt x="61" y="1187"/>
                      </a:cubicBezTo>
                      <a:cubicBezTo>
                        <a:pt x="61" y="1192"/>
                        <a:pt x="53" y="1201"/>
                        <a:pt x="53" y="1201"/>
                      </a:cubicBezTo>
                      <a:cubicBezTo>
                        <a:pt x="53" y="1201"/>
                        <a:pt x="12" y="1196"/>
                        <a:pt x="6" y="1203"/>
                      </a:cubicBezTo>
                      <a:cubicBezTo>
                        <a:pt x="0" y="1210"/>
                        <a:pt x="13" y="1219"/>
                        <a:pt x="13" y="1219"/>
                      </a:cubicBezTo>
                      <a:cubicBezTo>
                        <a:pt x="8" y="1228"/>
                        <a:pt x="8" y="1228"/>
                        <a:pt x="8" y="1228"/>
                      </a:cubicBezTo>
                      <a:cubicBezTo>
                        <a:pt x="8" y="1227"/>
                        <a:pt x="8" y="1227"/>
                        <a:pt x="8" y="1227"/>
                      </a:cubicBezTo>
                      <a:cubicBezTo>
                        <a:pt x="13" y="1232"/>
                        <a:pt x="13" y="1232"/>
                        <a:pt x="13" y="1232"/>
                      </a:cubicBezTo>
                      <a:cubicBezTo>
                        <a:pt x="13" y="1232"/>
                        <a:pt x="25" y="1227"/>
                        <a:pt x="34" y="1229"/>
                      </a:cubicBezTo>
                      <a:cubicBezTo>
                        <a:pt x="43" y="1231"/>
                        <a:pt x="51" y="1236"/>
                        <a:pt x="51" y="1236"/>
                      </a:cubicBezTo>
                      <a:cubicBezTo>
                        <a:pt x="51" y="1236"/>
                        <a:pt x="82" y="1234"/>
                        <a:pt x="90" y="1235"/>
                      </a:cubicBezTo>
                      <a:cubicBezTo>
                        <a:pt x="98" y="1236"/>
                        <a:pt x="113" y="1236"/>
                        <a:pt x="113" y="1236"/>
                      </a:cubicBezTo>
                      <a:cubicBezTo>
                        <a:pt x="113" y="1236"/>
                        <a:pt x="109" y="1230"/>
                        <a:pt x="117" y="1231"/>
                      </a:cubicBezTo>
                      <a:cubicBezTo>
                        <a:pt x="112" y="1221"/>
                        <a:pt x="112" y="1221"/>
                        <a:pt x="112" y="1221"/>
                      </a:cubicBezTo>
                      <a:cubicBezTo>
                        <a:pt x="112" y="1221"/>
                        <a:pt x="120" y="1214"/>
                        <a:pt x="121" y="1209"/>
                      </a:cubicBezTo>
                      <a:cubicBezTo>
                        <a:pt x="122" y="1204"/>
                        <a:pt x="119" y="1193"/>
                        <a:pt x="111" y="1194"/>
                      </a:cubicBezTo>
                      <a:close/>
                      <a:moveTo>
                        <a:pt x="698" y="59"/>
                      </a:moveTo>
                      <a:cubicBezTo>
                        <a:pt x="712" y="49"/>
                        <a:pt x="712" y="49"/>
                        <a:pt x="712" y="49"/>
                      </a:cubicBezTo>
                      <a:cubicBezTo>
                        <a:pt x="712" y="49"/>
                        <a:pt x="677" y="42"/>
                        <a:pt x="698" y="59"/>
                      </a:cubicBezTo>
                      <a:close/>
                      <a:moveTo>
                        <a:pt x="664" y="48"/>
                      </a:moveTo>
                      <a:cubicBezTo>
                        <a:pt x="720" y="35"/>
                        <a:pt x="720" y="35"/>
                        <a:pt x="720" y="35"/>
                      </a:cubicBezTo>
                      <a:cubicBezTo>
                        <a:pt x="702" y="30"/>
                        <a:pt x="702" y="30"/>
                        <a:pt x="702" y="30"/>
                      </a:cubicBezTo>
                      <a:cubicBezTo>
                        <a:pt x="668" y="38"/>
                        <a:pt x="668" y="38"/>
                        <a:pt x="668" y="38"/>
                      </a:cubicBezTo>
                      <a:cubicBezTo>
                        <a:pt x="634" y="37"/>
                        <a:pt x="634" y="37"/>
                        <a:pt x="634" y="37"/>
                      </a:cubicBezTo>
                      <a:cubicBezTo>
                        <a:pt x="650" y="44"/>
                        <a:pt x="650" y="44"/>
                        <a:pt x="650" y="44"/>
                      </a:cubicBezTo>
                      <a:lnTo>
                        <a:pt x="664" y="48"/>
                      </a:lnTo>
                      <a:close/>
                      <a:moveTo>
                        <a:pt x="754" y="61"/>
                      </a:moveTo>
                      <a:cubicBezTo>
                        <a:pt x="757" y="51"/>
                        <a:pt x="757" y="51"/>
                        <a:pt x="757" y="51"/>
                      </a:cubicBezTo>
                      <a:cubicBezTo>
                        <a:pt x="774" y="51"/>
                        <a:pt x="774" y="51"/>
                        <a:pt x="774" y="51"/>
                      </a:cubicBezTo>
                      <a:cubicBezTo>
                        <a:pt x="779" y="45"/>
                        <a:pt x="779" y="45"/>
                        <a:pt x="779" y="45"/>
                      </a:cubicBezTo>
                      <a:cubicBezTo>
                        <a:pt x="779" y="45"/>
                        <a:pt x="806" y="48"/>
                        <a:pt x="816" y="42"/>
                      </a:cubicBezTo>
                      <a:cubicBezTo>
                        <a:pt x="826" y="37"/>
                        <a:pt x="791" y="37"/>
                        <a:pt x="791" y="37"/>
                      </a:cubicBezTo>
                      <a:cubicBezTo>
                        <a:pt x="791" y="37"/>
                        <a:pt x="791" y="27"/>
                        <a:pt x="774" y="27"/>
                      </a:cubicBezTo>
                      <a:cubicBezTo>
                        <a:pt x="757" y="27"/>
                        <a:pt x="755" y="45"/>
                        <a:pt x="755" y="45"/>
                      </a:cubicBezTo>
                      <a:cubicBezTo>
                        <a:pt x="755" y="45"/>
                        <a:pt x="719" y="51"/>
                        <a:pt x="722" y="56"/>
                      </a:cubicBezTo>
                      <a:cubicBezTo>
                        <a:pt x="724" y="62"/>
                        <a:pt x="754" y="61"/>
                        <a:pt x="754" y="61"/>
                      </a:cubicBezTo>
                      <a:close/>
                      <a:moveTo>
                        <a:pt x="786" y="53"/>
                      </a:moveTo>
                      <a:cubicBezTo>
                        <a:pt x="776" y="59"/>
                        <a:pt x="776" y="59"/>
                        <a:pt x="776" y="59"/>
                      </a:cubicBezTo>
                      <a:cubicBezTo>
                        <a:pt x="789" y="66"/>
                        <a:pt x="789" y="66"/>
                        <a:pt x="789" y="66"/>
                      </a:cubicBezTo>
                      <a:cubicBezTo>
                        <a:pt x="802" y="72"/>
                        <a:pt x="802" y="72"/>
                        <a:pt x="802" y="72"/>
                      </a:cubicBezTo>
                      <a:cubicBezTo>
                        <a:pt x="834" y="69"/>
                        <a:pt x="834" y="69"/>
                        <a:pt x="834" y="69"/>
                      </a:cubicBezTo>
                      <a:cubicBezTo>
                        <a:pt x="833" y="61"/>
                        <a:pt x="833" y="61"/>
                        <a:pt x="833" y="61"/>
                      </a:cubicBezTo>
                      <a:cubicBezTo>
                        <a:pt x="810" y="61"/>
                        <a:pt x="810" y="61"/>
                        <a:pt x="810" y="61"/>
                      </a:cubicBezTo>
                      <a:lnTo>
                        <a:pt x="786" y="53"/>
                      </a:lnTo>
                      <a:close/>
                      <a:moveTo>
                        <a:pt x="5213" y="1622"/>
                      </a:moveTo>
                      <a:cubicBezTo>
                        <a:pt x="5191" y="1599"/>
                        <a:pt x="5191" y="1599"/>
                        <a:pt x="5191" y="1599"/>
                      </a:cubicBezTo>
                      <a:cubicBezTo>
                        <a:pt x="5191" y="1599"/>
                        <a:pt x="5169" y="1593"/>
                        <a:pt x="5156" y="1575"/>
                      </a:cubicBezTo>
                      <a:cubicBezTo>
                        <a:pt x="5144" y="1557"/>
                        <a:pt x="5136" y="1516"/>
                        <a:pt x="5136" y="1516"/>
                      </a:cubicBezTo>
                      <a:cubicBezTo>
                        <a:pt x="5136" y="1516"/>
                        <a:pt x="5112" y="1502"/>
                        <a:pt x="5125" y="1495"/>
                      </a:cubicBezTo>
                      <a:cubicBezTo>
                        <a:pt x="5137" y="1488"/>
                        <a:pt x="5213" y="1526"/>
                        <a:pt x="5213" y="1526"/>
                      </a:cubicBezTo>
                      <a:cubicBezTo>
                        <a:pt x="5163" y="1489"/>
                        <a:pt x="5163" y="1489"/>
                        <a:pt x="5163" y="1489"/>
                      </a:cubicBezTo>
                      <a:cubicBezTo>
                        <a:pt x="5163" y="1489"/>
                        <a:pt x="5144" y="1459"/>
                        <a:pt x="5134" y="1452"/>
                      </a:cubicBezTo>
                      <a:cubicBezTo>
                        <a:pt x="5125" y="1445"/>
                        <a:pt x="5109" y="1435"/>
                        <a:pt x="5109" y="1435"/>
                      </a:cubicBezTo>
                      <a:cubicBezTo>
                        <a:pt x="5057" y="1379"/>
                        <a:pt x="5057" y="1379"/>
                        <a:pt x="5057" y="1379"/>
                      </a:cubicBezTo>
                      <a:cubicBezTo>
                        <a:pt x="5040" y="1380"/>
                        <a:pt x="5040" y="1380"/>
                        <a:pt x="5040" y="1380"/>
                      </a:cubicBezTo>
                      <a:cubicBezTo>
                        <a:pt x="5033" y="1361"/>
                        <a:pt x="5033" y="1361"/>
                        <a:pt x="5033" y="1361"/>
                      </a:cubicBezTo>
                      <a:cubicBezTo>
                        <a:pt x="5033" y="1361"/>
                        <a:pt x="5023" y="1363"/>
                        <a:pt x="5011" y="1351"/>
                      </a:cubicBezTo>
                      <a:cubicBezTo>
                        <a:pt x="4999" y="1338"/>
                        <a:pt x="5003" y="1322"/>
                        <a:pt x="5003" y="1322"/>
                      </a:cubicBezTo>
                      <a:cubicBezTo>
                        <a:pt x="4983" y="1297"/>
                        <a:pt x="4983" y="1297"/>
                        <a:pt x="4983" y="1297"/>
                      </a:cubicBezTo>
                      <a:cubicBezTo>
                        <a:pt x="4969" y="1298"/>
                        <a:pt x="4969" y="1298"/>
                        <a:pt x="4969" y="1298"/>
                      </a:cubicBezTo>
                      <a:cubicBezTo>
                        <a:pt x="4960" y="1279"/>
                        <a:pt x="4960" y="1279"/>
                        <a:pt x="4960" y="1279"/>
                      </a:cubicBezTo>
                      <a:cubicBezTo>
                        <a:pt x="4933" y="1259"/>
                        <a:pt x="4933" y="1259"/>
                        <a:pt x="4933" y="1259"/>
                      </a:cubicBezTo>
                      <a:cubicBezTo>
                        <a:pt x="4925" y="1243"/>
                        <a:pt x="4925" y="1243"/>
                        <a:pt x="4925" y="1243"/>
                      </a:cubicBezTo>
                      <a:cubicBezTo>
                        <a:pt x="4925" y="1243"/>
                        <a:pt x="4907" y="1230"/>
                        <a:pt x="4900" y="1235"/>
                      </a:cubicBezTo>
                      <a:cubicBezTo>
                        <a:pt x="4893" y="1239"/>
                        <a:pt x="4939" y="1272"/>
                        <a:pt x="4933" y="1275"/>
                      </a:cubicBezTo>
                      <a:cubicBezTo>
                        <a:pt x="4928" y="1277"/>
                        <a:pt x="4915" y="1262"/>
                        <a:pt x="4913" y="1277"/>
                      </a:cubicBezTo>
                      <a:cubicBezTo>
                        <a:pt x="4910" y="1293"/>
                        <a:pt x="4939" y="1322"/>
                        <a:pt x="4939" y="1322"/>
                      </a:cubicBezTo>
                      <a:cubicBezTo>
                        <a:pt x="4939" y="1322"/>
                        <a:pt x="4946" y="1340"/>
                        <a:pt x="4953" y="1347"/>
                      </a:cubicBezTo>
                      <a:cubicBezTo>
                        <a:pt x="4960" y="1354"/>
                        <a:pt x="5007" y="1384"/>
                        <a:pt x="5018" y="1398"/>
                      </a:cubicBezTo>
                      <a:cubicBezTo>
                        <a:pt x="5029" y="1412"/>
                        <a:pt x="5028" y="1434"/>
                        <a:pt x="5041" y="1445"/>
                      </a:cubicBezTo>
                      <a:cubicBezTo>
                        <a:pt x="5055" y="1456"/>
                        <a:pt x="5087" y="1512"/>
                        <a:pt x="5087" y="1512"/>
                      </a:cubicBezTo>
                      <a:cubicBezTo>
                        <a:pt x="5087" y="1512"/>
                        <a:pt x="5093" y="1535"/>
                        <a:pt x="5100" y="1535"/>
                      </a:cubicBezTo>
                      <a:cubicBezTo>
                        <a:pt x="5107" y="1535"/>
                        <a:pt x="5120" y="1545"/>
                        <a:pt x="5127" y="1555"/>
                      </a:cubicBezTo>
                      <a:cubicBezTo>
                        <a:pt x="5134" y="1564"/>
                        <a:pt x="5134" y="1584"/>
                        <a:pt x="5134" y="1584"/>
                      </a:cubicBezTo>
                      <a:cubicBezTo>
                        <a:pt x="5162" y="1607"/>
                        <a:pt x="5162" y="1607"/>
                        <a:pt x="5162" y="1607"/>
                      </a:cubicBezTo>
                      <a:cubicBezTo>
                        <a:pt x="5172" y="1643"/>
                        <a:pt x="5172" y="1643"/>
                        <a:pt x="5172" y="1643"/>
                      </a:cubicBezTo>
                      <a:cubicBezTo>
                        <a:pt x="5198" y="1671"/>
                        <a:pt x="5198" y="1671"/>
                        <a:pt x="5198" y="1671"/>
                      </a:cubicBezTo>
                      <a:cubicBezTo>
                        <a:pt x="5198" y="1671"/>
                        <a:pt x="5184" y="1632"/>
                        <a:pt x="5193" y="1629"/>
                      </a:cubicBezTo>
                      <a:cubicBezTo>
                        <a:pt x="5201" y="1627"/>
                        <a:pt x="5205" y="1636"/>
                        <a:pt x="5205" y="1636"/>
                      </a:cubicBezTo>
                      <a:cubicBezTo>
                        <a:pt x="5226" y="1636"/>
                        <a:pt x="5226" y="1636"/>
                        <a:pt x="5226" y="1636"/>
                      </a:cubicBezTo>
                      <a:cubicBezTo>
                        <a:pt x="5248" y="1663"/>
                        <a:pt x="5248" y="1663"/>
                        <a:pt x="5248" y="1663"/>
                      </a:cubicBezTo>
                      <a:cubicBezTo>
                        <a:pt x="5249" y="1646"/>
                        <a:pt x="5249" y="1646"/>
                        <a:pt x="5249" y="1646"/>
                      </a:cubicBezTo>
                      <a:cubicBezTo>
                        <a:pt x="5229" y="1621"/>
                        <a:pt x="5229" y="1621"/>
                        <a:pt x="5229" y="1621"/>
                      </a:cubicBezTo>
                      <a:lnTo>
                        <a:pt x="5213" y="1622"/>
                      </a:lnTo>
                      <a:close/>
                      <a:moveTo>
                        <a:pt x="899" y="58"/>
                      </a:moveTo>
                      <a:cubicBezTo>
                        <a:pt x="905" y="46"/>
                        <a:pt x="905" y="46"/>
                        <a:pt x="905" y="46"/>
                      </a:cubicBezTo>
                      <a:cubicBezTo>
                        <a:pt x="876" y="42"/>
                        <a:pt x="876" y="42"/>
                        <a:pt x="876" y="42"/>
                      </a:cubicBezTo>
                      <a:cubicBezTo>
                        <a:pt x="861" y="52"/>
                        <a:pt x="861" y="52"/>
                        <a:pt x="861" y="52"/>
                      </a:cubicBezTo>
                      <a:cubicBezTo>
                        <a:pt x="864" y="61"/>
                        <a:pt x="864" y="61"/>
                        <a:pt x="864" y="61"/>
                      </a:cubicBezTo>
                      <a:lnTo>
                        <a:pt x="899" y="58"/>
                      </a:lnTo>
                      <a:close/>
                      <a:moveTo>
                        <a:pt x="771" y="1607"/>
                      </a:moveTo>
                      <a:cubicBezTo>
                        <a:pt x="771" y="1607"/>
                        <a:pt x="773" y="1608"/>
                        <a:pt x="774" y="1608"/>
                      </a:cubicBezTo>
                      <a:cubicBezTo>
                        <a:pt x="773" y="1608"/>
                        <a:pt x="771" y="1607"/>
                        <a:pt x="771" y="1607"/>
                      </a:cubicBezTo>
                      <a:close/>
                      <a:moveTo>
                        <a:pt x="771" y="1607"/>
                      </a:moveTo>
                      <a:cubicBezTo>
                        <a:pt x="770" y="1607"/>
                        <a:pt x="770" y="1607"/>
                        <a:pt x="770" y="1607"/>
                      </a:cubicBezTo>
                      <a:cubicBezTo>
                        <a:pt x="770" y="1607"/>
                        <a:pt x="770" y="1607"/>
                        <a:pt x="771" y="1607"/>
                      </a:cubicBezTo>
                      <a:close/>
                      <a:moveTo>
                        <a:pt x="6034" y="664"/>
                      </a:moveTo>
                      <a:cubicBezTo>
                        <a:pt x="6023" y="650"/>
                        <a:pt x="5993" y="645"/>
                        <a:pt x="5993" y="645"/>
                      </a:cubicBezTo>
                      <a:cubicBezTo>
                        <a:pt x="5962" y="631"/>
                        <a:pt x="5962" y="631"/>
                        <a:pt x="5962" y="631"/>
                      </a:cubicBezTo>
                      <a:cubicBezTo>
                        <a:pt x="5935" y="632"/>
                        <a:pt x="5935" y="632"/>
                        <a:pt x="5935" y="632"/>
                      </a:cubicBezTo>
                      <a:cubicBezTo>
                        <a:pt x="5915" y="619"/>
                        <a:pt x="5915" y="619"/>
                        <a:pt x="5915" y="619"/>
                      </a:cubicBezTo>
                      <a:cubicBezTo>
                        <a:pt x="5854" y="615"/>
                        <a:pt x="5854" y="615"/>
                        <a:pt x="5854" y="615"/>
                      </a:cubicBezTo>
                      <a:cubicBezTo>
                        <a:pt x="5829" y="603"/>
                        <a:pt x="5829" y="603"/>
                        <a:pt x="5829" y="603"/>
                      </a:cubicBezTo>
                      <a:cubicBezTo>
                        <a:pt x="5805" y="605"/>
                        <a:pt x="5805" y="605"/>
                        <a:pt x="5805" y="605"/>
                      </a:cubicBezTo>
                      <a:cubicBezTo>
                        <a:pt x="5838" y="630"/>
                        <a:pt x="5838" y="630"/>
                        <a:pt x="5838" y="630"/>
                      </a:cubicBezTo>
                      <a:cubicBezTo>
                        <a:pt x="5874" y="646"/>
                        <a:pt x="5874" y="646"/>
                        <a:pt x="5874" y="646"/>
                      </a:cubicBezTo>
                      <a:cubicBezTo>
                        <a:pt x="5874" y="646"/>
                        <a:pt x="5834" y="652"/>
                        <a:pt x="5822" y="642"/>
                      </a:cubicBezTo>
                      <a:cubicBezTo>
                        <a:pt x="5810" y="632"/>
                        <a:pt x="5809" y="610"/>
                        <a:pt x="5756" y="592"/>
                      </a:cubicBezTo>
                      <a:cubicBezTo>
                        <a:pt x="5703" y="574"/>
                        <a:pt x="5687" y="567"/>
                        <a:pt x="5633" y="558"/>
                      </a:cubicBezTo>
                      <a:cubicBezTo>
                        <a:pt x="5579" y="549"/>
                        <a:pt x="5466" y="523"/>
                        <a:pt x="5412" y="510"/>
                      </a:cubicBezTo>
                      <a:cubicBezTo>
                        <a:pt x="5358" y="497"/>
                        <a:pt x="5297" y="488"/>
                        <a:pt x="5297" y="488"/>
                      </a:cubicBezTo>
                      <a:cubicBezTo>
                        <a:pt x="5175" y="490"/>
                        <a:pt x="5175" y="490"/>
                        <a:pt x="5175" y="490"/>
                      </a:cubicBezTo>
                      <a:cubicBezTo>
                        <a:pt x="5166" y="478"/>
                        <a:pt x="5166" y="478"/>
                        <a:pt x="5166" y="478"/>
                      </a:cubicBezTo>
                      <a:cubicBezTo>
                        <a:pt x="5135" y="480"/>
                        <a:pt x="5135" y="480"/>
                        <a:pt x="5135" y="480"/>
                      </a:cubicBezTo>
                      <a:cubicBezTo>
                        <a:pt x="5124" y="472"/>
                        <a:pt x="5124" y="472"/>
                        <a:pt x="5124" y="472"/>
                      </a:cubicBezTo>
                      <a:cubicBezTo>
                        <a:pt x="5088" y="471"/>
                        <a:pt x="5088" y="471"/>
                        <a:pt x="5088" y="471"/>
                      </a:cubicBezTo>
                      <a:cubicBezTo>
                        <a:pt x="5105" y="483"/>
                        <a:pt x="5105" y="483"/>
                        <a:pt x="5105" y="483"/>
                      </a:cubicBezTo>
                      <a:cubicBezTo>
                        <a:pt x="5100" y="497"/>
                        <a:pt x="5100" y="497"/>
                        <a:pt x="5100" y="497"/>
                      </a:cubicBezTo>
                      <a:cubicBezTo>
                        <a:pt x="5100" y="497"/>
                        <a:pt x="5199" y="520"/>
                        <a:pt x="5170" y="533"/>
                      </a:cubicBezTo>
                      <a:cubicBezTo>
                        <a:pt x="5141" y="546"/>
                        <a:pt x="5123" y="529"/>
                        <a:pt x="5123" y="529"/>
                      </a:cubicBezTo>
                      <a:cubicBezTo>
                        <a:pt x="5106" y="515"/>
                        <a:pt x="5106" y="515"/>
                        <a:pt x="5106" y="515"/>
                      </a:cubicBezTo>
                      <a:cubicBezTo>
                        <a:pt x="5061" y="515"/>
                        <a:pt x="5061" y="515"/>
                        <a:pt x="5061" y="515"/>
                      </a:cubicBezTo>
                      <a:cubicBezTo>
                        <a:pt x="5024" y="492"/>
                        <a:pt x="5024" y="492"/>
                        <a:pt x="5024" y="492"/>
                      </a:cubicBezTo>
                      <a:cubicBezTo>
                        <a:pt x="5024" y="492"/>
                        <a:pt x="5006" y="496"/>
                        <a:pt x="5002" y="499"/>
                      </a:cubicBezTo>
                      <a:cubicBezTo>
                        <a:pt x="4998" y="502"/>
                        <a:pt x="4966" y="501"/>
                        <a:pt x="4966" y="501"/>
                      </a:cubicBezTo>
                      <a:cubicBezTo>
                        <a:pt x="4962" y="493"/>
                        <a:pt x="4962" y="493"/>
                        <a:pt x="4962" y="493"/>
                      </a:cubicBezTo>
                      <a:cubicBezTo>
                        <a:pt x="4900" y="496"/>
                        <a:pt x="4900" y="496"/>
                        <a:pt x="4900" y="496"/>
                      </a:cubicBezTo>
                      <a:cubicBezTo>
                        <a:pt x="4884" y="484"/>
                        <a:pt x="4884" y="484"/>
                        <a:pt x="4884" y="484"/>
                      </a:cubicBezTo>
                      <a:cubicBezTo>
                        <a:pt x="4879" y="490"/>
                        <a:pt x="4879" y="490"/>
                        <a:pt x="4879" y="490"/>
                      </a:cubicBezTo>
                      <a:cubicBezTo>
                        <a:pt x="4879" y="490"/>
                        <a:pt x="4801" y="483"/>
                        <a:pt x="4806" y="493"/>
                      </a:cubicBezTo>
                      <a:cubicBezTo>
                        <a:pt x="4811" y="503"/>
                        <a:pt x="4840" y="527"/>
                        <a:pt x="4840" y="527"/>
                      </a:cubicBezTo>
                      <a:cubicBezTo>
                        <a:pt x="4840" y="527"/>
                        <a:pt x="4804" y="506"/>
                        <a:pt x="4799" y="501"/>
                      </a:cubicBezTo>
                      <a:cubicBezTo>
                        <a:pt x="4794" y="496"/>
                        <a:pt x="4728" y="488"/>
                        <a:pt x="4728" y="488"/>
                      </a:cubicBezTo>
                      <a:cubicBezTo>
                        <a:pt x="4728" y="488"/>
                        <a:pt x="4718" y="470"/>
                        <a:pt x="4693" y="457"/>
                      </a:cubicBezTo>
                      <a:cubicBezTo>
                        <a:pt x="4668" y="444"/>
                        <a:pt x="4630" y="438"/>
                        <a:pt x="4613" y="437"/>
                      </a:cubicBezTo>
                      <a:cubicBezTo>
                        <a:pt x="4596" y="436"/>
                        <a:pt x="4561" y="432"/>
                        <a:pt x="4561" y="432"/>
                      </a:cubicBezTo>
                      <a:cubicBezTo>
                        <a:pt x="4527" y="425"/>
                        <a:pt x="4527" y="425"/>
                        <a:pt x="4527" y="425"/>
                      </a:cubicBezTo>
                      <a:cubicBezTo>
                        <a:pt x="4518" y="429"/>
                        <a:pt x="4518" y="429"/>
                        <a:pt x="4518" y="429"/>
                      </a:cubicBezTo>
                      <a:cubicBezTo>
                        <a:pt x="4478" y="427"/>
                        <a:pt x="4478" y="427"/>
                        <a:pt x="4478" y="427"/>
                      </a:cubicBezTo>
                      <a:cubicBezTo>
                        <a:pt x="4478" y="427"/>
                        <a:pt x="4473" y="447"/>
                        <a:pt x="4451" y="444"/>
                      </a:cubicBezTo>
                      <a:cubicBezTo>
                        <a:pt x="4429" y="441"/>
                        <a:pt x="4400" y="439"/>
                        <a:pt x="4400" y="439"/>
                      </a:cubicBezTo>
                      <a:cubicBezTo>
                        <a:pt x="4400" y="439"/>
                        <a:pt x="4370" y="419"/>
                        <a:pt x="4353" y="418"/>
                      </a:cubicBezTo>
                      <a:cubicBezTo>
                        <a:pt x="4336" y="417"/>
                        <a:pt x="4327" y="420"/>
                        <a:pt x="4327" y="420"/>
                      </a:cubicBezTo>
                      <a:cubicBezTo>
                        <a:pt x="4321" y="409"/>
                        <a:pt x="4321" y="409"/>
                        <a:pt x="4321" y="409"/>
                      </a:cubicBezTo>
                      <a:cubicBezTo>
                        <a:pt x="4296" y="407"/>
                        <a:pt x="4296" y="407"/>
                        <a:pt x="4296" y="407"/>
                      </a:cubicBezTo>
                      <a:cubicBezTo>
                        <a:pt x="4253" y="403"/>
                        <a:pt x="4253" y="403"/>
                        <a:pt x="4253" y="403"/>
                      </a:cubicBezTo>
                      <a:cubicBezTo>
                        <a:pt x="4277" y="395"/>
                        <a:pt x="4277" y="395"/>
                        <a:pt x="4277" y="395"/>
                      </a:cubicBezTo>
                      <a:cubicBezTo>
                        <a:pt x="4251" y="382"/>
                        <a:pt x="4251" y="382"/>
                        <a:pt x="4251" y="382"/>
                      </a:cubicBezTo>
                      <a:cubicBezTo>
                        <a:pt x="4251" y="382"/>
                        <a:pt x="4158" y="369"/>
                        <a:pt x="4155" y="375"/>
                      </a:cubicBezTo>
                      <a:cubicBezTo>
                        <a:pt x="4152" y="381"/>
                        <a:pt x="4164" y="400"/>
                        <a:pt x="4149" y="401"/>
                      </a:cubicBezTo>
                      <a:cubicBezTo>
                        <a:pt x="4134" y="402"/>
                        <a:pt x="4114" y="398"/>
                        <a:pt x="4114" y="398"/>
                      </a:cubicBezTo>
                      <a:cubicBezTo>
                        <a:pt x="4126" y="390"/>
                        <a:pt x="4126" y="390"/>
                        <a:pt x="4126" y="390"/>
                      </a:cubicBezTo>
                      <a:cubicBezTo>
                        <a:pt x="4116" y="380"/>
                        <a:pt x="4116" y="380"/>
                        <a:pt x="4116" y="380"/>
                      </a:cubicBezTo>
                      <a:cubicBezTo>
                        <a:pt x="4116" y="380"/>
                        <a:pt x="4110" y="380"/>
                        <a:pt x="4096" y="382"/>
                      </a:cubicBezTo>
                      <a:cubicBezTo>
                        <a:pt x="4082" y="384"/>
                        <a:pt x="4068" y="379"/>
                        <a:pt x="4068" y="379"/>
                      </a:cubicBezTo>
                      <a:cubicBezTo>
                        <a:pt x="4079" y="374"/>
                        <a:pt x="4079" y="374"/>
                        <a:pt x="4079" y="374"/>
                      </a:cubicBezTo>
                      <a:cubicBezTo>
                        <a:pt x="4109" y="371"/>
                        <a:pt x="4109" y="371"/>
                        <a:pt x="4109" y="371"/>
                      </a:cubicBezTo>
                      <a:cubicBezTo>
                        <a:pt x="4147" y="394"/>
                        <a:pt x="4147" y="394"/>
                        <a:pt x="4147" y="394"/>
                      </a:cubicBezTo>
                      <a:cubicBezTo>
                        <a:pt x="4149" y="375"/>
                        <a:pt x="4149" y="375"/>
                        <a:pt x="4149" y="375"/>
                      </a:cubicBezTo>
                      <a:cubicBezTo>
                        <a:pt x="4110" y="362"/>
                        <a:pt x="4110" y="362"/>
                        <a:pt x="4110" y="362"/>
                      </a:cubicBezTo>
                      <a:cubicBezTo>
                        <a:pt x="4037" y="366"/>
                        <a:pt x="4037" y="366"/>
                        <a:pt x="4037" y="366"/>
                      </a:cubicBezTo>
                      <a:cubicBezTo>
                        <a:pt x="4036" y="357"/>
                        <a:pt x="4036" y="357"/>
                        <a:pt x="4036" y="357"/>
                      </a:cubicBezTo>
                      <a:cubicBezTo>
                        <a:pt x="3955" y="362"/>
                        <a:pt x="3955" y="362"/>
                        <a:pt x="3955" y="362"/>
                      </a:cubicBezTo>
                      <a:cubicBezTo>
                        <a:pt x="3924" y="349"/>
                        <a:pt x="3924" y="349"/>
                        <a:pt x="3924" y="349"/>
                      </a:cubicBezTo>
                      <a:cubicBezTo>
                        <a:pt x="3911" y="349"/>
                        <a:pt x="3911" y="349"/>
                        <a:pt x="3911" y="349"/>
                      </a:cubicBezTo>
                      <a:cubicBezTo>
                        <a:pt x="3936" y="365"/>
                        <a:pt x="3936" y="365"/>
                        <a:pt x="3936" y="365"/>
                      </a:cubicBezTo>
                      <a:cubicBezTo>
                        <a:pt x="3936" y="365"/>
                        <a:pt x="3884" y="364"/>
                        <a:pt x="3892" y="372"/>
                      </a:cubicBezTo>
                      <a:cubicBezTo>
                        <a:pt x="3900" y="380"/>
                        <a:pt x="3910" y="385"/>
                        <a:pt x="3910" y="385"/>
                      </a:cubicBezTo>
                      <a:cubicBezTo>
                        <a:pt x="3931" y="383"/>
                        <a:pt x="3931" y="383"/>
                        <a:pt x="3931" y="383"/>
                      </a:cubicBezTo>
                      <a:cubicBezTo>
                        <a:pt x="3931" y="388"/>
                        <a:pt x="3931" y="388"/>
                        <a:pt x="3931" y="388"/>
                      </a:cubicBezTo>
                      <a:cubicBezTo>
                        <a:pt x="3970" y="414"/>
                        <a:pt x="3970" y="414"/>
                        <a:pt x="3970" y="414"/>
                      </a:cubicBezTo>
                      <a:cubicBezTo>
                        <a:pt x="3970" y="414"/>
                        <a:pt x="3964" y="415"/>
                        <a:pt x="3949" y="414"/>
                      </a:cubicBezTo>
                      <a:cubicBezTo>
                        <a:pt x="3934" y="413"/>
                        <a:pt x="3914" y="398"/>
                        <a:pt x="3909" y="403"/>
                      </a:cubicBezTo>
                      <a:cubicBezTo>
                        <a:pt x="3904" y="408"/>
                        <a:pt x="3900" y="411"/>
                        <a:pt x="3900" y="411"/>
                      </a:cubicBezTo>
                      <a:cubicBezTo>
                        <a:pt x="3917" y="425"/>
                        <a:pt x="3917" y="425"/>
                        <a:pt x="3917" y="425"/>
                      </a:cubicBezTo>
                      <a:cubicBezTo>
                        <a:pt x="3881" y="420"/>
                        <a:pt x="3881" y="420"/>
                        <a:pt x="3881" y="420"/>
                      </a:cubicBezTo>
                      <a:cubicBezTo>
                        <a:pt x="3881" y="420"/>
                        <a:pt x="3832" y="404"/>
                        <a:pt x="3824" y="405"/>
                      </a:cubicBezTo>
                      <a:cubicBezTo>
                        <a:pt x="3816" y="406"/>
                        <a:pt x="3788" y="418"/>
                        <a:pt x="3788" y="418"/>
                      </a:cubicBezTo>
                      <a:cubicBezTo>
                        <a:pt x="3743" y="414"/>
                        <a:pt x="3743" y="414"/>
                        <a:pt x="3743" y="414"/>
                      </a:cubicBezTo>
                      <a:cubicBezTo>
                        <a:pt x="3743" y="414"/>
                        <a:pt x="3705" y="396"/>
                        <a:pt x="3702" y="392"/>
                      </a:cubicBezTo>
                      <a:cubicBezTo>
                        <a:pt x="3699" y="388"/>
                        <a:pt x="3692" y="398"/>
                        <a:pt x="3695" y="406"/>
                      </a:cubicBezTo>
                      <a:cubicBezTo>
                        <a:pt x="3698" y="414"/>
                        <a:pt x="3725" y="442"/>
                        <a:pt x="3709" y="443"/>
                      </a:cubicBezTo>
                      <a:cubicBezTo>
                        <a:pt x="3693" y="444"/>
                        <a:pt x="3614" y="415"/>
                        <a:pt x="3611" y="413"/>
                      </a:cubicBezTo>
                      <a:cubicBezTo>
                        <a:pt x="3608" y="411"/>
                        <a:pt x="3589" y="394"/>
                        <a:pt x="3589" y="394"/>
                      </a:cubicBezTo>
                      <a:cubicBezTo>
                        <a:pt x="3587" y="404"/>
                        <a:pt x="3587" y="404"/>
                        <a:pt x="3587" y="404"/>
                      </a:cubicBezTo>
                      <a:cubicBezTo>
                        <a:pt x="3550" y="393"/>
                        <a:pt x="3550" y="393"/>
                        <a:pt x="3550" y="393"/>
                      </a:cubicBezTo>
                      <a:cubicBezTo>
                        <a:pt x="3533" y="381"/>
                        <a:pt x="3533" y="381"/>
                        <a:pt x="3533" y="381"/>
                      </a:cubicBezTo>
                      <a:cubicBezTo>
                        <a:pt x="3533" y="381"/>
                        <a:pt x="3571" y="391"/>
                        <a:pt x="3577" y="386"/>
                      </a:cubicBezTo>
                      <a:cubicBezTo>
                        <a:pt x="3583" y="381"/>
                        <a:pt x="3554" y="367"/>
                        <a:pt x="3554" y="367"/>
                      </a:cubicBezTo>
                      <a:cubicBezTo>
                        <a:pt x="3531" y="367"/>
                        <a:pt x="3531" y="367"/>
                        <a:pt x="3531" y="367"/>
                      </a:cubicBezTo>
                      <a:cubicBezTo>
                        <a:pt x="3531" y="367"/>
                        <a:pt x="3542" y="361"/>
                        <a:pt x="3535" y="356"/>
                      </a:cubicBezTo>
                      <a:cubicBezTo>
                        <a:pt x="3528" y="351"/>
                        <a:pt x="3508" y="351"/>
                        <a:pt x="3508" y="351"/>
                      </a:cubicBezTo>
                      <a:cubicBezTo>
                        <a:pt x="3516" y="342"/>
                        <a:pt x="3516" y="342"/>
                        <a:pt x="3516" y="342"/>
                      </a:cubicBezTo>
                      <a:cubicBezTo>
                        <a:pt x="3516" y="342"/>
                        <a:pt x="3484" y="333"/>
                        <a:pt x="3480" y="333"/>
                      </a:cubicBezTo>
                      <a:cubicBezTo>
                        <a:pt x="3476" y="333"/>
                        <a:pt x="3461" y="323"/>
                        <a:pt x="3461" y="323"/>
                      </a:cubicBezTo>
                      <a:cubicBezTo>
                        <a:pt x="3430" y="323"/>
                        <a:pt x="3430" y="323"/>
                        <a:pt x="3430" y="323"/>
                      </a:cubicBezTo>
                      <a:cubicBezTo>
                        <a:pt x="3430" y="323"/>
                        <a:pt x="3439" y="326"/>
                        <a:pt x="3416" y="327"/>
                      </a:cubicBezTo>
                      <a:cubicBezTo>
                        <a:pt x="3393" y="328"/>
                        <a:pt x="3378" y="320"/>
                        <a:pt x="3378" y="320"/>
                      </a:cubicBezTo>
                      <a:cubicBezTo>
                        <a:pt x="3364" y="326"/>
                        <a:pt x="3364" y="326"/>
                        <a:pt x="3364" y="326"/>
                      </a:cubicBezTo>
                      <a:cubicBezTo>
                        <a:pt x="3362" y="317"/>
                        <a:pt x="3362" y="317"/>
                        <a:pt x="3362" y="317"/>
                      </a:cubicBezTo>
                      <a:cubicBezTo>
                        <a:pt x="3330" y="311"/>
                        <a:pt x="3330" y="311"/>
                        <a:pt x="3330" y="311"/>
                      </a:cubicBezTo>
                      <a:cubicBezTo>
                        <a:pt x="3323" y="305"/>
                        <a:pt x="3323" y="305"/>
                        <a:pt x="3323" y="305"/>
                      </a:cubicBezTo>
                      <a:cubicBezTo>
                        <a:pt x="3318" y="318"/>
                        <a:pt x="3318" y="318"/>
                        <a:pt x="3318" y="318"/>
                      </a:cubicBezTo>
                      <a:cubicBezTo>
                        <a:pt x="3309" y="319"/>
                        <a:pt x="3309" y="319"/>
                        <a:pt x="3309" y="319"/>
                      </a:cubicBezTo>
                      <a:cubicBezTo>
                        <a:pt x="3327" y="334"/>
                        <a:pt x="3327" y="334"/>
                        <a:pt x="3327" y="334"/>
                      </a:cubicBezTo>
                      <a:cubicBezTo>
                        <a:pt x="3344" y="354"/>
                        <a:pt x="3344" y="354"/>
                        <a:pt x="3344" y="354"/>
                      </a:cubicBezTo>
                      <a:cubicBezTo>
                        <a:pt x="3310" y="350"/>
                        <a:pt x="3310" y="350"/>
                        <a:pt x="3310" y="350"/>
                      </a:cubicBezTo>
                      <a:cubicBezTo>
                        <a:pt x="3306" y="344"/>
                        <a:pt x="3306" y="344"/>
                        <a:pt x="3306" y="344"/>
                      </a:cubicBezTo>
                      <a:cubicBezTo>
                        <a:pt x="3262" y="347"/>
                        <a:pt x="3262" y="347"/>
                        <a:pt x="3262" y="347"/>
                      </a:cubicBezTo>
                      <a:cubicBezTo>
                        <a:pt x="3251" y="351"/>
                        <a:pt x="3251" y="351"/>
                        <a:pt x="3251" y="351"/>
                      </a:cubicBezTo>
                      <a:cubicBezTo>
                        <a:pt x="3250" y="343"/>
                        <a:pt x="3250" y="343"/>
                        <a:pt x="3250" y="343"/>
                      </a:cubicBezTo>
                      <a:cubicBezTo>
                        <a:pt x="3221" y="349"/>
                        <a:pt x="3221" y="349"/>
                        <a:pt x="3221" y="349"/>
                      </a:cubicBezTo>
                      <a:cubicBezTo>
                        <a:pt x="3216" y="341"/>
                        <a:pt x="3216" y="341"/>
                        <a:pt x="3216" y="341"/>
                      </a:cubicBezTo>
                      <a:cubicBezTo>
                        <a:pt x="3178" y="342"/>
                        <a:pt x="3178" y="342"/>
                        <a:pt x="3178" y="342"/>
                      </a:cubicBezTo>
                      <a:cubicBezTo>
                        <a:pt x="3156" y="335"/>
                        <a:pt x="3156" y="335"/>
                        <a:pt x="3156" y="335"/>
                      </a:cubicBezTo>
                      <a:cubicBezTo>
                        <a:pt x="3167" y="321"/>
                        <a:pt x="3167" y="321"/>
                        <a:pt x="3167" y="321"/>
                      </a:cubicBezTo>
                      <a:cubicBezTo>
                        <a:pt x="3082" y="320"/>
                        <a:pt x="3082" y="320"/>
                        <a:pt x="3082" y="320"/>
                      </a:cubicBezTo>
                      <a:cubicBezTo>
                        <a:pt x="3077" y="314"/>
                        <a:pt x="3077" y="314"/>
                        <a:pt x="3077" y="314"/>
                      </a:cubicBezTo>
                      <a:cubicBezTo>
                        <a:pt x="3071" y="317"/>
                        <a:pt x="3071" y="317"/>
                        <a:pt x="3071" y="317"/>
                      </a:cubicBezTo>
                      <a:cubicBezTo>
                        <a:pt x="3065" y="313"/>
                        <a:pt x="3065" y="313"/>
                        <a:pt x="3065" y="313"/>
                      </a:cubicBezTo>
                      <a:cubicBezTo>
                        <a:pt x="3030" y="315"/>
                        <a:pt x="3030" y="315"/>
                        <a:pt x="3030" y="315"/>
                      </a:cubicBezTo>
                      <a:cubicBezTo>
                        <a:pt x="3034" y="323"/>
                        <a:pt x="3034" y="323"/>
                        <a:pt x="3034" y="323"/>
                      </a:cubicBezTo>
                      <a:cubicBezTo>
                        <a:pt x="2997" y="319"/>
                        <a:pt x="2997" y="319"/>
                        <a:pt x="2997" y="319"/>
                      </a:cubicBezTo>
                      <a:cubicBezTo>
                        <a:pt x="2987" y="324"/>
                        <a:pt x="2987" y="324"/>
                        <a:pt x="2987" y="324"/>
                      </a:cubicBezTo>
                      <a:cubicBezTo>
                        <a:pt x="3008" y="331"/>
                        <a:pt x="3008" y="331"/>
                        <a:pt x="3008" y="331"/>
                      </a:cubicBezTo>
                      <a:cubicBezTo>
                        <a:pt x="2981" y="330"/>
                        <a:pt x="2981" y="330"/>
                        <a:pt x="2981" y="330"/>
                      </a:cubicBezTo>
                      <a:cubicBezTo>
                        <a:pt x="2978" y="318"/>
                        <a:pt x="2978" y="318"/>
                        <a:pt x="2978" y="318"/>
                      </a:cubicBezTo>
                      <a:cubicBezTo>
                        <a:pt x="2961" y="303"/>
                        <a:pt x="2961" y="303"/>
                        <a:pt x="2961" y="303"/>
                      </a:cubicBezTo>
                      <a:cubicBezTo>
                        <a:pt x="2947" y="303"/>
                        <a:pt x="2947" y="303"/>
                        <a:pt x="2947" y="303"/>
                      </a:cubicBezTo>
                      <a:cubicBezTo>
                        <a:pt x="2954" y="318"/>
                        <a:pt x="2954" y="318"/>
                        <a:pt x="2954" y="318"/>
                      </a:cubicBezTo>
                      <a:cubicBezTo>
                        <a:pt x="2919" y="318"/>
                        <a:pt x="2919" y="318"/>
                        <a:pt x="2919" y="318"/>
                      </a:cubicBezTo>
                      <a:cubicBezTo>
                        <a:pt x="2915" y="313"/>
                        <a:pt x="2915" y="313"/>
                        <a:pt x="2915" y="313"/>
                      </a:cubicBezTo>
                      <a:cubicBezTo>
                        <a:pt x="2906" y="313"/>
                        <a:pt x="2906" y="313"/>
                        <a:pt x="2906" y="313"/>
                      </a:cubicBezTo>
                      <a:cubicBezTo>
                        <a:pt x="2902" y="303"/>
                        <a:pt x="2902" y="303"/>
                        <a:pt x="2902" y="303"/>
                      </a:cubicBezTo>
                      <a:cubicBezTo>
                        <a:pt x="2893" y="303"/>
                        <a:pt x="2893" y="303"/>
                        <a:pt x="2893" y="303"/>
                      </a:cubicBezTo>
                      <a:cubicBezTo>
                        <a:pt x="2882" y="306"/>
                        <a:pt x="2882" y="306"/>
                        <a:pt x="2882" y="306"/>
                      </a:cubicBezTo>
                      <a:cubicBezTo>
                        <a:pt x="2866" y="298"/>
                        <a:pt x="2866" y="298"/>
                        <a:pt x="2866" y="298"/>
                      </a:cubicBezTo>
                      <a:cubicBezTo>
                        <a:pt x="2846" y="312"/>
                        <a:pt x="2846" y="312"/>
                        <a:pt x="2846" y="312"/>
                      </a:cubicBezTo>
                      <a:cubicBezTo>
                        <a:pt x="2882" y="316"/>
                        <a:pt x="2882" y="316"/>
                        <a:pt x="2882" y="316"/>
                      </a:cubicBezTo>
                      <a:cubicBezTo>
                        <a:pt x="2890" y="317"/>
                        <a:pt x="2890" y="317"/>
                        <a:pt x="2890" y="317"/>
                      </a:cubicBezTo>
                      <a:cubicBezTo>
                        <a:pt x="2890" y="317"/>
                        <a:pt x="2877" y="328"/>
                        <a:pt x="2870" y="328"/>
                      </a:cubicBezTo>
                      <a:cubicBezTo>
                        <a:pt x="2863" y="328"/>
                        <a:pt x="2858" y="327"/>
                        <a:pt x="2852" y="329"/>
                      </a:cubicBezTo>
                      <a:cubicBezTo>
                        <a:pt x="2846" y="331"/>
                        <a:pt x="2844" y="337"/>
                        <a:pt x="2839" y="337"/>
                      </a:cubicBezTo>
                      <a:cubicBezTo>
                        <a:pt x="2834" y="337"/>
                        <a:pt x="2790" y="338"/>
                        <a:pt x="2790" y="338"/>
                      </a:cubicBezTo>
                      <a:cubicBezTo>
                        <a:pt x="2768" y="341"/>
                        <a:pt x="2768" y="341"/>
                        <a:pt x="2768" y="341"/>
                      </a:cubicBezTo>
                      <a:cubicBezTo>
                        <a:pt x="2758" y="358"/>
                        <a:pt x="2758" y="358"/>
                        <a:pt x="2758" y="358"/>
                      </a:cubicBezTo>
                      <a:cubicBezTo>
                        <a:pt x="2742" y="354"/>
                        <a:pt x="2742" y="354"/>
                        <a:pt x="2742" y="354"/>
                      </a:cubicBezTo>
                      <a:cubicBezTo>
                        <a:pt x="2742" y="354"/>
                        <a:pt x="2745" y="338"/>
                        <a:pt x="2753" y="334"/>
                      </a:cubicBezTo>
                      <a:cubicBezTo>
                        <a:pt x="2761" y="330"/>
                        <a:pt x="2773" y="330"/>
                        <a:pt x="2773" y="330"/>
                      </a:cubicBezTo>
                      <a:cubicBezTo>
                        <a:pt x="2778" y="319"/>
                        <a:pt x="2778" y="319"/>
                        <a:pt x="2778" y="319"/>
                      </a:cubicBezTo>
                      <a:cubicBezTo>
                        <a:pt x="2806" y="316"/>
                        <a:pt x="2806" y="316"/>
                        <a:pt x="2806" y="316"/>
                      </a:cubicBezTo>
                      <a:cubicBezTo>
                        <a:pt x="2836" y="294"/>
                        <a:pt x="2836" y="294"/>
                        <a:pt x="2836" y="294"/>
                      </a:cubicBezTo>
                      <a:cubicBezTo>
                        <a:pt x="2836" y="294"/>
                        <a:pt x="2835" y="281"/>
                        <a:pt x="2847" y="276"/>
                      </a:cubicBezTo>
                      <a:cubicBezTo>
                        <a:pt x="2859" y="271"/>
                        <a:pt x="2908" y="272"/>
                        <a:pt x="2906" y="254"/>
                      </a:cubicBezTo>
                      <a:cubicBezTo>
                        <a:pt x="2904" y="236"/>
                        <a:pt x="2889" y="232"/>
                        <a:pt x="2889" y="232"/>
                      </a:cubicBezTo>
                      <a:cubicBezTo>
                        <a:pt x="2862" y="234"/>
                        <a:pt x="2862" y="234"/>
                        <a:pt x="2862" y="234"/>
                      </a:cubicBezTo>
                      <a:cubicBezTo>
                        <a:pt x="2885" y="224"/>
                        <a:pt x="2885" y="224"/>
                        <a:pt x="2885" y="224"/>
                      </a:cubicBezTo>
                      <a:cubicBezTo>
                        <a:pt x="2885" y="224"/>
                        <a:pt x="2865" y="209"/>
                        <a:pt x="2860" y="210"/>
                      </a:cubicBezTo>
                      <a:cubicBezTo>
                        <a:pt x="2855" y="211"/>
                        <a:pt x="2838" y="212"/>
                        <a:pt x="2838" y="212"/>
                      </a:cubicBezTo>
                      <a:cubicBezTo>
                        <a:pt x="2838" y="212"/>
                        <a:pt x="2832" y="196"/>
                        <a:pt x="2819" y="196"/>
                      </a:cubicBezTo>
                      <a:cubicBezTo>
                        <a:pt x="2806" y="196"/>
                        <a:pt x="2792" y="201"/>
                        <a:pt x="2792" y="201"/>
                      </a:cubicBezTo>
                      <a:cubicBezTo>
                        <a:pt x="2756" y="192"/>
                        <a:pt x="2756" y="192"/>
                        <a:pt x="2756" y="192"/>
                      </a:cubicBezTo>
                      <a:cubicBezTo>
                        <a:pt x="2662" y="189"/>
                        <a:pt x="2662" y="189"/>
                        <a:pt x="2662" y="189"/>
                      </a:cubicBezTo>
                      <a:cubicBezTo>
                        <a:pt x="2665" y="201"/>
                        <a:pt x="2665" y="201"/>
                        <a:pt x="2665" y="201"/>
                      </a:cubicBezTo>
                      <a:cubicBezTo>
                        <a:pt x="2620" y="201"/>
                        <a:pt x="2620" y="201"/>
                        <a:pt x="2620" y="201"/>
                      </a:cubicBezTo>
                      <a:cubicBezTo>
                        <a:pt x="2620" y="201"/>
                        <a:pt x="2639" y="184"/>
                        <a:pt x="2627" y="179"/>
                      </a:cubicBezTo>
                      <a:cubicBezTo>
                        <a:pt x="2615" y="174"/>
                        <a:pt x="2564" y="180"/>
                        <a:pt x="2564" y="180"/>
                      </a:cubicBezTo>
                      <a:cubicBezTo>
                        <a:pt x="2523" y="176"/>
                        <a:pt x="2523" y="176"/>
                        <a:pt x="2523" y="176"/>
                      </a:cubicBezTo>
                      <a:cubicBezTo>
                        <a:pt x="2523" y="176"/>
                        <a:pt x="2570" y="174"/>
                        <a:pt x="2564" y="165"/>
                      </a:cubicBezTo>
                      <a:cubicBezTo>
                        <a:pt x="2558" y="156"/>
                        <a:pt x="2511" y="155"/>
                        <a:pt x="2511" y="155"/>
                      </a:cubicBezTo>
                      <a:cubicBezTo>
                        <a:pt x="2483" y="151"/>
                        <a:pt x="2483" y="151"/>
                        <a:pt x="2483" y="151"/>
                      </a:cubicBezTo>
                      <a:cubicBezTo>
                        <a:pt x="2480" y="161"/>
                        <a:pt x="2480" y="161"/>
                        <a:pt x="2480" y="161"/>
                      </a:cubicBezTo>
                      <a:cubicBezTo>
                        <a:pt x="2480" y="161"/>
                        <a:pt x="2431" y="159"/>
                        <a:pt x="2435" y="173"/>
                      </a:cubicBezTo>
                      <a:cubicBezTo>
                        <a:pt x="2439" y="187"/>
                        <a:pt x="2485" y="202"/>
                        <a:pt x="2485" y="202"/>
                      </a:cubicBezTo>
                      <a:cubicBezTo>
                        <a:pt x="2389" y="196"/>
                        <a:pt x="2389" y="196"/>
                        <a:pt x="2389" y="196"/>
                      </a:cubicBezTo>
                      <a:cubicBezTo>
                        <a:pt x="2423" y="210"/>
                        <a:pt x="2423" y="210"/>
                        <a:pt x="2423" y="210"/>
                      </a:cubicBezTo>
                      <a:cubicBezTo>
                        <a:pt x="2388" y="215"/>
                        <a:pt x="2388" y="215"/>
                        <a:pt x="2388" y="215"/>
                      </a:cubicBezTo>
                      <a:cubicBezTo>
                        <a:pt x="2388" y="215"/>
                        <a:pt x="2331" y="233"/>
                        <a:pt x="2321" y="227"/>
                      </a:cubicBezTo>
                      <a:cubicBezTo>
                        <a:pt x="2311" y="221"/>
                        <a:pt x="2326" y="209"/>
                        <a:pt x="2326" y="209"/>
                      </a:cubicBezTo>
                      <a:cubicBezTo>
                        <a:pt x="2326" y="209"/>
                        <a:pt x="2278" y="209"/>
                        <a:pt x="2269" y="211"/>
                      </a:cubicBezTo>
                      <a:cubicBezTo>
                        <a:pt x="2260" y="213"/>
                        <a:pt x="2246" y="225"/>
                        <a:pt x="2246" y="225"/>
                      </a:cubicBezTo>
                      <a:cubicBezTo>
                        <a:pt x="2246" y="225"/>
                        <a:pt x="2183" y="230"/>
                        <a:pt x="2168" y="233"/>
                      </a:cubicBezTo>
                      <a:cubicBezTo>
                        <a:pt x="2153" y="236"/>
                        <a:pt x="2120" y="243"/>
                        <a:pt x="2120" y="243"/>
                      </a:cubicBezTo>
                      <a:cubicBezTo>
                        <a:pt x="2091" y="266"/>
                        <a:pt x="2091" y="266"/>
                        <a:pt x="2091" y="266"/>
                      </a:cubicBezTo>
                      <a:cubicBezTo>
                        <a:pt x="2091" y="266"/>
                        <a:pt x="2059" y="264"/>
                        <a:pt x="2073" y="278"/>
                      </a:cubicBezTo>
                      <a:cubicBezTo>
                        <a:pt x="2087" y="292"/>
                        <a:pt x="2112" y="302"/>
                        <a:pt x="2112" y="302"/>
                      </a:cubicBezTo>
                      <a:cubicBezTo>
                        <a:pt x="2082" y="308"/>
                        <a:pt x="2082" y="308"/>
                        <a:pt x="2082" y="308"/>
                      </a:cubicBezTo>
                      <a:cubicBezTo>
                        <a:pt x="2068" y="317"/>
                        <a:pt x="2068" y="317"/>
                        <a:pt x="2068" y="317"/>
                      </a:cubicBezTo>
                      <a:cubicBezTo>
                        <a:pt x="2001" y="315"/>
                        <a:pt x="2001" y="315"/>
                        <a:pt x="2001" y="315"/>
                      </a:cubicBezTo>
                      <a:cubicBezTo>
                        <a:pt x="1996" y="320"/>
                        <a:pt x="1996" y="320"/>
                        <a:pt x="1996" y="320"/>
                      </a:cubicBezTo>
                      <a:cubicBezTo>
                        <a:pt x="1971" y="311"/>
                        <a:pt x="1971" y="311"/>
                        <a:pt x="1971" y="311"/>
                      </a:cubicBezTo>
                      <a:cubicBezTo>
                        <a:pt x="1960" y="318"/>
                        <a:pt x="1960" y="318"/>
                        <a:pt x="1960" y="318"/>
                      </a:cubicBezTo>
                      <a:cubicBezTo>
                        <a:pt x="1960" y="318"/>
                        <a:pt x="1922" y="314"/>
                        <a:pt x="1920" y="322"/>
                      </a:cubicBezTo>
                      <a:cubicBezTo>
                        <a:pt x="1918" y="330"/>
                        <a:pt x="1919" y="345"/>
                        <a:pt x="1930" y="347"/>
                      </a:cubicBezTo>
                      <a:cubicBezTo>
                        <a:pt x="1941" y="349"/>
                        <a:pt x="1947" y="365"/>
                        <a:pt x="1947" y="365"/>
                      </a:cubicBezTo>
                      <a:cubicBezTo>
                        <a:pt x="1947" y="365"/>
                        <a:pt x="1982" y="375"/>
                        <a:pt x="1991" y="375"/>
                      </a:cubicBezTo>
                      <a:cubicBezTo>
                        <a:pt x="2000" y="375"/>
                        <a:pt x="2019" y="380"/>
                        <a:pt x="2026" y="383"/>
                      </a:cubicBezTo>
                      <a:cubicBezTo>
                        <a:pt x="2033" y="386"/>
                        <a:pt x="2049" y="402"/>
                        <a:pt x="2038" y="402"/>
                      </a:cubicBezTo>
                      <a:cubicBezTo>
                        <a:pt x="2027" y="402"/>
                        <a:pt x="2003" y="404"/>
                        <a:pt x="2003" y="404"/>
                      </a:cubicBezTo>
                      <a:cubicBezTo>
                        <a:pt x="2003" y="404"/>
                        <a:pt x="1957" y="384"/>
                        <a:pt x="1941" y="380"/>
                      </a:cubicBezTo>
                      <a:cubicBezTo>
                        <a:pt x="1925" y="376"/>
                        <a:pt x="1901" y="373"/>
                        <a:pt x="1893" y="373"/>
                      </a:cubicBezTo>
                      <a:cubicBezTo>
                        <a:pt x="1885" y="373"/>
                        <a:pt x="1864" y="371"/>
                        <a:pt x="1866" y="379"/>
                      </a:cubicBezTo>
                      <a:cubicBezTo>
                        <a:pt x="1868" y="387"/>
                        <a:pt x="1894" y="397"/>
                        <a:pt x="1877" y="398"/>
                      </a:cubicBezTo>
                      <a:cubicBezTo>
                        <a:pt x="1860" y="399"/>
                        <a:pt x="1854" y="387"/>
                        <a:pt x="1844" y="387"/>
                      </a:cubicBezTo>
                      <a:cubicBezTo>
                        <a:pt x="1834" y="387"/>
                        <a:pt x="1820" y="377"/>
                        <a:pt x="1819" y="390"/>
                      </a:cubicBezTo>
                      <a:cubicBezTo>
                        <a:pt x="1818" y="403"/>
                        <a:pt x="1832" y="416"/>
                        <a:pt x="1847" y="415"/>
                      </a:cubicBezTo>
                      <a:cubicBezTo>
                        <a:pt x="1862" y="414"/>
                        <a:pt x="1885" y="421"/>
                        <a:pt x="1895" y="421"/>
                      </a:cubicBezTo>
                      <a:cubicBezTo>
                        <a:pt x="1905" y="421"/>
                        <a:pt x="1921" y="437"/>
                        <a:pt x="1921" y="437"/>
                      </a:cubicBezTo>
                      <a:cubicBezTo>
                        <a:pt x="1900" y="437"/>
                        <a:pt x="1900" y="437"/>
                        <a:pt x="1900" y="437"/>
                      </a:cubicBezTo>
                      <a:cubicBezTo>
                        <a:pt x="1900" y="437"/>
                        <a:pt x="1894" y="427"/>
                        <a:pt x="1880" y="427"/>
                      </a:cubicBezTo>
                      <a:cubicBezTo>
                        <a:pt x="1866" y="427"/>
                        <a:pt x="1823" y="425"/>
                        <a:pt x="1823" y="425"/>
                      </a:cubicBezTo>
                      <a:cubicBezTo>
                        <a:pt x="1820" y="417"/>
                        <a:pt x="1820" y="417"/>
                        <a:pt x="1820" y="417"/>
                      </a:cubicBezTo>
                      <a:cubicBezTo>
                        <a:pt x="1803" y="417"/>
                        <a:pt x="1803" y="417"/>
                        <a:pt x="1803" y="417"/>
                      </a:cubicBezTo>
                      <a:cubicBezTo>
                        <a:pt x="1800" y="406"/>
                        <a:pt x="1800" y="406"/>
                        <a:pt x="1800" y="406"/>
                      </a:cubicBezTo>
                      <a:cubicBezTo>
                        <a:pt x="1778" y="395"/>
                        <a:pt x="1778" y="395"/>
                        <a:pt x="1778" y="395"/>
                      </a:cubicBezTo>
                      <a:cubicBezTo>
                        <a:pt x="1778" y="395"/>
                        <a:pt x="1803" y="383"/>
                        <a:pt x="1793" y="374"/>
                      </a:cubicBezTo>
                      <a:cubicBezTo>
                        <a:pt x="1783" y="365"/>
                        <a:pt x="1769" y="354"/>
                        <a:pt x="1769" y="354"/>
                      </a:cubicBezTo>
                      <a:cubicBezTo>
                        <a:pt x="1748" y="353"/>
                        <a:pt x="1748" y="353"/>
                        <a:pt x="1748" y="353"/>
                      </a:cubicBezTo>
                      <a:cubicBezTo>
                        <a:pt x="1748" y="353"/>
                        <a:pt x="1778" y="370"/>
                        <a:pt x="1769" y="378"/>
                      </a:cubicBezTo>
                      <a:cubicBezTo>
                        <a:pt x="1760" y="386"/>
                        <a:pt x="1740" y="389"/>
                        <a:pt x="1740" y="389"/>
                      </a:cubicBezTo>
                      <a:cubicBezTo>
                        <a:pt x="1727" y="416"/>
                        <a:pt x="1727" y="416"/>
                        <a:pt x="1727" y="416"/>
                      </a:cubicBezTo>
                      <a:cubicBezTo>
                        <a:pt x="1776" y="441"/>
                        <a:pt x="1776" y="441"/>
                        <a:pt x="1776" y="441"/>
                      </a:cubicBezTo>
                      <a:cubicBezTo>
                        <a:pt x="1776" y="441"/>
                        <a:pt x="1789" y="436"/>
                        <a:pt x="1789" y="442"/>
                      </a:cubicBezTo>
                      <a:cubicBezTo>
                        <a:pt x="1789" y="448"/>
                        <a:pt x="1782" y="479"/>
                        <a:pt x="1782" y="479"/>
                      </a:cubicBezTo>
                      <a:cubicBezTo>
                        <a:pt x="1789" y="492"/>
                        <a:pt x="1789" y="492"/>
                        <a:pt x="1789" y="492"/>
                      </a:cubicBezTo>
                      <a:cubicBezTo>
                        <a:pt x="1813" y="496"/>
                        <a:pt x="1813" y="496"/>
                        <a:pt x="1813" y="496"/>
                      </a:cubicBezTo>
                      <a:cubicBezTo>
                        <a:pt x="1812" y="514"/>
                        <a:pt x="1812" y="514"/>
                        <a:pt x="1812" y="514"/>
                      </a:cubicBezTo>
                      <a:cubicBezTo>
                        <a:pt x="1852" y="522"/>
                        <a:pt x="1852" y="522"/>
                        <a:pt x="1852" y="522"/>
                      </a:cubicBezTo>
                      <a:cubicBezTo>
                        <a:pt x="1852" y="522"/>
                        <a:pt x="1882" y="510"/>
                        <a:pt x="1896" y="511"/>
                      </a:cubicBezTo>
                      <a:cubicBezTo>
                        <a:pt x="1910" y="512"/>
                        <a:pt x="1928" y="524"/>
                        <a:pt x="1928" y="524"/>
                      </a:cubicBezTo>
                      <a:cubicBezTo>
                        <a:pt x="1928" y="524"/>
                        <a:pt x="1957" y="528"/>
                        <a:pt x="1970" y="537"/>
                      </a:cubicBezTo>
                      <a:cubicBezTo>
                        <a:pt x="1983" y="546"/>
                        <a:pt x="1986" y="557"/>
                        <a:pt x="1986" y="557"/>
                      </a:cubicBezTo>
                      <a:cubicBezTo>
                        <a:pt x="1986" y="557"/>
                        <a:pt x="1953" y="561"/>
                        <a:pt x="1966" y="569"/>
                      </a:cubicBezTo>
                      <a:cubicBezTo>
                        <a:pt x="1979" y="577"/>
                        <a:pt x="1993" y="584"/>
                        <a:pt x="1993" y="584"/>
                      </a:cubicBezTo>
                      <a:cubicBezTo>
                        <a:pt x="2021" y="583"/>
                        <a:pt x="2021" y="583"/>
                        <a:pt x="2021" y="583"/>
                      </a:cubicBezTo>
                      <a:cubicBezTo>
                        <a:pt x="2021" y="583"/>
                        <a:pt x="2005" y="591"/>
                        <a:pt x="1992" y="591"/>
                      </a:cubicBezTo>
                      <a:cubicBezTo>
                        <a:pt x="1979" y="591"/>
                        <a:pt x="1963" y="582"/>
                        <a:pt x="1963" y="582"/>
                      </a:cubicBezTo>
                      <a:cubicBezTo>
                        <a:pt x="1963" y="582"/>
                        <a:pt x="1964" y="559"/>
                        <a:pt x="1949" y="550"/>
                      </a:cubicBezTo>
                      <a:cubicBezTo>
                        <a:pt x="1934" y="541"/>
                        <a:pt x="1922" y="536"/>
                        <a:pt x="1922" y="536"/>
                      </a:cubicBezTo>
                      <a:cubicBezTo>
                        <a:pt x="1922" y="536"/>
                        <a:pt x="1918" y="521"/>
                        <a:pt x="1906" y="522"/>
                      </a:cubicBezTo>
                      <a:cubicBezTo>
                        <a:pt x="1894" y="523"/>
                        <a:pt x="1862" y="529"/>
                        <a:pt x="1862" y="529"/>
                      </a:cubicBezTo>
                      <a:cubicBezTo>
                        <a:pt x="1862" y="529"/>
                        <a:pt x="1844" y="531"/>
                        <a:pt x="1845" y="542"/>
                      </a:cubicBezTo>
                      <a:cubicBezTo>
                        <a:pt x="1846" y="553"/>
                        <a:pt x="1878" y="571"/>
                        <a:pt x="1878" y="575"/>
                      </a:cubicBezTo>
                      <a:cubicBezTo>
                        <a:pt x="1878" y="579"/>
                        <a:pt x="1859" y="591"/>
                        <a:pt x="1859" y="591"/>
                      </a:cubicBezTo>
                      <a:cubicBezTo>
                        <a:pt x="1857" y="620"/>
                        <a:pt x="1857" y="620"/>
                        <a:pt x="1857" y="620"/>
                      </a:cubicBezTo>
                      <a:cubicBezTo>
                        <a:pt x="1829" y="634"/>
                        <a:pt x="1829" y="634"/>
                        <a:pt x="1829" y="634"/>
                      </a:cubicBezTo>
                      <a:cubicBezTo>
                        <a:pt x="1829" y="634"/>
                        <a:pt x="1823" y="655"/>
                        <a:pt x="1810" y="649"/>
                      </a:cubicBezTo>
                      <a:cubicBezTo>
                        <a:pt x="1797" y="643"/>
                        <a:pt x="1771" y="645"/>
                        <a:pt x="1771" y="645"/>
                      </a:cubicBezTo>
                      <a:cubicBezTo>
                        <a:pt x="1733" y="641"/>
                        <a:pt x="1733" y="641"/>
                        <a:pt x="1733" y="641"/>
                      </a:cubicBezTo>
                      <a:cubicBezTo>
                        <a:pt x="1733" y="641"/>
                        <a:pt x="1690" y="626"/>
                        <a:pt x="1701" y="625"/>
                      </a:cubicBezTo>
                      <a:cubicBezTo>
                        <a:pt x="1712" y="624"/>
                        <a:pt x="1735" y="623"/>
                        <a:pt x="1735" y="623"/>
                      </a:cubicBezTo>
                      <a:cubicBezTo>
                        <a:pt x="1748" y="627"/>
                        <a:pt x="1748" y="627"/>
                        <a:pt x="1748" y="627"/>
                      </a:cubicBezTo>
                      <a:cubicBezTo>
                        <a:pt x="1763" y="616"/>
                        <a:pt x="1763" y="616"/>
                        <a:pt x="1763" y="616"/>
                      </a:cubicBezTo>
                      <a:cubicBezTo>
                        <a:pt x="1763" y="616"/>
                        <a:pt x="1801" y="625"/>
                        <a:pt x="1801" y="614"/>
                      </a:cubicBezTo>
                      <a:cubicBezTo>
                        <a:pt x="1801" y="603"/>
                        <a:pt x="1803" y="588"/>
                        <a:pt x="1803" y="588"/>
                      </a:cubicBezTo>
                      <a:cubicBezTo>
                        <a:pt x="1819" y="583"/>
                        <a:pt x="1819" y="583"/>
                        <a:pt x="1819" y="583"/>
                      </a:cubicBezTo>
                      <a:cubicBezTo>
                        <a:pt x="1821" y="569"/>
                        <a:pt x="1821" y="569"/>
                        <a:pt x="1821" y="569"/>
                      </a:cubicBezTo>
                      <a:cubicBezTo>
                        <a:pt x="1810" y="567"/>
                        <a:pt x="1810" y="567"/>
                        <a:pt x="1810" y="567"/>
                      </a:cubicBezTo>
                      <a:cubicBezTo>
                        <a:pt x="1810" y="567"/>
                        <a:pt x="1826" y="547"/>
                        <a:pt x="1816" y="543"/>
                      </a:cubicBezTo>
                      <a:cubicBezTo>
                        <a:pt x="1806" y="539"/>
                        <a:pt x="1763" y="541"/>
                        <a:pt x="1761" y="525"/>
                      </a:cubicBezTo>
                      <a:cubicBezTo>
                        <a:pt x="1759" y="509"/>
                        <a:pt x="1761" y="490"/>
                        <a:pt x="1752" y="485"/>
                      </a:cubicBezTo>
                      <a:cubicBezTo>
                        <a:pt x="1743" y="480"/>
                        <a:pt x="1730" y="464"/>
                        <a:pt x="1730" y="464"/>
                      </a:cubicBezTo>
                      <a:cubicBezTo>
                        <a:pt x="1726" y="440"/>
                        <a:pt x="1726" y="440"/>
                        <a:pt x="1726" y="440"/>
                      </a:cubicBezTo>
                      <a:cubicBezTo>
                        <a:pt x="1684" y="417"/>
                        <a:pt x="1684" y="417"/>
                        <a:pt x="1684" y="417"/>
                      </a:cubicBezTo>
                      <a:cubicBezTo>
                        <a:pt x="1684" y="417"/>
                        <a:pt x="1711" y="396"/>
                        <a:pt x="1697" y="376"/>
                      </a:cubicBezTo>
                      <a:cubicBezTo>
                        <a:pt x="1683" y="356"/>
                        <a:pt x="1651" y="356"/>
                        <a:pt x="1651" y="356"/>
                      </a:cubicBezTo>
                      <a:cubicBezTo>
                        <a:pt x="1562" y="348"/>
                        <a:pt x="1562" y="348"/>
                        <a:pt x="1562" y="348"/>
                      </a:cubicBezTo>
                      <a:cubicBezTo>
                        <a:pt x="1555" y="368"/>
                        <a:pt x="1555" y="368"/>
                        <a:pt x="1555" y="368"/>
                      </a:cubicBezTo>
                      <a:cubicBezTo>
                        <a:pt x="1566" y="379"/>
                        <a:pt x="1566" y="379"/>
                        <a:pt x="1566" y="379"/>
                      </a:cubicBezTo>
                      <a:cubicBezTo>
                        <a:pt x="1561" y="402"/>
                        <a:pt x="1561" y="402"/>
                        <a:pt x="1561" y="402"/>
                      </a:cubicBezTo>
                      <a:cubicBezTo>
                        <a:pt x="1523" y="418"/>
                        <a:pt x="1523" y="418"/>
                        <a:pt x="1523" y="418"/>
                      </a:cubicBezTo>
                      <a:cubicBezTo>
                        <a:pt x="1517" y="437"/>
                        <a:pt x="1517" y="437"/>
                        <a:pt x="1517" y="437"/>
                      </a:cubicBezTo>
                      <a:cubicBezTo>
                        <a:pt x="1538" y="439"/>
                        <a:pt x="1538" y="439"/>
                        <a:pt x="1538" y="439"/>
                      </a:cubicBezTo>
                      <a:cubicBezTo>
                        <a:pt x="1561" y="474"/>
                        <a:pt x="1561" y="474"/>
                        <a:pt x="1561" y="474"/>
                      </a:cubicBezTo>
                      <a:cubicBezTo>
                        <a:pt x="1552" y="486"/>
                        <a:pt x="1552" y="486"/>
                        <a:pt x="1552" y="486"/>
                      </a:cubicBezTo>
                      <a:cubicBezTo>
                        <a:pt x="1571" y="501"/>
                        <a:pt x="1571" y="501"/>
                        <a:pt x="1571" y="501"/>
                      </a:cubicBezTo>
                      <a:cubicBezTo>
                        <a:pt x="1594" y="495"/>
                        <a:pt x="1594" y="495"/>
                        <a:pt x="1594" y="495"/>
                      </a:cubicBezTo>
                      <a:cubicBezTo>
                        <a:pt x="1594" y="495"/>
                        <a:pt x="1612" y="516"/>
                        <a:pt x="1625" y="519"/>
                      </a:cubicBezTo>
                      <a:cubicBezTo>
                        <a:pt x="1638" y="522"/>
                        <a:pt x="1651" y="522"/>
                        <a:pt x="1651" y="522"/>
                      </a:cubicBezTo>
                      <a:cubicBezTo>
                        <a:pt x="1648" y="559"/>
                        <a:pt x="1648" y="559"/>
                        <a:pt x="1648" y="559"/>
                      </a:cubicBezTo>
                      <a:cubicBezTo>
                        <a:pt x="1635" y="545"/>
                        <a:pt x="1635" y="545"/>
                        <a:pt x="1635" y="545"/>
                      </a:cubicBezTo>
                      <a:cubicBezTo>
                        <a:pt x="1625" y="551"/>
                        <a:pt x="1625" y="551"/>
                        <a:pt x="1625" y="551"/>
                      </a:cubicBezTo>
                      <a:cubicBezTo>
                        <a:pt x="1625" y="551"/>
                        <a:pt x="1572" y="524"/>
                        <a:pt x="1556" y="521"/>
                      </a:cubicBezTo>
                      <a:cubicBezTo>
                        <a:pt x="1540" y="518"/>
                        <a:pt x="1516" y="520"/>
                        <a:pt x="1516" y="520"/>
                      </a:cubicBezTo>
                      <a:cubicBezTo>
                        <a:pt x="1505" y="508"/>
                        <a:pt x="1505" y="508"/>
                        <a:pt x="1505" y="508"/>
                      </a:cubicBezTo>
                      <a:cubicBezTo>
                        <a:pt x="1499" y="522"/>
                        <a:pt x="1499" y="522"/>
                        <a:pt x="1499" y="522"/>
                      </a:cubicBezTo>
                      <a:cubicBezTo>
                        <a:pt x="1483" y="504"/>
                        <a:pt x="1483" y="504"/>
                        <a:pt x="1483" y="504"/>
                      </a:cubicBezTo>
                      <a:cubicBezTo>
                        <a:pt x="1483" y="504"/>
                        <a:pt x="1441" y="490"/>
                        <a:pt x="1434" y="490"/>
                      </a:cubicBezTo>
                      <a:cubicBezTo>
                        <a:pt x="1427" y="490"/>
                        <a:pt x="1406" y="491"/>
                        <a:pt x="1406" y="491"/>
                      </a:cubicBezTo>
                      <a:cubicBezTo>
                        <a:pt x="1406" y="491"/>
                        <a:pt x="1357" y="485"/>
                        <a:pt x="1353" y="488"/>
                      </a:cubicBezTo>
                      <a:cubicBezTo>
                        <a:pt x="1349" y="491"/>
                        <a:pt x="1340" y="491"/>
                        <a:pt x="1340" y="499"/>
                      </a:cubicBezTo>
                      <a:cubicBezTo>
                        <a:pt x="1340" y="507"/>
                        <a:pt x="1366" y="521"/>
                        <a:pt x="1366" y="521"/>
                      </a:cubicBezTo>
                      <a:cubicBezTo>
                        <a:pt x="1353" y="541"/>
                        <a:pt x="1353" y="541"/>
                        <a:pt x="1353" y="541"/>
                      </a:cubicBezTo>
                      <a:cubicBezTo>
                        <a:pt x="1344" y="534"/>
                        <a:pt x="1344" y="534"/>
                        <a:pt x="1344" y="534"/>
                      </a:cubicBezTo>
                      <a:cubicBezTo>
                        <a:pt x="1344" y="551"/>
                        <a:pt x="1344" y="551"/>
                        <a:pt x="1344" y="551"/>
                      </a:cubicBezTo>
                      <a:cubicBezTo>
                        <a:pt x="1344" y="551"/>
                        <a:pt x="1320" y="550"/>
                        <a:pt x="1320" y="545"/>
                      </a:cubicBezTo>
                      <a:cubicBezTo>
                        <a:pt x="1320" y="540"/>
                        <a:pt x="1325" y="518"/>
                        <a:pt x="1311" y="519"/>
                      </a:cubicBezTo>
                      <a:cubicBezTo>
                        <a:pt x="1297" y="520"/>
                        <a:pt x="1261" y="543"/>
                        <a:pt x="1256" y="546"/>
                      </a:cubicBezTo>
                      <a:cubicBezTo>
                        <a:pt x="1251" y="549"/>
                        <a:pt x="1240" y="535"/>
                        <a:pt x="1219" y="537"/>
                      </a:cubicBezTo>
                      <a:cubicBezTo>
                        <a:pt x="1198" y="539"/>
                        <a:pt x="1174" y="550"/>
                        <a:pt x="1172" y="558"/>
                      </a:cubicBezTo>
                      <a:cubicBezTo>
                        <a:pt x="1170" y="566"/>
                        <a:pt x="1123" y="562"/>
                        <a:pt x="1123" y="562"/>
                      </a:cubicBezTo>
                      <a:cubicBezTo>
                        <a:pt x="1131" y="545"/>
                        <a:pt x="1131" y="545"/>
                        <a:pt x="1131" y="545"/>
                      </a:cubicBezTo>
                      <a:cubicBezTo>
                        <a:pt x="1130" y="521"/>
                        <a:pt x="1130" y="521"/>
                        <a:pt x="1130" y="521"/>
                      </a:cubicBezTo>
                      <a:cubicBezTo>
                        <a:pt x="1130" y="521"/>
                        <a:pt x="1086" y="529"/>
                        <a:pt x="1086" y="538"/>
                      </a:cubicBezTo>
                      <a:cubicBezTo>
                        <a:pt x="1086" y="547"/>
                        <a:pt x="1092" y="554"/>
                        <a:pt x="1092" y="554"/>
                      </a:cubicBezTo>
                      <a:cubicBezTo>
                        <a:pt x="1074" y="555"/>
                        <a:pt x="1074" y="555"/>
                        <a:pt x="1074" y="555"/>
                      </a:cubicBezTo>
                      <a:cubicBezTo>
                        <a:pt x="1074" y="540"/>
                        <a:pt x="1074" y="540"/>
                        <a:pt x="1074" y="540"/>
                      </a:cubicBezTo>
                      <a:cubicBezTo>
                        <a:pt x="1060" y="545"/>
                        <a:pt x="1060" y="545"/>
                        <a:pt x="1060" y="545"/>
                      </a:cubicBezTo>
                      <a:cubicBezTo>
                        <a:pt x="1025" y="548"/>
                        <a:pt x="1025" y="548"/>
                        <a:pt x="1025" y="548"/>
                      </a:cubicBezTo>
                      <a:cubicBezTo>
                        <a:pt x="996" y="568"/>
                        <a:pt x="996" y="568"/>
                        <a:pt x="996" y="568"/>
                      </a:cubicBezTo>
                      <a:cubicBezTo>
                        <a:pt x="963" y="571"/>
                        <a:pt x="963" y="571"/>
                        <a:pt x="963" y="571"/>
                      </a:cubicBezTo>
                      <a:cubicBezTo>
                        <a:pt x="970" y="584"/>
                        <a:pt x="970" y="584"/>
                        <a:pt x="970" y="584"/>
                      </a:cubicBezTo>
                      <a:cubicBezTo>
                        <a:pt x="970" y="584"/>
                        <a:pt x="944" y="578"/>
                        <a:pt x="941" y="589"/>
                      </a:cubicBezTo>
                      <a:cubicBezTo>
                        <a:pt x="938" y="600"/>
                        <a:pt x="941" y="615"/>
                        <a:pt x="941" y="615"/>
                      </a:cubicBezTo>
                      <a:cubicBezTo>
                        <a:pt x="890" y="621"/>
                        <a:pt x="890" y="621"/>
                        <a:pt x="890" y="621"/>
                      </a:cubicBezTo>
                      <a:cubicBezTo>
                        <a:pt x="890" y="621"/>
                        <a:pt x="875" y="610"/>
                        <a:pt x="870" y="609"/>
                      </a:cubicBezTo>
                      <a:cubicBezTo>
                        <a:pt x="865" y="608"/>
                        <a:pt x="843" y="614"/>
                        <a:pt x="843" y="600"/>
                      </a:cubicBezTo>
                      <a:cubicBezTo>
                        <a:pt x="843" y="586"/>
                        <a:pt x="843" y="569"/>
                        <a:pt x="860" y="575"/>
                      </a:cubicBezTo>
                      <a:cubicBezTo>
                        <a:pt x="877" y="581"/>
                        <a:pt x="898" y="575"/>
                        <a:pt x="898" y="575"/>
                      </a:cubicBezTo>
                      <a:cubicBezTo>
                        <a:pt x="898" y="575"/>
                        <a:pt x="860" y="544"/>
                        <a:pt x="854" y="541"/>
                      </a:cubicBezTo>
                      <a:cubicBezTo>
                        <a:pt x="848" y="538"/>
                        <a:pt x="773" y="539"/>
                        <a:pt x="773" y="539"/>
                      </a:cubicBezTo>
                      <a:cubicBezTo>
                        <a:pt x="779" y="548"/>
                        <a:pt x="779" y="548"/>
                        <a:pt x="779" y="548"/>
                      </a:cubicBezTo>
                      <a:cubicBezTo>
                        <a:pt x="779" y="548"/>
                        <a:pt x="810" y="543"/>
                        <a:pt x="805" y="563"/>
                      </a:cubicBezTo>
                      <a:cubicBezTo>
                        <a:pt x="800" y="583"/>
                        <a:pt x="790" y="612"/>
                        <a:pt x="797" y="612"/>
                      </a:cubicBezTo>
                      <a:cubicBezTo>
                        <a:pt x="804" y="612"/>
                        <a:pt x="830" y="620"/>
                        <a:pt x="830" y="620"/>
                      </a:cubicBezTo>
                      <a:cubicBezTo>
                        <a:pt x="828" y="645"/>
                        <a:pt x="828" y="645"/>
                        <a:pt x="828" y="645"/>
                      </a:cubicBezTo>
                      <a:cubicBezTo>
                        <a:pt x="834" y="664"/>
                        <a:pt x="834" y="664"/>
                        <a:pt x="834" y="664"/>
                      </a:cubicBezTo>
                      <a:cubicBezTo>
                        <a:pt x="813" y="650"/>
                        <a:pt x="813" y="650"/>
                        <a:pt x="813" y="650"/>
                      </a:cubicBezTo>
                      <a:cubicBezTo>
                        <a:pt x="798" y="666"/>
                        <a:pt x="798" y="666"/>
                        <a:pt x="798" y="666"/>
                      </a:cubicBezTo>
                      <a:cubicBezTo>
                        <a:pt x="795" y="644"/>
                        <a:pt x="795" y="644"/>
                        <a:pt x="795" y="644"/>
                      </a:cubicBezTo>
                      <a:cubicBezTo>
                        <a:pt x="749" y="632"/>
                        <a:pt x="749" y="632"/>
                        <a:pt x="749" y="632"/>
                      </a:cubicBezTo>
                      <a:cubicBezTo>
                        <a:pt x="729" y="657"/>
                        <a:pt x="729" y="657"/>
                        <a:pt x="729" y="657"/>
                      </a:cubicBezTo>
                      <a:cubicBezTo>
                        <a:pt x="711" y="658"/>
                        <a:pt x="711" y="658"/>
                        <a:pt x="711" y="658"/>
                      </a:cubicBezTo>
                      <a:cubicBezTo>
                        <a:pt x="711" y="658"/>
                        <a:pt x="705" y="669"/>
                        <a:pt x="695" y="673"/>
                      </a:cubicBezTo>
                      <a:cubicBezTo>
                        <a:pt x="685" y="677"/>
                        <a:pt x="665" y="681"/>
                        <a:pt x="673" y="688"/>
                      </a:cubicBezTo>
                      <a:cubicBezTo>
                        <a:pt x="681" y="695"/>
                        <a:pt x="713" y="718"/>
                        <a:pt x="713" y="718"/>
                      </a:cubicBezTo>
                      <a:cubicBezTo>
                        <a:pt x="725" y="735"/>
                        <a:pt x="725" y="735"/>
                        <a:pt x="725" y="735"/>
                      </a:cubicBezTo>
                      <a:cubicBezTo>
                        <a:pt x="705" y="726"/>
                        <a:pt x="705" y="726"/>
                        <a:pt x="705" y="726"/>
                      </a:cubicBezTo>
                      <a:cubicBezTo>
                        <a:pt x="705" y="726"/>
                        <a:pt x="687" y="736"/>
                        <a:pt x="674" y="730"/>
                      </a:cubicBezTo>
                      <a:cubicBezTo>
                        <a:pt x="661" y="724"/>
                        <a:pt x="618" y="717"/>
                        <a:pt x="618" y="717"/>
                      </a:cubicBezTo>
                      <a:cubicBezTo>
                        <a:pt x="618" y="717"/>
                        <a:pt x="612" y="693"/>
                        <a:pt x="597" y="699"/>
                      </a:cubicBezTo>
                      <a:cubicBezTo>
                        <a:pt x="582" y="705"/>
                        <a:pt x="574" y="711"/>
                        <a:pt x="574" y="711"/>
                      </a:cubicBezTo>
                      <a:cubicBezTo>
                        <a:pt x="562" y="712"/>
                        <a:pt x="562" y="712"/>
                        <a:pt x="562" y="712"/>
                      </a:cubicBezTo>
                      <a:cubicBezTo>
                        <a:pt x="592" y="738"/>
                        <a:pt x="592" y="738"/>
                        <a:pt x="592" y="738"/>
                      </a:cubicBezTo>
                      <a:cubicBezTo>
                        <a:pt x="592" y="738"/>
                        <a:pt x="632" y="739"/>
                        <a:pt x="632" y="746"/>
                      </a:cubicBezTo>
                      <a:cubicBezTo>
                        <a:pt x="632" y="753"/>
                        <a:pt x="614" y="764"/>
                        <a:pt x="614" y="764"/>
                      </a:cubicBezTo>
                      <a:cubicBezTo>
                        <a:pt x="572" y="754"/>
                        <a:pt x="572" y="754"/>
                        <a:pt x="572" y="754"/>
                      </a:cubicBezTo>
                      <a:cubicBezTo>
                        <a:pt x="572" y="754"/>
                        <a:pt x="557" y="740"/>
                        <a:pt x="547" y="739"/>
                      </a:cubicBezTo>
                      <a:cubicBezTo>
                        <a:pt x="537" y="738"/>
                        <a:pt x="511" y="749"/>
                        <a:pt x="509" y="735"/>
                      </a:cubicBezTo>
                      <a:cubicBezTo>
                        <a:pt x="507" y="721"/>
                        <a:pt x="508" y="705"/>
                        <a:pt x="508" y="705"/>
                      </a:cubicBezTo>
                      <a:cubicBezTo>
                        <a:pt x="495" y="697"/>
                        <a:pt x="495" y="697"/>
                        <a:pt x="495" y="697"/>
                      </a:cubicBezTo>
                      <a:cubicBezTo>
                        <a:pt x="495" y="697"/>
                        <a:pt x="516" y="679"/>
                        <a:pt x="508" y="670"/>
                      </a:cubicBezTo>
                      <a:cubicBezTo>
                        <a:pt x="500" y="661"/>
                        <a:pt x="444" y="646"/>
                        <a:pt x="444" y="646"/>
                      </a:cubicBezTo>
                      <a:cubicBezTo>
                        <a:pt x="424" y="631"/>
                        <a:pt x="424" y="631"/>
                        <a:pt x="424" y="631"/>
                      </a:cubicBezTo>
                      <a:cubicBezTo>
                        <a:pt x="408" y="620"/>
                        <a:pt x="408" y="620"/>
                        <a:pt x="408" y="620"/>
                      </a:cubicBezTo>
                      <a:cubicBezTo>
                        <a:pt x="398" y="610"/>
                        <a:pt x="398" y="610"/>
                        <a:pt x="398" y="610"/>
                      </a:cubicBezTo>
                      <a:cubicBezTo>
                        <a:pt x="424" y="609"/>
                        <a:pt x="424" y="609"/>
                        <a:pt x="424" y="609"/>
                      </a:cubicBezTo>
                      <a:cubicBezTo>
                        <a:pt x="424" y="609"/>
                        <a:pt x="419" y="618"/>
                        <a:pt x="438" y="622"/>
                      </a:cubicBezTo>
                      <a:cubicBezTo>
                        <a:pt x="457" y="626"/>
                        <a:pt x="482" y="623"/>
                        <a:pt x="482" y="623"/>
                      </a:cubicBezTo>
                      <a:cubicBezTo>
                        <a:pt x="482" y="623"/>
                        <a:pt x="498" y="641"/>
                        <a:pt x="510" y="643"/>
                      </a:cubicBezTo>
                      <a:cubicBezTo>
                        <a:pt x="522" y="645"/>
                        <a:pt x="576" y="650"/>
                        <a:pt x="576" y="650"/>
                      </a:cubicBezTo>
                      <a:cubicBezTo>
                        <a:pt x="576" y="650"/>
                        <a:pt x="613" y="666"/>
                        <a:pt x="656" y="655"/>
                      </a:cubicBezTo>
                      <a:cubicBezTo>
                        <a:pt x="699" y="644"/>
                        <a:pt x="741" y="629"/>
                        <a:pt x="719" y="609"/>
                      </a:cubicBezTo>
                      <a:cubicBezTo>
                        <a:pt x="697" y="589"/>
                        <a:pt x="696" y="576"/>
                        <a:pt x="667" y="570"/>
                      </a:cubicBezTo>
                      <a:cubicBezTo>
                        <a:pt x="638" y="564"/>
                        <a:pt x="598" y="549"/>
                        <a:pt x="579" y="542"/>
                      </a:cubicBezTo>
                      <a:cubicBezTo>
                        <a:pt x="560" y="535"/>
                        <a:pt x="526" y="518"/>
                        <a:pt x="506" y="517"/>
                      </a:cubicBezTo>
                      <a:cubicBezTo>
                        <a:pt x="486" y="516"/>
                        <a:pt x="467" y="516"/>
                        <a:pt x="455" y="516"/>
                      </a:cubicBezTo>
                      <a:cubicBezTo>
                        <a:pt x="443" y="516"/>
                        <a:pt x="421" y="516"/>
                        <a:pt x="421" y="516"/>
                      </a:cubicBezTo>
                      <a:cubicBezTo>
                        <a:pt x="413" y="506"/>
                        <a:pt x="413" y="506"/>
                        <a:pt x="413" y="506"/>
                      </a:cubicBezTo>
                      <a:cubicBezTo>
                        <a:pt x="394" y="507"/>
                        <a:pt x="394" y="507"/>
                        <a:pt x="394" y="507"/>
                      </a:cubicBezTo>
                      <a:cubicBezTo>
                        <a:pt x="373" y="498"/>
                        <a:pt x="373" y="498"/>
                        <a:pt x="373" y="498"/>
                      </a:cubicBezTo>
                      <a:cubicBezTo>
                        <a:pt x="394" y="493"/>
                        <a:pt x="394" y="493"/>
                        <a:pt x="394" y="493"/>
                      </a:cubicBezTo>
                      <a:cubicBezTo>
                        <a:pt x="406" y="485"/>
                        <a:pt x="406" y="485"/>
                        <a:pt x="406" y="485"/>
                      </a:cubicBezTo>
                      <a:cubicBezTo>
                        <a:pt x="406" y="485"/>
                        <a:pt x="363" y="469"/>
                        <a:pt x="357" y="475"/>
                      </a:cubicBezTo>
                      <a:cubicBezTo>
                        <a:pt x="351" y="481"/>
                        <a:pt x="348" y="490"/>
                        <a:pt x="348" y="490"/>
                      </a:cubicBezTo>
                      <a:cubicBezTo>
                        <a:pt x="335" y="490"/>
                        <a:pt x="335" y="490"/>
                        <a:pt x="335" y="490"/>
                      </a:cubicBezTo>
                      <a:cubicBezTo>
                        <a:pt x="333" y="493"/>
                        <a:pt x="329" y="497"/>
                        <a:pt x="321" y="498"/>
                      </a:cubicBezTo>
                      <a:cubicBezTo>
                        <a:pt x="303" y="501"/>
                        <a:pt x="304" y="498"/>
                        <a:pt x="304" y="498"/>
                      </a:cubicBezTo>
                      <a:cubicBezTo>
                        <a:pt x="300" y="506"/>
                        <a:pt x="300" y="506"/>
                        <a:pt x="300" y="506"/>
                      </a:cubicBezTo>
                      <a:cubicBezTo>
                        <a:pt x="285" y="507"/>
                        <a:pt x="285" y="507"/>
                        <a:pt x="285" y="507"/>
                      </a:cubicBezTo>
                      <a:cubicBezTo>
                        <a:pt x="285" y="507"/>
                        <a:pt x="284" y="521"/>
                        <a:pt x="275" y="522"/>
                      </a:cubicBezTo>
                      <a:cubicBezTo>
                        <a:pt x="270" y="522"/>
                        <a:pt x="266" y="521"/>
                        <a:pt x="262" y="519"/>
                      </a:cubicBezTo>
                      <a:cubicBezTo>
                        <a:pt x="261" y="528"/>
                        <a:pt x="261" y="528"/>
                        <a:pt x="261" y="528"/>
                      </a:cubicBezTo>
                      <a:cubicBezTo>
                        <a:pt x="261" y="528"/>
                        <a:pt x="265" y="534"/>
                        <a:pt x="266" y="537"/>
                      </a:cubicBezTo>
                      <a:cubicBezTo>
                        <a:pt x="267" y="540"/>
                        <a:pt x="254" y="542"/>
                        <a:pt x="254" y="542"/>
                      </a:cubicBezTo>
                      <a:cubicBezTo>
                        <a:pt x="254" y="542"/>
                        <a:pt x="257" y="545"/>
                        <a:pt x="259" y="557"/>
                      </a:cubicBezTo>
                      <a:cubicBezTo>
                        <a:pt x="261" y="569"/>
                        <a:pt x="275" y="561"/>
                        <a:pt x="281" y="561"/>
                      </a:cubicBezTo>
                      <a:cubicBezTo>
                        <a:pt x="287" y="561"/>
                        <a:pt x="292" y="568"/>
                        <a:pt x="296" y="573"/>
                      </a:cubicBezTo>
                      <a:cubicBezTo>
                        <a:pt x="300" y="578"/>
                        <a:pt x="306" y="581"/>
                        <a:pt x="315" y="591"/>
                      </a:cubicBezTo>
                      <a:cubicBezTo>
                        <a:pt x="324" y="601"/>
                        <a:pt x="300" y="603"/>
                        <a:pt x="300" y="608"/>
                      </a:cubicBezTo>
                      <a:cubicBezTo>
                        <a:pt x="300" y="613"/>
                        <a:pt x="283" y="620"/>
                        <a:pt x="283" y="620"/>
                      </a:cubicBezTo>
                      <a:cubicBezTo>
                        <a:pt x="296" y="631"/>
                        <a:pt x="296" y="631"/>
                        <a:pt x="296" y="631"/>
                      </a:cubicBezTo>
                      <a:cubicBezTo>
                        <a:pt x="296" y="631"/>
                        <a:pt x="337" y="663"/>
                        <a:pt x="343" y="673"/>
                      </a:cubicBezTo>
                      <a:cubicBezTo>
                        <a:pt x="349" y="683"/>
                        <a:pt x="321" y="677"/>
                        <a:pt x="321" y="677"/>
                      </a:cubicBezTo>
                      <a:cubicBezTo>
                        <a:pt x="316" y="697"/>
                        <a:pt x="316" y="697"/>
                        <a:pt x="316" y="697"/>
                      </a:cubicBezTo>
                      <a:cubicBezTo>
                        <a:pt x="323" y="703"/>
                        <a:pt x="323" y="703"/>
                        <a:pt x="323" y="703"/>
                      </a:cubicBezTo>
                      <a:cubicBezTo>
                        <a:pt x="323" y="713"/>
                        <a:pt x="323" y="713"/>
                        <a:pt x="323" y="713"/>
                      </a:cubicBezTo>
                      <a:cubicBezTo>
                        <a:pt x="323" y="713"/>
                        <a:pt x="342" y="718"/>
                        <a:pt x="343" y="722"/>
                      </a:cubicBezTo>
                      <a:cubicBezTo>
                        <a:pt x="344" y="726"/>
                        <a:pt x="337" y="737"/>
                        <a:pt x="337" y="737"/>
                      </a:cubicBezTo>
                      <a:cubicBezTo>
                        <a:pt x="352" y="740"/>
                        <a:pt x="352" y="740"/>
                        <a:pt x="352" y="740"/>
                      </a:cubicBezTo>
                      <a:cubicBezTo>
                        <a:pt x="352" y="740"/>
                        <a:pt x="363" y="748"/>
                        <a:pt x="364" y="752"/>
                      </a:cubicBezTo>
                      <a:cubicBezTo>
                        <a:pt x="365" y="756"/>
                        <a:pt x="344" y="770"/>
                        <a:pt x="344" y="770"/>
                      </a:cubicBezTo>
                      <a:cubicBezTo>
                        <a:pt x="383" y="788"/>
                        <a:pt x="383" y="788"/>
                        <a:pt x="383" y="788"/>
                      </a:cubicBezTo>
                      <a:cubicBezTo>
                        <a:pt x="383" y="788"/>
                        <a:pt x="406" y="807"/>
                        <a:pt x="405" y="815"/>
                      </a:cubicBezTo>
                      <a:cubicBezTo>
                        <a:pt x="404" y="823"/>
                        <a:pt x="395" y="830"/>
                        <a:pt x="391" y="837"/>
                      </a:cubicBezTo>
                      <a:cubicBezTo>
                        <a:pt x="387" y="844"/>
                        <a:pt x="366" y="856"/>
                        <a:pt x="366" y="856"/>
                      </a:cubicBezTo>
                      <a:cubicBezTo>
                        <a:pt x="366" y="856"/>
                        <a:pt x="338" y="882"/>
                        <a:pt x="334" y="887"/>
                      </a:cubicBezTo>
                      <a:cubicBezTo>
                        <a:pt x="330" y="892"/>
                        <a:pt x="289" y="916"/>
                        <a:pt x="289" y="916"/>
                      </a:cubicBezTo>
                      <a:cubicBezTo>
                        <a:pt x="293" y="923"/>
                        <a:pt x="293" y="923"/>
                        <a:pt x="293" y="923"/>
                      </a:cubicBezTo>
                      <a:cubicBezTo>
                        <a:pt x="313" y="912"/>
                        <a:pt x="313" y="912"/>
                        <a:pt x="313" y="912"/>
                      </a:cubicBezTo>
                      <a:cubicBezTo>
                        <a:pt x="315" y="923"/>
                        <a:pt x="315" y="923"/>
                        <a:pt x="315" y="923"/>
                      </a:cubicBezTo>
                      <a:cubicBezTo>
                        <a:pt x="315" y="923"/>
                        <a:pt x="328" y="936"/>
                        <a:pt x="334" y="939"/>
                      </a:cubicBezTo>
                      <a:cubicBezTo>
                        <a:pt x="340" y="942"/>
                        <a:pt x="367" y="942"/>
                        <a:pt x="367" y="942"/>
                      </a:cubicBezTo>
                      <a:cubicBezTo>
                        <a:pt x="376" y="954"/>
                        <a:pt x="376" y="954"/>
                        <a:pt x="376" y="954"/>
                      </a:cubicBezTo>
                      <a:cubicBezTo>
                        <a:pt x="376" y="954"/>
                        <a:pt x="337" y="945"/>
                        <a:pt x="335" y="951"/>
                      </a:cubicBezTo>
                      <a:cubicBezTo>
                        <a:pt x="333" y="957"/>
                        <a:pt x="333" y="961"/>
                        <a:pt x="333" y="961"/>
                      </a:cubicBezTo>
                      <a:cubicBezTo>
                        <a:pt x="307" y="962"/>
                        <a:pt x="307" y="962"/>
                        <a:pt x="307" y="962"/>
                      </a:cubicBezTo>
                      <a:cubicBezTo>
                        <a:pt x="303" y="980"/>
                        <a:pt x="303" y="980"/>
                        <a:pt x="303" y="980"/>
                      </a:cubicBezTo>
                      <a:cubicBezTo>
                        <a:pt x="303" y="980"/>
                        <a:pt x="300" y="979"/>
                        <a:pt x="295" y="978"/>
                      </a:cubicBezTo>
                      <a:cubicBezTo>
                        <a:pt x="292" y="988"/>
                        <a:pt x="292" y="988"/>
                        <a:pt x="292" y="988"/>
                      </a:cubicBezTo>
                      <a:cubicBezTo>
                        <a:pt x="295" y="997"/>
                        <a:pt x="295" y="997"/>
                        <a:pt x="295" y="997"/>
                      </a:cubicBezTo>
                      <a:cubicBezTo>
                        <a:pt x="295" y="997"/>
                        <a:pt x="288" y="1001"/>
                        <a:pt x="284" y="1003"/>
                      </a:cubicBezTo>
                      <a:cubicBezTo>
                        <a:pt x="280" y="1005"/>
                        <a:pt x="281" y="1019"/>
                        <a:pt x="281" y="1019"/>
                      </a:cubicBezTo>
                      <a:cubicBezTo>
                        <a:pt x="290" y="1023"/>
                        <a:pt x="290" y="1023"/>
                        <a:pt x="290" y="1023"/>
                      </a:cubicBezTo>
                      <a:cubicBezTo>
                        <a:pt x="285" y="1041"/>
                        <a:pt x="285" y="1041"/>
                        <a:pt x="285" y="1041"/>
                      </a:cubicBezTo>
                      <a:cubicBezTo>
                        <a:pt x="292" y="1043"/>
                        <a:pt x="292" y="1043"/>
                        <a:pt x="292" y="1043"/>
                      </a:cubicBezTo>
                      <a:cubicBezTo>
                        <a:pt x="301" y="1055"/>
                        <a:pt x="301" y="1055"/>
                        <a:pt x="301" y="1055"/>
                      </a:cubicBezTo>
                      <a:cubicBezTo>
                        <a:pt x="288" y="1064"/>
                        <a:pt x="288" y="1064"/>
                        <a:pt x="288" y="1064"/>
                      </a:cubicBezTo>
                      <a:cubicBezTo>
                        <a:pt x="288" y="1072"/>
                        <a:pt x="288" y="1072"/>
                        <a:pt x="288" y="1072"/>
                      </a:cubicBezTo>
                      <a:cubicBezTo>
                        <a:pt x="288" y="1072"/>
                        <a:pt x="309" y="1082"/>
                        <a:pt x="310" y="1087"/>
                      </a:cubicBezTo>
                      <a:cubicBezTo>
                        <a:pt x="311" y="1092"/>
                        <a:pt x="298" y="1094"/>
                        <a:pt x="298" y="1094"/>
                      </a:cubicBezTo>
                      <a:cubicBezTo>
                        <a:pt x="297" y="1103"/>
                        <a:pt x="297" y="1103"/>
                        <a:pt x="297" y="1103"/>
                      </a:cubicBezTo>
                      <a:cubicBezTo>
                        <a:pt x="310" y="1107"/>
                        <a:pt x="310" y="1107"/>
                        <a:pt x="310" y="1107"/>
                      </a:cubicBezTo>
                      <a:cubicBezTo>
                        <a:pt x="310" y="1107"/>
                        <a:pt x="315" y="1118"/>
                        <a:pt x="322" y="1124"/>
                      </a:cubicBezTo>
                      <a:cubicBezTo>
                        <a:pt x="328" y="1129"/>
                        <a:pt x="328" y="1139"/>
                        <a:pt x="328" y="1143"/>
                      </a:cubicBezTo>
                      <a:cubicBezTo>
                        <a:pt x="332" y="1144"/>
                        <a:pt x="336" y="1144"/>
                        <a:pt x="339" y="1145"/>
                      </a:cubicBezTo>
                      <a:cubicBezTo>
                        <a:pt x="347" y="1146"/>
                        <a:pt x="348" y="1153"/>
                        <a:pt x="348" y="1153"/>
                      </a:cubicBezTo>
                      <a:cubicBezTo>
                        <a:pt x="354" y="1147"/>
                        <a:pt x="354" y="1147"/>
                        <a:pt x="354" y="1147"/>
                      </a:cubicBezTo>
                      <a:cubicBezTo>
                        <a:pt x="380" y="1153"/>
                        <a:pt x="380" y="1153"/>
                        <a:pt x="380" y="1153"/>
                      </a:cubicBezTo>
                      <a:cubicBezTo>
                        <a:pt x="382" y="1163"/>
                        <a:pt x="382" y="1163"/>
                        <a:pt x="382" y="1163"/>
                      </a:cubicBezTo>
                      <a:cubicBezTo>
                        <a:pt x="404" y="1151"/>
                        <a:pt x="404" y="1151"/>
                        <a:pt x="404" y="1151"/>
                      </a:cubicBezTo>
                      <a:cubicBezTo>
                        <a:pt x="404" y="1151"/>
                        <a:pt x="426" y="1162"/>
                        <a:pt x="437" y="1167"/>
                      </a:cubicBezTo>
                      <a:cubicBezTo>
                        <a:pt x="448" y="1172"/>
                        <a:pt x="434" y="1186"/>
                        <a:pt x="434" y="1186"/>
                      </a:cubicBezTo>
                      <a:cubicBezTo>
                        <a:pt x="442" y="1196"/>
                        <a:pt x="442" y="1196"/>
                        <a:pt x="442" y="1196"/>
                      </a:cubicBezTo>
                      <a:cubicBezTo>
                        <a:pt x="438" y="1208"/>
                        <a:pt x="438" y="1208"/>
                        <a:pt x="438" y="1208"/>
                      </a:cubicBezTo>
                      <a:cubicBezTo>
                        <a:pt x="438" y="1208"/>
                        <a:pt x="443" y="1213"/>
                        <a:pt x="451" y="1215"/>
                      </a:cubicBezTo>
                      <a:cubicBezTo>
                        <a:pt x="459" y="1217"/>
                        <a:pt x="462" y="1238"/>
                        <a:pt x="462" y="1238"/>
                      </a:cubicBezTo>
                      <a:cubicBezTo>
                        <a:pt x="482" y="1245"/>
                        <a:pt x="482" y="1245"/>
                        <a:pt x="482" y="1245"/>
                      </a:cubicBezTo>
                      <a:cubicBezTo>
                        <a:pt x="484" y="1260"/>
                        <a:pt x="484" y="1260"/>
                        <a:pt x="484" y="1260"/>
                      </a:cubicBezTo>
                      <a:cubicBezTo>
                        <a:pt x="484" y="1260"/>
                        <a:pt x="494" y="1258"/>
                        <a:pt x="507" y="1261"/>
                      </a:cubicBezTo>
                      <a:cubicBezTo>
                        <a:pt x="520" y="1264"/>
                        <a:pt x="512" y="1273"/>
                        <a:pt x="512" y="1273"/>
                      </a:cubicBezTo>
                      <a:cubicBezTo>
                        <a:pt x="526" y="1281"/>
                        <a:pt x="526" y="1281"/>
                        <a:pt x="526" y="1281"/>
                      </a:cubicBezTo>
                      <a:cubicBezTo>
                        <a:pt x="526" y="1281"/>
                        <a:pt x="517" y="1290"/>
                        <a:pt x="509" y="1297"/>
                      </a:cubicBezTo>
                      <a:cubicBezTo>
                        <a:pt x="501" y="1304"/>
                        <a:pt x="488" y="1296"/>
                        <a:pt x="488" y="1296"/>
                      </a:cubicBezTo>
                      <a:cubicBezTo>
                        <a:pt x="488" y="1296"/>
                        <a:pt x="486" y="1290"/>
                        <a:pt x="472" y="1293"/>
                      </a:cubicBezTo>
                      <a:cubicBezTo>
                        <a:pt x="458" y="1296"/>
                        <a:pt x="485" y="1318"/>
                        <a:pt x="485" y="1318"/>
                      </a:cubicBezTo>
                      <a:cubicBezTo>
                        <a:pt x="485" y="1318"/>
                        <a:pt x="485" y="1332"/>
                        <a:pt x="488" y="1333"/>
                      </a:cubicBezTo>
                      <a:cubicBezTo>
                        <a:pt x="490" y="1333"/>
                        <a:pt x="490" y="1343"/>
                        <a:pt x="491" y="1351"/>
                      </a:cubicBezTo>
                      <a:cubicBezTo>
                        <a:pt x="486" y="1351"/>
                        <a:pt x="481" y="1350"/>
                        <a:pt x="477" y="1349"/>
                      </a:cubicBezTo>
                      <a:cubicBezTo>
                        <a:pt x="490" y="1351"/>
                        <a:pt x="510" y="1355"/>
                        <a:pt x="516" y="1352"/>
                      </a:cubicBezTo>
                      <a:cubicBezTo>
                        <a:pt x="524" y="1348"/>
                        <a:pt x="520" y="1339"/>
                        <a:pt x="520" y="1339"/>
                      </a:cubicBezTo>
                      <a:cubicBezTo>
                        <a:pt x="538" y="1342"/>
                        <a:pt x="538" y="1342"/>
                        <a:pt x="538" y="1342"/>
                      </a:cubicBezTo>
                      <a:cubicBezTo>
                        <a:pt x="549" y="1337"/>
                        <a:pt x="549" y="1337"/>
                        <a:pt x="549" y="1337"/>
                      </a:cubicBezTo>
                      <a:cubicBezTo>
                        <a:pt x="579" y="1336"/>
                        <a:pt x="579" y="1336"/>
                        <a:pt x="579" y="1336"/>
                      </a:cubicBezTo>
                      <a:cubicBezTo>
                        <a:pt x="585" y="1350"/>
                        <a:pt x="585" y="1350"/>
                        <a:pt x="585" y="1350"/>
                      </a:cubicBezTo>
                      <a:cubicBezTo>
                        <a:pt x="585" y="1350"/>
                        <a:pt x="606" y="1356"/>
                        <a:pt x="604" y="1362"/>
                      </a:cubicBezTo>
                      <a:cubicBezTo>
                        <a:pt x="602" y="1368"/>
                        <a:pt x="594" y="1369"/>
                        <a:pt x="594" y="1369"/>
                      </a:cubicBezTo>
                      <a:cubicBezTo>
                        <a:pt x="599" y="1381"/>
                        <a:pt x="599" y="1381"/>
                        <a:pt x="599" y="1381"/>
                      </a:cubicBezTo>
                      <a:cubicBezTo>
                        <a:pt x="600" y="1392"/>
                        <a:pt x="600" y="1392"/>
                        <a:pt x="600" y="1392"/>
                      </a:cubicBezTo>
                      <a:cubicBezTo>
                        <a:pt x="623" y="1394"/>
                        <a:pt x="623" y="1394"/>
                        <a:pt x="623" y="1394"/>
                      </a:cubicBezTo>
                      <a:cubicBezTo>
                        <a:pt x="651" y="1406"/>
                        <a:pt x="651" y="1406"/>
                        <a:pt x="651" y="1406"/>
                      </a:cubicBezTo>
                      <a:cubicBezTo>
                        <a:pt x="658" y="1435"/>
                        <a:pt x="658" y="1435"/>
                        <a:pt x="658" y="1435"/>
                      </a:cubicBezTo>
                      <a:cubicBezTo>
                        <a:pt x="662" y="1438"/>
                        <a:pt x="662" y="1438"/>
                        <a:pt x="662" y="1438"/>
                      </a:cubicBezTo>
                      <a:cubicBezTo>
                        <a:pt x="680" y="1434"/>
                        <a:pt x="680" y="1434"/>
                        <a:pt x="680" y="1434"/>
                      </a:cubicBezTo>
                      <a:cubicBezTo>
                        <a:pt x="680" y="1434"/>
                        <a:pt x="688" y="1438"/>
                        <a:pt x="696" y="1442"/>
                      </a:cubicBezTo>
                      <a:cubicBezTo>
                        <a:pt x="704" y="1446"/>
                        <a:pt x="702" y="1441"/>
                        <a:pt x="713" y="1440"/>
                      </a:cubicBezTo>
                      <a:cubicBezTo>
                        <a:pt x="724" y="1439"/>
                        <a:pt x="733" y="1445"/>
                        <a:pt x="733" y="1445"/>
                      </a:cubicBezTo>
                      <a:cubicBezTo>
                        <a:pt x="733" y="1445"/>
                        <a:pt x="729" y="1435"/>
                        <a:pt x="738" y="1436"/>
                      </a:cubicBezTo>
                      <a:cubicBezTo>
                        <a:pt x="747" y="1437"/>
                        <a:pt x="749" y="1448"/>
                        <a:pt x="755" y="1452"/>
                      </a:cubicBezTo>
                      <a:cubicBezTo>
                        <a:pt x="761" y="1456"/>
                        <a:pt x="764" y="1461"/>
                        <a:pt x="764" y="1461"/>
                      </a:cubicBezTo>
                      <a:cubicBezTo>
                        <a:pt x="764" y="1461"/>
                        <a:pt x="776" y="1455"/>
                        <a:pt x="780" y="1455"/>
                      </a:cubicBezTo>
                      <a:cubicBezTo>
                        <a:pt x="784" y="1455"/>
                        <a:pt x="797" y="1464"/>
                        <a:pt x="797" y="1464"/>
                      </a:cubicBezTo>
                      <a:cubicBezTo>
                        <a:pt x="797" y="1464"/>
                        <a:pt x="811" y="1462"/>
                        <a:pt x="818" y="1464"/>
                      </a:cubicBezTo>
                      <a:cubicBezTo>
                        <a:pt x="825" y="1466"/>
                        <a:pt x="827" y="1472"/>
                        <a:pt x="827" y="1472"/>
                      </a:cubicBezTo>
                      <a:cubicBezTo>
                        <a:pt x="840" y="1481"/>
                        <a:pt x="840" y="1481"/>
                        <a:pt x="840" y="1481"/>
                      </a:cubicBezTo>
                      <a:cubicBezTo>
                        <a:pt x="840" y="1481"/>
                        <a:pt x="857" y="1475"/>
                        <a:pt x="858" y="1485"/>
                      </a:cubicBezTo>
                      <a:cubicBezTo>
                        <a:pt x="859" y="1495"/>
                        <a:pt x="860" y="1502"/>
                        <a:pt x="860" y="1502"/>
                      </a:cubicBezTo>
                      <a:cubicBezTo>
                        <a:pt x="846" y="1509"/>
                        <a:pt x="846" y="1509"/>
                        <a:pt x="846" y="1509"/>
                      </a:cubicBezTo>
                      <a:cubicBezTo>
                        <a:pt x="846" y="1509"/>
                        <a:pt x="863" y="1512"/>
                        <a:pt x="862" y="1518"/>
                      </a:cubicBezTo>
                      <a:cubicBezTo>
                        <a:pt x="861" y="1524"/>
                        <a:pt x="844" y="1522"/>
                        <a:pt x="845" y="1525"/>
                      </a:cubicBezTo>
                      <a:cubicBezTo>
                        <a:pt x="846" y="1528"/>
                        <a:pt x="858" y="1536"/>
                        <a:pt x="859" y="1542"/>
                      </a:cubicBezTo>
                      <a:cubicBezTo>
                        <a:pt x="860" y="1548"/>
                        <a:pt x="868" y="1561"/>
                        <a:pt x="856" y="1565"/>
                      </a:cubicBezTo>
                      <a:cubicBezTo>
                        <a:pt x="844" y="1569"/>
                        <a:pt x="821" y="1567"/>
                        <a:pt x="821" y="1567"/>
                      </a:cubicBezTo>
                      <a:cubicBezTo>
                        <a:pt x="821" y="1567"/>
                        <a:pt x="813" y="1576"/>
                        <a:pt x="810" y="1580"/>
                      </a:cubicBezTo>
                      <a:cubicBezTo>
                        <a:pt x="807" y="1584"/>
                        <a:pt x="794" y="1584"/>
                        <a:pt x="794" y="1584"/>
                      </a:cubicBezTo>
                      <a:cubicBezTo>
                        <a:pt x="797" y="1609"/>
                        <a:pt x="797" y="1609"/>
                        <a:pt x="797" y="1609"/>
                      </a:cubicBezTo>
                      <a:cubicBezTo>
                        <a:pt x="796" y="1610"/>
                        <a:pt x="795" y="1610"/>
                        <a:pt x="795" y="1610"/>
                      </a:cubicBezTo>
                      <a:cubicBezTo>
                        <a:pt x="796" y="1610"/>
                        <a:pt x="797" y="1609"/>
                        <a:pt x="799" y="1609"/>
                      </a:cubicBezTo>
                      <a:cubicBezTo>
                        <a:pt x="810" y="1603"/>
                        <a:pt x="839" y="1594"/>
                        <a:pt x="840" y="1603"/>
                      </a:cubicBezTo>
                      <a:cubicBezTo>
                        <a:pt x="841" y="1611"/>
                        <a:pt x="819" y="1627"/>
                        <a:pt x="819" y="1627"/>
                      </a:cubicBezTo>
                      <a:cubicBezTo>
                        <a:pt x="786" y="1637"/>
                        <a:pt x="786" y="1637"/>
                        <a:pt x="786" y="1637"/>
                      </a:cubicBezTo>
                      <a:cubicBezTo>
                        <a:pt x="816" y="1660"/>
                        <a:pt x="816" y="1660"/>
                        <a:pt x="816" y="1660"/>
                      </a:cubicBezTo>
                      <a:cubicBezTo>
                        <a:pt x="816" y="1660"/>
                        <a:pt x="792" y="1665"/>
                        <a:pt x="791" y="1675"/>
                      </a:cubicBezTo>
                      <a:cubicBezTo>
                        <a:pt x="790" y="1685"/>
                        <a:pt x="790" y="1696"/>
                        <a:pt x="790" y="1696"/>
                      </a:cubicBezTo>
                      <a:cubicBezTo>
                        <a:pt x="790" y="1696"/>
                        <a:pt x="777" y="1705"/>
                        <a:pt x="772" y="1705"/>
                      </a:cubicBezTo>
                      <a:cubicBezTo>
                        <a:pt x="767" y="1705"/>
                        <a:pt x="752" y="1694"/>
                        <a:pt x="752" y="1694"/>
                      </a:cubicBezTo>
                      <a:cubicBezTo>
                        <a:pt x="748" y="1705"/>
                        <a:pt x="748" y="1705"/>
                        <a:pt x="748" y="1705"/>
                      </a:cubicBezTo>
                      <a:cubicBezTo>
                        <a:pt x="748" y="1705"/>
                        <a:pt x="760" y="1718"/>
                        <a:pt x="763" y="1718"/>
                      </a:cubicBezTo>
                      <a:cubicBezTo>
                        <a:pt x="766" y="1718"/>
                        <a:pt x="775" y="1737"/>
                        <a:pt x="775" y="1737"/>
                      </a:cubicBezTo>
                      <a:cubicBezTo>
                        <a:pt x="800" y="1735"/>
                        <a:pt x="800" y="1735"/>
                        <a:pt x="800" y="1735"/>
                      </a:cubicBezTo>
                      <a:cubicBezTo>
                        <a:pt x="800" y="1735"/>
                        <a:pt x="818" y="1754"/>
                        <a:pt x="824" y="1754"/>
                      </a:cubicBezTo>
                      <a:cubicBezTo>
                        <a:pt x="830" y="1754"/>
                        <a:pt x="842" y="1755"/>
                        <a:pt x="842" y="1755"/>
                      </a:cubicBezTo>
                      <a:cubicBezTo>
                        <a:pt x="842" y="1755"/>
                        <a:pt x="873" y="1792"/>
                        <a:pt x="881" y="1795"/>
                      </a:cubicBezTo>
                      <a:cubicBezTo>
                        <a:pt x="889" y="1798"/>
                        <a:pt x="905" y="1805"/>
                        <a:pt x="905" y="1805"/>
                      </a:cubicBezTo>
                      <a:cubicBezTo>
                        <a:pt x="905" y="1805"/>
                        <a:pt x="904" y="1805"/>
                        <a:pt x="901" y="1804"/>
                      </a:cubicBezTo>
                      <a:cubicBezTo>
                        <a:pt x="914" y="1793"/>
                        <a:pt x="914" y="1793"/>
                        <a:pt x="914" y="1793"/>
                      </a:cubicBezTo>
                      <a:cubicBezTo>
                        <a:pt x="914" y="1793"/>
                        <a:pt x="939" y="1796"/>
                        <a:pt x="955" y="1803"/>
                      </a:cubicBezTo>
                      <a:cubicBezTo>
                        <a:pt x="971" y="1810"/>
                        <a:pt x="983" y="1812"/>
                        <a:pt x="996" y="1811"/>
                      </a:cubicBezTo>
                      <a:cubicBezTo>
                        <a:pt x="1009" y="1810"/>
                        <a:pt x="1029" y="1815"/>
                        <a:pt x="1029" y="1815"/>
                      </a:cubicBezTo>
                      <a:cubicBezTo>
                        <a:pt x="1061" y="1835"/>
                        <a:pt x="1061" y="1835"/>
                        <a:pt x="1061" y="1835"/>
                      </a:cubicBezTo>
                      <a:cubicBezTo>
                        <a:pt x="1061" y="1835"/>
                        <a:pt x="1061" y="1846"/>
                        <a:pt x="1080" y="1846"/>
                      </a:cubicBezTo>
                      <a:cubicBezTo>
                        <a:pt x="1099" y="1846"/>
                        <a:pt x="1091" y="1837"/>
                        <a:pt x="1109" y="1835"/>
                      </a:cubicBezTo>
                      <a:cubicBezTo>
                        <a:pt x="1127" y="1833"/>
                        <a:pt x="1137" y="1848"/>
                        <a:pt x="1137" y="1848"/>
                      </a:cubicBezTo>
                      <a:cubicBezTo>
                        <a:pt x="1157" y="1851"/>
                        <a:pt x="1157" y="1851"/>
                        <a:pt x="1157" y="1851"/>
                      </a:cubicBezTo>
                      <a:cubicBezTo>
                        <a:pt x="1157" y="1851"/>
                        <a:pt x="1152" y="1869"/>
                        <a:pt x="1152" y="1868"/>
                      </a:cubicBezTo>
                      <a:cubicBezTo>
                        <a:pt x="1169" y="1869"/>
                        <a:pt x="1180" y="1879"/>
                        <a:pt x="1187" y="1886"/>
                      </a:cubicBezTo>
                      <a:cubicBezTo>
                        <a:pt x="1187" y="1886"/>
                        <a:pt x="1187" y="1886"/>
                        <a:pt x="1187" y="1886"/>
                      </a:cubicBezTo>
                      <a:cubicBezTo>
                        <a:pt x="1194" y="1885"/>
                        <a:pt x="1205" y="1886"/>
                        <a:pt x="1214" y="1892"/>
                      </a:cubicBezTo>
                      <a:cubicBezTo>
                        <a:pt x="1227" y="1901"/>
                        <a:pt x="1236" y="1923"/>
                        <a:pt x="1252" y="1921"/>
                      </a:cubicBezTo>
                      <a:cubicBezTo>
                        <a:pt x="1268" y="1919"/>
                        <a:pt x="1262" y="1907"/>
                        <a:pt x="1262" y="1907"/>
                      </a:cubicBezTo>
                      <a:cubicBezTo>
                        <a:pt x="1262" y="1907"/>
                        <a:pt x="1278" y="1910"/>
                        <a:pt x="1279" y="1903"/>
                      </a:cubicBezTo>
                      <a:cubicBezTo>
                        <a:pt x="1280" y="1896"/>
                        <a:pt x="1281" y="1885"/>
                        <a:pt x="1281" y="1885"/>
                      </a:cubicBezTo>
                      <a:cubicBezTo>
                        <a:pt x="1274" y="1882"/>
                        <a:pt x="1274" y="1882"/>
                        <a:pt x="1274" y="1882"/>
                      </a:cubicBezTo>
                      <a:cubicBezTo>
                        <a:pt x="1274" y="1882"/>
                        <a:pt x="1269" y="1868"/>
                        <a:pt x="1264" y="1860"/>
                      </a:cubicBezTo>
                      <a:cubicBezTo>
                        <a:pt x="1259" y="1852"/>
                        <a:pt x="1240" y="1848"/>
                        <a:pt x="1240" y="1848"/>
                      </a:cubicBezTo>
                      <a:cubicBezTo>
                        <a:pt x="1240" y="1833"/>
                        <a:pt x="1240" y="1833"/>
                        <a:pt x="1240" y="1833"/>
                      </a:cubicBezTo>
                      <a:cubicBezTo>
                        <a:pt x="1240" y="1833"/>
                        <a:pt x="1232" y="1829"/>
                        <a:pt x="1223" y="1818"/>
                      </a:cubicBezTo>
                      <a:cubicBezTo>
                        <a:pt x="1214" y="1807"/>
                        <a:pt x="1226" y="1793"/>
                        <a:pt x="1221" y="1780"/>
                      </a:cubicBezTo>
                      <a:cubicBezTo>
                        <a:pt x="1216" y="1767"/>
                        <a:pt x="1195" y="1753"/>
                        <a:pt x="1195" y="1753"/>
                      </a:cubicBezTo>
                      <a:cubicBezTo>
                        <a:pt x="1195" y="1753"/>
                        <a:pt x="1186" y="1752"/>
                        <a:pt x="1177" y="1747"/>
                      </a:cubicBezTo>
                      <a:cubicBezTo>
                        <a:pt x="1168" y="1742"/>
                        <a:pt x="1190" y="1721"/>
                        <a:pt x="1190" y="1721"/>
                      </a:cubicBezTo>
                      <a:cubicBezTo>
                        <a:pt x="1190" y="1721"/>
                        <a:pt x="1205" y="1708"/>
                        <a:pt x="1208" y="1701"/>
                      </a:cubicBezTo>
                      <a:cubicBezTo>
                        <a:pt x="1211" y="1694"/>
                        <a:pt x="1197" y="1679"/>
                        <a:pt x="1197" y="1679"/>
                      </a:cubicBezTo>
                      <a:cubicBezTo>
                        <a:pt x="1197" y="1679"/>
                        <a:pt x="1211" y="1685"/>
                        <a:pt x="1214" y="1685"/>
                      </a:cubicBezTo>
                      <a:cubicBezTo>
                        <a:pt x="1217" y="1685"/>
                        <a:pt x="1229" y="1684"/>
                        <a:pt x="1232" y="1678"/>
                      </a:cubicBezTo>
                      <a:cubicBezTo>
                        <a:pt x="1235" y="1672"/>
                        <a:pt x="1238" y="1678"/>
                        <a:pt x="1250" y="1676"/>
                      </a:cubicBezTo>
                      <a:cubicBezTo>
                        <a:pt x="1262" y="1674"/>
                        <a:pt x="1245" y="1661"/>
                        <a:pt x="1245" y="1661"/>
                      </a:cubicBezTo>
                      <a:cubicBezTo>
                        <a:pt x="1245" y="1661"/>
                        <a:pt x="1261" y="1662"/>
                        <a:pt x="1264" y="1662"/>
                      </a:cubicBezTo>
                      <a:cubicBezTo>
                        <a:pt x="1266" y="1662"/>
                        <a:pt x="1265" y="1652"/>
                        <a:pt x="1264" y="1649"/>
                      </a:cubicBezTo>
                      <a:cubicBezTo>
                        <a:pt x="1257" y="1647"/>
                        <a:pt x="1231" y="1638"/>
                        <a:pt x="1231" y="1631"/>
                      </a:cubicBezTo>
                      <a:cubicBezTo>
                        <a:pt x="1231" y="1623"/>
                        <a:pt x="1254" y="1632"/>
                        <a:pt x="1254" y="1624"/>
                      </a:cubicBezTo>
                      <a:cubicBezTo>
                        <a:pt x="1254" y="1616"/>
                        <a:pt x="1215" y="1576"/>
                        <a:pt x="1210" y="1574"/>
                      </a:cubicBezTo>
                      <a:cubicBezTo>
                        <a:pt x="1205" y="1571"/>
                        <a:pt x="1181" y="1580"/>
                        <a:pt x="1169" y="1575"/>
                      </a:cubicBezTo>
                      <a:cubicBezTo>
                        <a:pt x="1157" y="1570"/>
                        <a:pt x="1171" y="1555"/>
                        <a:pt x="1159" y="1550"/>
                      </a:cubicBezTo>
                      <a:cubicBezTo>
                        <a:pt x="1147" y="1544"/>
                        <a:pt x="1137" y="1554"/>
                        <a:pt x="1137" y="1538"/>
                      </a:cubicBezTo>
                      <a:cubicBezTo>
                        <a:pt x="1137" y="1522"/>
                        <a:pt x="1145" y="1510"/>
                        <a:pt x="1145" y="1502"/>
                      </a:cubicBezTo>
                      <a:cubicBezTo>
                        <a:pt x="1145" y="1494"/>
                        <a:pt x="1139" y="1488"/>
                        <a:pt x="1139" y="1488"/>
                      </a:cubicBezTo>
                      <a:cubicBezTo>
                        <a:pt x="1137" y="1464"/>
                        <a:pt x="1137" y="1464"/>
                        <a:pt x="1137" y="1464"/>
                      </a:cubicBezTo>
                      <a:cubicBezTo>
                        <a:pt x="1137" y="1464"/>
                        <a:pt x="1150" y="1467"/>
                        <a:pt x="1150" y="1459"/>
                      </a:cubicBezTo>
                      <a:cubicBezTo>
                        <a:pt x="1150" y="1451"/>
                        <a:pt x="1142" y="1432"/>
                        <a:pt x="1154" y="1431"/>
                      </a:cubicBezTo>
                      <a:cubicBezTo>
                        <a:pt x="1166" y="1430"/>
                        <a:pt x="1194" y="1472"/>
                        <a:pt x="1209" y="1458"/>
                      </a:cubicBezTo>
                      <a:cubicBezTo>
                        <a:pt x="1223" y="1443"/>
                        <a:pt x="1205" y="1428"/>
                        <a:pt x="1205" y="1428"/>
                      </a:cubicBezTo>
                      <a:cubicBezTo>
                        <a:pt x="1223" y="1419"/>
                        <a:pt x="1223" y="1419"/>
                        <a:pt x="1223" y="1419"/>
                      </a:cubicBezTo>
                      <a:cubicBezTo>
                        <a:pt x="1223" y="1404"/>
                        <a:pt x="1223" y="1404"/>
                        <a:pt x="1223" y="1404"/>
                      </a:cubicBezTo>
                      <a:cubicBezTo>
                        <a:pt x="1223" y="1404"/>
                        <a:pt x="1251" y="1399"/>
                        <a:pt x="1259" y="1388"/>
                      </a:cubicBezTo>
                      <a:cubicBezTo>
                        <a:pt x="1267" y="1378"/>
                        <a:pt x="1245" y="1370"/>
                        <a:pt x="1267" y="1368"/>
                      </a:cubicBezTo>
                      <a:cubicBezTo>
                        <a:pt x="1290" y="1367"/>
                        <a:pt x="1282" y="1380"/>
                        <a:pt x="1298" y="1380"/>
                      </a:cubicBezTo>
                      <a:cubicBezTo>
                        <a:pt x="1314" y="1380"/>
                        <a:pt x="1327" y="1367"/>
                        <a:pt x="1334" y="1367"/>
                      </a:cubicBezTo>
                      <a:cubicBezTo>
                        <a:pt x="1341" y="1367"/>
                        <a:pt x="1342" y="1380"/>
                        <a:pt x="1351" y="1382"/>
                      </a:cubicBezTo>
                      <a:cubicBezTo>
                        <a:pt x="1361" y="1383"/>
                        <a:pt x="1385" y="1378"/>
                        <a:pt x="1389" y="1382"/>
                      </a:cubicBezTo>
                      <a:cubicBezTo>
                        <a:pt x="1393" y="1386"/>
                        <a:pt x="1395" y="1398"/>
                        <a:pt x="1395" y="1398"/>
                      </a:cubicBezTo>
                      <a:cubicBezTo>
                        <a:pt x="1419" y="1396"/>
                        <a:pt x="1419" y="1396"/>
                        <a:pt x="1419" y="1396"/>
                      </a:cubicBezTo>
                      <a:cubicBezTo>
                        <a:pt x="1426" y="1416"/>
                        <a:pt x="1426" y="1416"/>
                        <a:pt x="1426" y="1416"/>
                      </a:cubicBezTo>
                      <a:cubicBezTo>
                        <a:pt x="1426" y="1416"/>
                        <a:pt x="1434" y="1436"/>
                        <a:pt x="1442" y="1430"/>
                      </a:cubicBezTo>
                      <a:cubicBezTo>
                        <a:pt x="1450" y="1423"/>
                        <a:pt x="1427" y="1406"/>
                        <a:pt x="1438" y="1403"/>
                      </a:cubicBezTo>
                      <a:cubicBezTo>
                        <a:pt x="1449" y="1400"/>
                        <a:pt x="1490" y="1431"/>
                        <a:pt x="1493" y="1427"/>
                      </a:cubicBezTo>
                      <a:cubicBezTo>
                        <a:pt x="1495" y="1423"/>
                        <a:pt x="1513" y="1403"/>
                        <a:pt x="1522" y="1402"/>
                      </a:cubicBezTo>
                      <a:cubicBezTo>
                        <a:pt x="1531" y="1400"/>
                        <a:pt x="1542" y="1416"/>
                        <a:pt x="1558" y="1412"/>
                      </a:cubicBezTo>
                      <a:cubicBezTo>
                        <a:pt x="1574" y="1408"/>
                        <a:pt x="1585" y="1399"/>
                        <a:pt x="1593" y="1400"/>
                      </a:cubicBezTo>
                      <a:cubicBezTo>
                        <a:pt x="1601" y="1402"/>
                        <a:pt x="1613" y="1423"/>
                        <a:pt x="1623" y="1424"/>
                      </a:cubicBezTo>
                      <a:cubicBezTo>
                        <a:pt x="1634" y="1426"/>
                        <a:pt x="1657" y="1430"/>
                        <a:pt x="1657" y="1430"/>
                      </a:cubicBezTo>
                      <a:cubicBezTo>
                        <a:pt x="1663" y="1414"/>
                        <a:pt x="1663" y="1414"/>
                        <a:pt x="1663" y="1414"/>
                      </a:cubicBezTo>
                      <a:cubicBezTo>
                        <a:pt x="1663" y="1414"/>
                        <a:pt x="1723" y="1444"/>
                        <a:pt x="1719" y="1406"/>
                      </a:cubicBezTo>
                      <a:cubicBezTo>
                        <a:pt x="1715" y="1367"/>
                        <a:pt x="1665" y="1370"/>
                        <a:pt x="1665" y="1370"/>
                      </a:cubicBezTo>
                      <a:cubicBezTo>
                        <a:pt x="1642" y="1350"/>
                        <a:pt x="1642" y="1350"/>
                        <a:pt x="1642" y="1350"/>
                      </a:cubicBezTo>
                      <a:cubicBezTo>
                        <a:pt x="1642" y="1350"/>
                        <a:pt x="1675" y="1344"/>
                        <a:pt x="1677" y="1338"/>
                      </a:cubicBezTo>
                      <a:cubicBezTo>
                        <a:pt x="1678" y="1331"/>
                        <a:pt x="1665" y="1314"/>
                        <a:pt x="1665" y="1314"/>
                      </a:cubicBezTo>
                      <a:cubicBezTo>
                        <a:pt x="1671" y="1303"/>
                        <a:pt x="1671" y="1303"/>
                        <a:pt x="1671" y="1303"/>
                      </a:cubicBezTo>
                      <a:cubicBezTo>
                        <a:pt x="1671" y="1303"/>
                        <a:pt x="1709" y="1310"/>
                        <a:pt x="1709" y="1303"/>
                      </a:cubicBezTo>
                      <a:cubicBezTo>
                        <a:pt x="1709" y="1296"/>
                        <a:pt x="1666" y="1288"/>
                        <a:pt x="1666" y="1288"/>
                      </a:cubicBezTo>
                      <a:cubicBezTo>
                        <a:pt x="1677" y="1276"/>
                        <a:pt x="1677" y="1276"/>
                        <a:pt x="1677" y="1276"/>
                      </a:cubicBezTo>
                      <a:cubicBezTo>
                        <a:pt x="1658" y="1275"/>
                        <a:pt x="1658" y="1275"/>
                        <a:pt x="1658" y="1275"/>
                      </a:cubicBezTo>
                      <a:cubicBezTo>
                        <a:pt x="1658" y="1275"/>
                        <a:pt x="1642" y="1256"/>
                        <a:pt x="1687" y="1250"/>
                      </a:cubicBezTo>
                      <a:cubicBezTo>
                        <a:pt x="1733" y="1243"/>
                        <a:pt x="1765" y="1244"/>
                        <a:pt x="1765" y="1244"/>
                      </a:cubicBezTo>
                      <a:cubicBezTo>
                        <a:pt x="1769" y="1232"/>
                        <a:pt x="1769" y="1232"/>
                        <a:pt x="1769" y="1232"/>
                      </a:cubicBezTo>
                      <a:cubicBezTo>
                        <a:pt x="1811" y="1232"/>
                        <a:pt x="1811" y="1232"/>
                        <a:pt x="1811" y="1232"/>
                      </a:cubicBezTo>
                      <a:cubicBezTo>
                        <a:pt x="1811" y="1232"/>
                        <a:pt x="1811" y="1216"/>
                        <a:pt x="1819" y="1216"/>
                      </a:cubicBezTo>
                      <a:cubicBezTo>
                        <a:pt x="1827" y="1216"/>
                        <a:pt x="1855" y="1220"/>
                        <a:pt x="1877" y="1215"/>
                      </a:cubicBezTo>
                      <a:cubicBezTo>
                        <a:pt x="1898" y="1210"/>
                        <a:pt x="1918" y="1203"/>
                        <a:pt x="1918" y="1203"/>
                      </a:cubicBezTo>
                      <a:cubicBezTo>
                        <a:pt x="1918" y="1203"/>
                        <a:pt x="1915" y="1183"/>
                        <a:pt x="1949" y="1182"/>
                      </a:cubicBezTo>
                      <a:cubicBezTo>
                        <a:pt x="1982" y="1180"/>
                        <a:pt x="1995" y="1191"/>
                        <a:pt x="2001" y="1191"/>
                      </a:cubicBezTo>
                      <a:cubicBezTo>
                        <a:pt x="2006" y="1191"/>
                        <a:pt x="2013" y="1182"/>
                        <a:pt x="2021" y="1187"/>
                      </a:cubicBezTo>
                      <a:cubicBezTo>
                        <a:pt x="2029" y="1192"/>
                        <a:pt x="2034" y="1210"/>
                        <a:pt x="2034" y="1210"/>
                      </a:cubicBezTo>
                      <a:cubicBezTo>
                        <a:pt x="2034" y="1210"/>
                        <a:pt x="2046" y="1210"/>
                        <a:pt x="2046" y="1216"/>
                      </a:cubicBezTo>
                      <a:cubicBezTo>
                        <a:pt x="2046" y="1223"/>
                        <a:pt x="2045" y="1244"/>
                        <a:pt x="2050" y="1244"/>
                      </a:cubicBezTo>
                      <a:cubicBezTo>
                        <a:pt x="2055" y="1244"/>
                        <a:pt x="2083" y="1240"/>
                        <a:pt x="2083" y="1240"/>
                      </a:cubicBezTo>
                      <a:cubicBezTo>
                        <a:pt x="2090" y="1230"/>
                        <a:pt x="2090" y="1230"/>
                        <a:pt x="2090" y="1230"/>
                      </a:cubicBezTo>
                      <a:cubicBezTo>
                        <a:pt x="2109" y="1251"/>
                        <a:pt x="2109" y="1251"/>
                        <a:pt x="2109" y="1251"/>
                      </a:cubicBezTo>
                      <a:cubicBezTo>
                        <a:pt x="2122" y="1243"/>
                        <a:pt x="2122" y="1243"/>
                        <a:pt x="2122" y="1243"/>
                      </a:cubicBezTo>
                      <a:cubicBezTo>
                        <a:pt x="2139" y="1254"/>
                        <a:pt x="2139" y="1254"/>
                        <a:pt x="2139" y="1254"/>
                      </a:cubicBezTo>
                      <a:cubicBezTo>
                        <a:pt x="2139" y="1254"/>
                        <a:pt x="2145" y="1242"/>
                        <a:pt x="2154" y="1251"/>
                      </a:cubicBezTo>
                      <a:cubicBezTo>
                        <a:pt x="2163" y="1260"/>
                        <a:pt x="2142" y="1276"/>
                        <a:pt x="2153" y="1278"/>
                      </a:cubicBezTo>
                      <a:cubicBezTo>
                        <a:pt x="2163" y="1279"/>
                        <a:pt x="2165" y="1266"/>
                        <a:pt x="2171" y="1268"/>
                      </a:cubicBezTo>
                      <a:cubicBezTo>
                        <a:pt x="2178" y="1271"/>
                        <a:pt x="2193" y="1287"/>
                        <a:pt x="2201" y="1280"/>
                      </a:cubicBezTo>
                      <a:cubicBezTo>
                        <a:pt x="2209" y="1274"/>
                        <a:pt x="2201" y="1266"/>
                        <a:pt x="2207" y="1262"/>
                      </a:cubicBezTo>
                      <a:cubicBezTo>
                        <a:pt x="2214" y="1258"/>
                        <a:pt x="2222" y="1256"/>
                        <a:pt x="2222" y="1256"/>
                      </a:cubicBezTo>
                      <a:cubicBezTo>
                        <a:pt x="2231" y="1246"/>
                        <a:pt x="2231" y="1246"/>
                        <a:pt x="2231" y="1246"/>
                      </a:cubicBezTo>
                      <a:cubicBezTo>
                        <a:pt x="2255" y="1238"/>
                        <a:pt x="2255" y="1238"/>
                        <a:pt x="2255" y="1238"/>
                      </a:cubicBezTo>
                      <a:cubicBezTo>
                        <a:pt x="2255" y="1238"/>
                        <a:pt x="2267" y="1216"/>
                        <a:pt x="2275" y="1227"/>
                      </a:cubicBezTo>
                      <a:cubicBezTo>
                        <a:pt x="2283" y="1238"/>
                        <a:pt x="2263" y="1250"/>
                        <a:pt x="2263" y="1250"/>
                      </a:cubicBezTo>
                      <a:cubicBezTo>
                        <a:pt x="2263" y="1250"/>
                        <a:pt x="2331" y="1282"/>
                        <a:pt x="2337" y="1284"/>
                      </a:cubicBezTo>
                      <a:cubicBezTo>
                        <a:pt x="2342" y="1287"/>
                        <a:pt x="2414" y="1354"/>
                        <a:pt x="2429" y="1367"/>
                      </a:cubicBezTo>
                      <a:cubicBezTo>
                        <a:pt x="2443" y="1380"/>
                        <a:pt x="2467" y="1419"/>
                        <a:pt x="2485" y="1416"/>
                      </a:cubicBezTo>
                      <a:cubicBezTo>
                        <a:pt x="2502" y="1414"/>
                        <a:pt x="2498" y="1384"/>
                        <a:pt x="2509" y="1387"/>
                      </a:cubicBezTo>
                      <a:cubicBezTo>
                        <a:pt x="2519" y="1390"/>
                        <a:pt x="2515" y="1406"/>
                        <a:pt x="2519" y="1407"/>
                      </a:cubicBezTo>
                      <a:cubicBezTo>
                        <a:pt x="2523" y="1408"/>
                        <a:pt x="2541" y="1410"/>
                        <a:pt x="2541" y="1410"/>
                      </a:cubicBezTo>
                      <a:cubicBezTo>
                        <a:pt x="2541" y="1410"/>
                        <a:pt x="2555" y="1426"/>
                        <a:pt x="2567" y="1424"/>
                      </a:cubicBezTo>
                      <a:cubicBezTo>
                        <a:pt x="2579" y="1423"/>
                        <a:pt x="2595" y="1402"/>
                        <a:pt x="2618" y="1406"/>
                      </a:cubicBezTo>
                      <a:cubicBezTo>
                        <a:pt x="2641" y="1410"/>
                        <a:pt x="2662" y="1439"/>
                        <a:pt x="2662" y="1439"/>
                      </a:cubicBezTo>
                      <a:cubicBezTo>
                        <a:pt x="2662" y="1439"/>
                        <a:pt x="2697" y="1444"/>
                        <a:pt x="2698" y="1448"/>
                      </a:cubicBezTo>
                      <a:cubicBezTo>
                        <a:pt x="2699" y="1452"/>
                        <a:pt x="2715" y="1480"/>
                        <a:pt x="2715" y="1480"/>
                      </a:cubicBezTo>
                      <a:cubicBezTo>
                        <a:pt x="2762" y="1484"/>
                        <a:pt x="2762" y="1484"/>
                        <a:pt x="2762" y="1484"/>
                      </a:cubicBezTo>
                      <a:cubicBezTo>
                        <a:pt x="2773" y="1462"/>
                        <a:pt x="2773" y="1462"/>
                        <a:pt x="2773" y="1462"/>
                      </a:cubicBezTo>
                      <a:cubicBezTo>
                        <a:pt x="2786" y="1478"/>
                        <a:pt x="2786" y="1478"/>
                        <a:pt x="2786" y="1478"/>
                      </a:cubicBezTo>
                      <a:cubicBezTo>
                        <a:pt x="2810" y="1504"/>
                        <a:pt x="2810" y="1504"/>
                        <a:pt x="2810" y="1504"/>
                      </a:cubicBezTo>
                      <a:cubicBezTo>
                        <a:pt x="2815" y="1505"/>
                        <a:pt x="2819" y="1506"/>
                        <a:pt x="2819" y="1506"/>
                      </a:cubicBezTo>
                      <a:cubicBezTo>
                        <a:pt x="2819" y="1506"/>
                        <a:pt x="2832" y="1499"/>
                        <a:pt x="2840" y="1503"/>
                      </a:cubicBezTo>
                      <a:cubicBezTo>
                        <a:pt x="2847" y="1496"/>
                        <a:pt x="2847" y="1496"/>
                        <a:pt x="2847" y="1496"/>
                      </a:cubicBezTo>
                      <a:cubicBezTo>
                        <a:pt x="2846" y="1484"/>
                        <a:pt x="2846" y="1484"/>
                        <a:pt x="2846" y="1484"/>
                      </a:cubicBezTo>
                      <a:cubicBezTo>
                        <a:pt x="2887" y="1484"/>
                        <a:pt x="2887" y="1484"/>
                        <a:pt x="2887" y="1484"/>
                      </a:cubicBezTo>
                      <a:cubicBezTo>
                        <a:pt x="2885" y="1475"/>
                        <a:pt x="2885" y="1475"/>
                        <a:pt x="2885" y="1475"/>
                      </a:cubicBezTo>
                      <a:cubicBezTo>
                        <a:pt x="2901" y="1475"/>
                        <a:pt x="2901" y="1475"/>
                        <a:pt x="2901" y="1475"/>
                      </a:cubicBezTo>
                      <a:cubicBezTo>
                        <a:pt x="2901" y="1475"/>
                        <a:pt x="2892" y="1473"/>
                        <a:pt x="2901" y="1463"/>
                      </a:cubicBezTo>
                      <a:cubicBezTo>
                        <a:pt x="2910" y="1453"/>
                        <a:pt x="2921" y="1445"/>
                        <a:pt x="2921" y="1445"/>
                      </a:cubicBezTo>
                      <a:cubicBezTo>
                        <a:pt x="2930" y="1446"/>
                        <a:pt x="2930" y="1446"/>
                        <a:pt x="2930" y="1446"/>
                      </a:cubicBezTo>
                      <a:cubicBezTo>
                        <a:pt x="2941" y="1433"/>
                        <a:pt x="2941" y="1433"/>
                        <a:pt x="2941" y="1433"/>
                      </a:cubicBezTo>
                      <a:cubicBezTo>
                        <a:pt x="2957" y="1433"/>
                        <a:pt x="2957" y="1433"/>
                        <a:pt x="2957" y="1433"/>
                      </a:cubicBezTo>
                      <a:cubicBezTo>
                        <a:pt x="2957" y="1433"/>
                        <a:pt x="2958" y="1416"/>
                        <a:pt x="2965" y="1416"/>
                      </a:cubicBezTo>
                      <a:cubicBezTo>
                        <a:pt x="2972" y="1416"/>
                        <a:pt x="2981" y="1422"/>
                        <a:pt x="2981" y="1422"/>
                      </a:cubicBezTo>
                      <a:cubicBezTo>
                        <a:pt x="2993" y="1415"/>
                        <a:pt x="2993" y="1415"/>
                        <a:pt x="2993" y="1415"/>
                      </a:cubicBezTo>
                      <a:cubicBezTo>
                        <a:pt x="2993" y="1415"/>
                        <a:pt x="2993" y="1420"/>
                        <a:pt x="2996" y="1420"/>
                      </a:cubicBezTo>
                      <a:cubicBezTo>
                        <a:pt x="2999" y="1420"/>
                        <a:pt x="3015" y="1420"/>
                        <a:pt x="3015" y="1420"/>
                      </a:cubicBezTo>
                      <a:cubicBezTo>
                        <a:pt x="3020" y="1431"/>
                        <a:pt x="3020" y="1431"/>
                        <a:pt x="3020" y="1431"/>
                      </a:cubicBezTo>
                      <a:cubicBezTo>
                        <a:pt x="3020" y="1431"/>
                        <a:pt x="3064" y="1427"/>
                        <a:pt x="3071" y="1427"/>
                      </a:cubicBezTo>
                      <a:cubicBezTo>
                        <a:pt x="3078" y="1427"/>
                        <a:pt x="3076" y="1440"/>
                        <a:pt x="3085" y="1447"/>
                      </a:cubicBezTo>
                      <a:cubicBezTo>
                        <a:pt x="3094" y="1454"/>
                        <a:pt x="3116" y="1452"/>
                        <a:pt x="3116" y="1452"/>
                      </a:cubicBezTo>
                      <a:cubicBezTo>
                        <a:pt x="3118" y="1461"/>
                        <a:pt x="3118" y="1461"/>
                        <a:pt x="3118" y="1461"/>
                      </a:cubicBezTo>
                      <a:cubicBezTo>
                        <a:pt x="3137" y="1458"/>
                        <a:pt x="3137" y="1458"/>
                        <a:pt x="3137" y="1458"/>
                      </a:cubicBezTo>
                      <a:cubicBezTo>
                        <a:pt x="3139" y="1463"/>
                        <a:pt x="3139" y="1463"/>
                        <a:pt x="3139" y="1463"/>
                      </a:cubicBezTo>
                      <a:cubicBezTo>
                        <a:pt x="3139" y="1463"/>
                        <a:pt x="3141" y="1457"/>
                        <a:pt x="3152" y="1456"/>
                      </a:cubicBezTo>
                      <a:cubicBezTo>
                        <a:pt x="3163" y="1455"/>
                        <a:pt x="3172" y="1456"/>
                        <a:pt x="3172" y="1456"/>
                      </a:cubicBezTo>
                      <a:cubicBezTo>
                        <a:pt x="3173" y="1464"/>
                        <a:pt x="3173" y="1464"/>
                        <a:pt x="3173" y="1464"/>
                      </a:cubicBezTo>
                      <a:cubicBezTo>
                        <a:pt x="3203" y="1462"/>
                        <a:pt x="3203" y="1462"/>
                        <a:pt x="3203" y="1462"/>
                      </a:cubicBezTo>
                      <a:cubicBezTo>
                        <a:pt x="3203" y="1462"/>
                        <a:pt x="3197" y="1478"/>
                        <a:pt x="3214" y="1470"/>
                      </a:cubicBezTo>
                      <a:cubicBezTo>
                        <a:pt x="3231" y="1462"/>
                        <a:pt x="3229" y="1455"/>
                        <a:pt x="3229" y="1455"/>
                      </a:cubicBezTo>
                      <a:cubicBezTo>
                        <a:pt x="3229" y="1455"/>
                        <a:pt x="3241" y="1465"/>
                        <a:pt x="3241" y="1447"/>
                      </a:cubicBezTo>
                      <a:cubicBezTo>
                        <a:pt x="3241" y="1429"/>
                        <a:pt x="3226" y="1429"/>
                        <a:pt x="3226" y="1429"/>
                      </a:cubicBezTo>
                      <a:cubicBezTo>
                        <a:pt x="3210" y="1405"/>
                        <a:pt x="3210" y="1405"/>
                        <a:pt x="3210" y="1405"/>
                      </a:cubicBezTo>
                      <a:cubicBezTo>
                        <a:pt x="3206" y="1391"/>
                        <a:pt x="3206" y="1391"/>
                        <a:pt x="3206" y="1391"/>
                      </a:cubicBezTo>
                      <a:cubicBezTo>
                        <a:pt x="3206" y="1391"/>
                        <a:pt x="3200" y="1388"/>
                        <a:pt x="3200" y="1382"/>
                      </a:cubicBezTo>
                      <a:cubicBezTo>
                        <a:pt x="3200" y="1376"/>
                        <a:pt x="3211" y="1378"/>
                        <a:pt x="3211" y="1378"/>
                      </a:cubicBezTo>
                      <a:cubicBezTo>
                        <a:pt x="3209" y="1367"/>
                        <a:pt x="3209" y="1367"/>
                        <a:pt x="3209" y="1367"/>
                      </a:cubicBezTo>
                      <a:cubicBezTo>
                        <a:pt x="3209" y="1367"/>
                        <a:pt x="3213" y="1369"/>
                        <a:pt x="3218" y="1363"/>
                      </a:cubicBezTo>
                      <a:cubicBezTo>
                        <a:pt x="3223" y="1357"/>
                        <a:pt x="3222" y="1345"/>
                        <a:pt x="3222" y="1345"/>
                      </a:cubicBezTo>
                      <a:cubicBezTo>
                        <a:pt x="3231" y="1347"/>
                        <a:pt x="3231" y="1347"/>
                        <a:pt x="3231" y="1347"/>
                      </a:cubicBezTo>
                      <a:cubicBezTo>
                        <a:pt x="3231" y="1347"/>
                        <a:pt x="3254" y="1364"/>
                        <a:pt x="3272" y="1366"/>
                      </a:cubicBezTo>
                      <a:cubicBezTo>
                        <a:pt x="3290" y="1368"/>
                        <a:pt x="3310" y="1367"/>
                        <a:pt x="3310" y="1367"/>
                      </a:cubicBezTo>
                      <a:cubicBezTo>
                        <a:pt x="3310" y="1367"/>
                        <a:pt x="3329" y="1381"/>
                        <a:pt x="3339" y="1383"/>
                      </a:cubicBezTo>
                      <a:cubicBezTo>
                        <a:pt x="3349" y="1385"/>
                        <a:pt x="3361" y="1372"/>
                        <a:pt x="3370" y="1383"/>
                      </a:cubicBezTo>
                      <a:cubicBezTo>
                        <a:pt x="3379" y="1394"/>
                        <a:pt x="3401" y="1428"/>
                        <a:pt x="3401" y="1428"/>
                      </a:cubicBezTo>
                      <a:cubicBezTo>
                        <a:pt x="3416" y="1425"/>
                        <a:pt x="3416" y="1425"/>
                        <a:pt x="3416" y="1425"/>
                      </a:cubicBezTo>
                      <a:cubicBezTo>
                        <a:pt x="3416" y="1425"/>
                        <a:pt x="3418" y="1441"/>
                        <a:pt x="3428" y="1441"/>
                      </a:cubicBezTo>
                      <a:cubicBezTo>
                        <a:pt x="3438" y="1441"/>
                        <a:pt x="3445" y="1440"/>
                        <a:pt x="3445" y="1440"/>
                      </a:cubicBezTo>
                      <a:cubicBezTo>
                        <a:pt x="3445" y="1440"/>
                        <a:pt x="3462" y="1450"/>
                        <a:pt x="3475" y="1449"/>
                      </a:cubicBezTo>
                      <a:cubicBezTo>
                        <a:pt x="3488" y="1448"/>
                        <a:pt x="3506" y="1430"/>
                        <a:pt x="3535" y="1432"/>
                      </a:cubicBezTo>
                      <a:cubicBezTo>
                        <a:pt x="3564" y="1434"/>
                        <a:pt x="3566" y="1442"/>
                        <a:pt x="3566" y="1442"/>
                      </a:cubicBezTo>
                      <a:cubicBezTo>
                        <a:pt x="3593" y="1439"/>
                        <a:pt x="3593" y="1439"/>
                        <a:pt x="3593" y="1439"/>
                      </a:cubicBezTo>
                      <a:cubicBezTo>
                        <a:pt x="3593" y="1439"/>
                        <a:pt x="3604" y="1458"/>
                        <a:pt x="3616" y="1458"/>
                      </a:cubicBezTo>
                      <a:cubicBezTo>
                        <a:pt x="3628" y="1458"/>
                        <a:pt x="3647" y="1458"/>
                        <a:pt x="3650" y="1459"/>
                      </a:cubicBezTo>
                      <a:cubicBezTo>
                        <a:pt x="3653" y="1460"/>
                        <a:pt x="3661" y="1479"/>
                        <a:pt x="3664" y="1478"/>
                      </a:cubicBezTo>
                      <a:cubicBezTo>
                        <a:pt x="3667" y="1477"/>
                        <a:pt x="3678" y="1480"/>
                        <a:pt x="3678" y="1480"/>
                      </a:cubicBezTo>
                      <a:cubicBezTo>
                        <a:pt x="3678" y="1480"/>
                        <a:pt x="3673" y="1491"/>
                        <a:pt x="3693" y="1493"/>
                      </a:cubicBezTo>
                      <a:cubicBezTo>
                        <a:pt x="3713" y="1495"/>
                        <a:pt x="3723" y="1492"/>
                        <a:pt x="3723" y="1492"/>
                      </a:cubicBezTo>
                      <a:cubicBezTo>
                        <a:pt x="3723" y="1492"/>
                        <a:pt x="3730" y="1495"/>
                        <a:pt x="3733" y="1498"/>
                      </a:cubicBezTo>
                      <a:cubicBezTo>
                        <a:pt x="3736" y="1501"/>
                        <a:pt x="3760" y="1501"/>
                        <a:pt x="3760" y="1501"/>
                      </a:cubicBezTo>
                      <a:cubicBezTo>
                        <a:pt x="3760" y="1501"/>
                        <a:pt x="3772" y="1494"/>
                        <a:pt x="3776" y="1496"/>
                      </a:cubicBezTo>
                      <a:cubicBezTo>
                        <a:pt x="3780" y="1498"/>
                        <a:pt x="3788" y="1507"/>
                        <a:pt x="3793" y="1501"/>
                      </a:cubicBezTo>
                      <a:cubicBezTo>
                        <a:pt x="3798" y="1495"/>
                        <a:pt x="3796" y="1490"/>
                        <a:pt x="3805" y="1488"/>
                      </a:cubicBezTo>
                      <a:cubicBezTo>
                        <a:pt x="3814" y="1486"/>
                        <a:pt x="3831" y="1487"/>
                        <a:pt x="3831" y="1487"/>
                      </a:cubicBezTo>
                      <a:cubicBezTo>
                        <a:pt x="3841" y="1482"/>
                        <a:pt x="3841" y="1482"/>
                        <a:pt x="3841" y="1482"/>
                      </a:cubicBezTo>
                      <a:cubicBezTo>
                        <a:pt x="3841" y="1482"/>
                        <a:pt x="3853" y="1485"/>
                        <a:pt x="3863" y="1481"/>
                      </a:cubicBezTo>
                      <a:cubicBezTo>
                        <a:pt x="3873" y="1477"/>
                        <a:pt x="3870" y="1466"/>
                        <a:pt x="3870" y="1466"/>
                      </a:cubicBezTo>
                      <a:cubicBezTo>
                        <a:pt x="3893" y="1443"/>
                        <a:pt x="3893" y="1443"/>
                        <a:pt x="3893" y="1443"/>
                      </a:cubicBezTo>
                      <a:cubicBezTo>
                        <a:pt x="3893" y="1443"/>
                        <a:pt x="3920" y="1447"/>
                        <a:pt x="3929" y="1447"/>
                      </a:cubicBezTo>
                      <a:cubicBezTo>
                        <a:pt x="3938" y="1447"/>
                        <a:pt x="3948" y="1463"/>
                        <a:pt x="3962" y="1463"/>
                      </a:cubicBezTo>
                      <a:cubicBezTo>
                        <a:pt x="3976" y="1463"/>
                        <a:pt x="3982" y="1456"/>
                        <a:pt x="3982" y="1456"/>
                      </a:cubicBezTo>
                      <a:cubicBezTo>
                        <a:pt x="4000" y="1459"/>
                        <a:pt x="4000" y="1459"/>
                        <a:pt x="4000" y="1459"/>
                      </a:cubicBezTo>
                      <a:cubicBezTo>
                        <a:pt x="4011" y="1462"/>
                        <a:pt x="4011" y="1462"/>
                        <a:pt x="4011" y="1462"/>
                      </a:cubicBezTo>
                      <a:cubicBezTo>
                        <a:pt x="4034" y="1476"/>
                        <a:pt x="4034" y="1476"/>
                        <a:pt x="4034" y="1476"/>
                      </a:cubicBezTo>
                      <a:cubicBezTo>
                        <a:pt x="4058" y="1477"/>
                        <a:pt x="4058" y="1477"/>
                        <a:pt x="4058" y="1477"/>
                      </a:cubicBezTo>
                      <a:cubicBezTo>
                        <a:pt x="4058" y="1477"/>
                        <a:pt x="4061" y="1482"/>
                        <a:pt x="4071" y="1482"/>
                      </a:cubicBezTo>
                      <a:cubicBezTo>
                        <a:pt x="4081" y="1482"/>
                        <a:pt x="4085" y="1460"/>
                        <a:pt x="4085" y="1460"/>
                      </a:cubicBezTo>
                      <a:cubicBezTo>
                        <a:pt x="4085" y="1460"/>
                        <a:pt x="4096" y="1465"/>
                        <a:pt x="4109" y="1457"/>
                      </a:cubicBezTo>
                      <a:cubicBezTo>
                        <a:pt x="4122" y="1449"/>
                        <a:pt x="4098" y="1439"/>
                        <a:pt x="4098" y="1439"/>
                      </a:cubicBezTo>
                      <a:cubicBezTo>
                        <a:pt x="4097" y="1414"/>
                        <a:pt x="4097" y="1414"/>
                        <a:pt x="4097" y="1414"/>
                      </a:cubicBezTo>
                      <a:cubicBezTo>
                        <a:pt x="4097" y="1395"/>
                        <a:pt x="4097" y="1395"/>
                        <a:pt x="4097" y="1395"/>
                      </a:cubicBezTo>
                      <a:cubicBezTo>
                        <a:pt x="4097" y="1395"/>
                        <a:pt x="4092" y="1377"/>
                        <a:pt x="4094" y="1368"/>
                      </a:cubicBezTo>
                      <a:cubicBezTo>
                        <a:pt x="4096" y="1359"/>
                        <a:pt x="4108" y="1354"/>
                        <a:pt x="4109" y="1348"/>
                      </a:cubicBezTo>
                      <a:cubicBezTo>
                        <a:pt x="4110" y="1342"/>
                        <a:pt x="4083" y="1327"/>
                        <a:pt x="4083" y="1327"/>
                      </a:cubicBezTo>
                      <a:cubicBezTo>
                        <a:pt x="4083" y="1327"/>
                        <a:pt x="4071" y="1325"/>
                        <a:pt x="4056" y="1322"/>
                      </a:cubicBezTo>
                      <a:cubicBezTo>
                        <a:pt x="4041" y="1319"/>
                        <a:pt x="4063" y="1304"/>
                        <a:pt x="4063" y="1304"/>
                      </a:cubicBezTo>
                      <a:cubicBezTo>
                        <a:pt x="4083" y="1284"/>
                        <a:pt x="4083" y="1284"/>
                        <a:pt x="4083" y="1284"/>
                      </a:cubicBezTo>
                      <a:cubicBezTo>
                        <a:pt x="4107" y="1281"/>
                        <a:pt x="4107" y="1281"/>
                        <a:pt x="4107" y="1281"/>
                      </a:cubicBezTo>
                      <a:cubicBezTo>
                        <a:pt x="4111" y="1273"/>
                        <a:pt x="4111" y="1273"/>
                        <a:pt x="4111" y="1273"/>
                      </a:cubicBezTo>
                      <a:cubicBezTo>
                        <a:pt x="4139" y="1275"/>
                        <a:pt x="4139" y="1275"/>
                        <a:pt x="4139" y="1275"/>
                      </a:cubicBezTo>
                      <a:cubicBezTo>
                        <a:pt x="4174" y="1268"/>
                        <a:pt x="4174" y="1268"/>
                        <a:pt x="4174" y="1268"/>
                      </a:cubicBezTo>
                      <a:cubicBezTo>
                        <a:pt x="4199" y="1281"/>
                        <a:pt x="4199" y="1281"/>
                        <a:pt x="4199" y="1281"/>
                      </a:cubicBezTo>
                      <a:cubicBezTo>
                        <a:pt x="4225" y="1298"/>
                        <a:pt x="4225" y="1298"/>
                        <a:pt x="4225" y="1298"/>
                      </a:cubicBezTo>
                      <a:cubicBezTo>
                        <a:pt x="4240" y="1295"/>
                        <a:pt x="4240" y="1295"/>
                        <a:pt x="4240" y="1295"/>
                      </a:cubicBezTo>
                      <a:cubicBezTo>
                        <a:pt x="4240" y="1295"/>
                        <a:pt x="4259" y="1296"/>
                        <a:pt x="4266" y="1297"/>
                      </a:cubicBezTo>
                      <a:cubicBezTo>
                        <a:pt x="4273" y="1298"/>
                        <a:pt x="4294" y="1312"/>
                        <a:pt x="4294" y="1312"/>
                      </a:cubicBezTo>
                      <a:cubicBezTo>
                        <a:pt x="4296" y="1321"/>
                        <a:pt x="4296" y="1321"/>
                        <a:pt x="4296" y="1321"/>
                      </a:cubicBezTo>
                      <a:cubicBezTo>
                        <a:pt x="4296" y="1321"/>
                        <a:pt x="4314" y="1331"/>
                        <a:pt x="4319" y="1335"/>
                      </a:cubicBezTo>
                      <a:cubicBezTo>
                        <a:pt x="4324" y="1339"/>
                        <a:pt x="4339" y="1344"/>
                        <a:pt x="4339" y="1344"/>
                      </a:cubicBezTo>
                      <a:cubicBezTo>
                        <a:pt x="4342" y="1363"/>
                        <a:pt x="4342" y="1363"/>
                        <a:pt x="4342" y="1363"/>
                      </a:cubicBezTo>
                      <a:cubicBezTo>
                        <a:pt x="4374" y="1380"/>
                        <a:pt x="4374" y="1380"/>
                        <a:pt x="4374" y="1380"/>
                      </a:cubicBezTo>
                      <a:cubicBezTo>
                        <a:pt x="4385" y="1402"/>
                        <a:pt x="4385" y="1402"/>
                        <a:pt x="4385" y="1402"/>
                      </a:cubicBezTo>
                      <a:cubicBezTo>
                        <a:pt x="4385" y="1402"/>
                        <a:pt x="4406" y="1404"/>
                        <a:pt x="4416" y="1413"/>
                      </a:cubicBezTo>
                      <a:cubicBezTo>
                        <a:pt x="4426" y="1422"/>
                        <a:pt x="4444" y="1446"/>
                        <a:pt x="4444" y="1446"/>
                      </a:cubicBezTo>
                      <a:cubicBezTo>
                        <a:pt x="4451" y="1446"/>
                        <a:pt x="4451" y="1446"/>
                        <a:pt x="4451" y="1446"/>
                      </a:cubicBezTo>
                      <a:cubicBezTo>
                        <a:pt x="4455" y="1462"/>
                        <a:pt x="4455" y="1462"/>
                        <a:pt x="4455" y="1462"/>
                      </a:cubicBezTo>
                      <a:cubicBezTo>
                        <a:pt x="4455" y="1462"/>
                        <a:pt x="4474" y="1472"/>
                        <a:pt x="4482" y="1477"/>
                      </a:cubicBezTo>
                      <a:cubicBezTo>
                        <a:pt x="4490" y="1482"/>
                        <a:pt x="4507" y="1481"/>
                        <a:pt x="4517" y="1479"/>
                      </a:cubicBezTo>
                      <a:cubicBezTo>
                        <a:pt x="4527" y="1477"/>
                        <a:pt x="4543" y="1493"/>
                        <a:pt x="4543" y="1493"/>
                      </a:cubicBezTo>
                      <a:cubicBezTo>
                        <a:pt x="4543" y="1493"/>
                        <a:pt x="4551" y="1486"/>
                        <a:pt x="4555" y="1486"/>
                      </a:cubicBezTo>
                      <a:cubicBezTo>
                        <a:pt x="4559" y="1486"/>
                        <a:pt x="4597" y="1514"/>
                        <a:pt x="4597" y="1514"/>
                      </a:cubicBezTo>
                      <a:cubicBezTo>
                        <a:pt x="4621" y="1514"/>
                        <a:pt x="4621" y="1514"/>
                        <a:pt x="4621" y="1514"/>
                      </a:cubicBezTo>
                      <a:cubicBezTo>
                        <a:pt x="4630" y="1533"/>
                        <a:pt x="4630" y="1533"/>
                        <a:pt x="4630" y="1533"/>
                      </a:cubicBezTo>
                      <a:cubicBezTo>
                        <a:pt x="4630" y="1533"/>
                        <a:pt x="4646" y="1534"/>
                        <a:pt x="4649" y="1541"/>
                      </a:cubicBezTo>
                      <a:cubicBezTo>
                        <a:pt x="4652" y="1548"/>
                        <a:pt x="4653" y="1556"/>
                        <a:pt x="4653" y="1556"/>
                      </a:cubicBezTo>
                      <a:cubicBezTo>
                        <a:pt x="4678" y="1576"/>
                        <a:pt x="4678" y="1576"/>
                        <a:pt x="4678" y="1576"/>
                      </a:cubicBezTo>
                      <a:cubicBezTo>
                        <a:pt x="4695" y="1572"/>
                        <a:pt x="4695" y="1572"/>
                        <a:pt x="4695" y="1572"/>
                      </a:cubicBezTo>
                      <a:cubicBezTo>
                        <a:pt x="4703" y="1582"/>
                        <a:pt x="4703" y="1582"/>
                        <a:pt x="4703" y="1582"/>
                      </a:cubicBezTo>
                      <a:cubicBezTo>
                        <a:pt x="4716" y="1581"/>
                        <a:pt x="4716" y="1581"/>
                        <a:pt x="4716" y="1581"/>
                      </a:cubicBezTo>
                      <a:cubicBezTo>
                        <a:pt x="4716" y="1574"/>
                        <a:pt x="4716" y="1574"/>
                        <a:pt x="4716" y="1574"/>
                      </a:cubicBezTo>
                      <a:cubicBezTo>
                        <a:pt x="4735" y="1576"/>
                        <a:pt x="4735" y="1576"/>
                        <a:pt x="4735" y="1576"/>
                      </a:cubicBezTo>
                      <a:cubicBezTo>
                        <a:pt x="4735" y="1576"/>
                        <a:pt x="4736" y="1565"/>
                        <a:pt x="4739" y="1560"/>
                      </a:cubicBezTo>
                      <a:cubicBezTo>
                        <a:pt x="4742" y="1555"/>
                        <a:pt x="4770" y="1556"/>
                        <a:pt x="4770" y="1556"/>
                      </a:cubicBezTo>
                      <a:cubicBezTo>
                        <a:pt x="4775" y="1542"/>
                        <a:pt x="4775" y="1542"/>
                        <a:pt x="4775" y="1542"/>
                      </a:cubicBezTo>
                      <a:cubicBezTo>
                        <a:pt x="4775" y="1542"/>
                        <a:pt x="4800" y="1536"/>
                        <a:pt x="4810" y="1544"/>
                      </a:cubicBezTo>
                      <a:cubicBezTo>
                        <a:pt x="4820" y="1552"/>
                        <a:pt x="4814" y="1565"/>
                        <a:pt x="4814" y="1565"/>
                      </a:cubicBezTo>
                      <a:cubicBezTo>
                        <a:pt x="4832" y="1573"/>
                        <a:pt x="4832" y="1573"/>
                        <a:pt x="4832" y="1573"/>
                      </a:cubicBezTo>
                      <a:cubicBezTo>
                        <a:pt x="4832" y="1593"/>
                        <a:pt x="4832" y="1593"/>
                        <a:pt x="4832" y="1593"/>
                      </a:cubicBezTo>
                      <a:cubicBezTo>
                        <a:pt x="4820" y="1598"/>
                        <a:pt x="4820" y="1598"/>
                        <a:pt x="4820" y="1598"/>
                      </a:cubicBezTo>
                      <a:cubicBezTo>
                        <a:pt x="4828" y="1608"/>
                        <a:pt x="4828" y="1608"/>
                        <a:pt x="4828" y="1608"/>
                      </a:cubicBezTo>
                      <a:cubicBezTo>
                        <a:pt x="4828" y="1620"/>
                        <a:pt x="4828" y="1620"/>
                        <a:pt x="4828" y="1620"/>
                      </a:cubicBezTo>
                      <a:cubicBezTo>
                        <a:pt x="4835" y="1630"/>
                        <a:pt x="4835" y="1630"/>
                        <a:pt x="4835" y="1630"/>
                      </a:cubicBezTo>
                      <a:cubicBezTo>
                        <a:pt x="4835" y="1643"/>
                        <a:pt x="4835" y="1643"/>
                        <a:pt x="4835" y="1643"/>
                      </a:cubicBezTo>
                      <a:cubicBezTo>
                        <a:pt x="4846" y="1650"/>
                        <a:pt x="4846" y="1650"/>
                        <a:pt x="4846" y="1650"/>
                      </a:cubicBezTo>
                      <a:cubicBezTo>
                        <a:pt x="4843" y="1667"/>
                        <a:pt x="4843" y="1667"/>
                        <a:pt x="4843" y="1667"/>
                      </a:cubicBezTo>
                      <a:cubicBezTo>
                        <a:pt x="4846" y="1684"/>
                        <a:pt x="4846" y="1684"/>
                        <a:pt x="4846" y="1684"/>
                      </a:cubicBezTo>
                      <a:cubicBezTo>
                        <a:pt x="4846" y="1684"/>
                        <a:pt x="4834" y="1688"/>
                        <a:pt x="4839" y="1700"/>
                      </a:cubicBezTo>
                      <a:cubicBezTo>
                        <a:pt x="4844" y="1712"/>
                        <a:pt x="4846" y="1713"/>
                        <a:pt x="4839" y="1719"/>
                      </a:cubicBezTo>
                      <a:cubicBezTo>
                        <a:pt x="4832" y="1725"/>
                        <a:pt x="4796" y="1702"/>
                        <a:pt x="4785" y="1707"/>
                      </a:cubicBezTo>
                      <a:cubicBezTo>
                        <a:pt x="4774" y="1712"/>
                        <a:pt x="4786" y="1718"/>
                        <a:pt x="4784" y="1723"/>
                      </a:cubicBezTo>
                      <a:cubicBezTo>
                        <a:pt x="4782" y="1728"/>
                        <a:pt x="4769" y="1719"/>
                        <a:pt x="4766" y="1729"/>
                      </a:cubicBezTo>
                      <a:cubicBezTo>
                        <a:pt x="4763" y="1739"/>
                        <a:pt x="4778" y="1740"/>
                        <a:pt x="4792" y="1753"/>
                      </a:cubicBezTo>
                      <a:cubicBezTo>
                        <a:pt x="4806" y="1766"/>
                        <a:pt x="4810" y="1785"/>
                        <a:pt x="4812" y="1791"/>
                      </a:cubicBezTo>
                      <a:cubicBezTo>
                        <a:pt x="4814" y="1797"/>
                        <a:pt x="4825" y="1808"/>
                        <a:pt x="4825" y="1808"/>
                      </a:cubicBezTo>
                      <a:cubicBezTo>
                        <a:pt x="4826" y="1831"/>
                        <a:pt x="4826" y="1831"/>
                        <a:pt x="4826" y="1831"/>
                      </a:cubicBezTo>
                      <a:cubicBezTo>
                        <a:pt x="4809" y="1827"/>
                        <a:pt x="4809" y="1827"/>
                        <a:pt x="4809" y="1827"/>
                      </a:cubicBezTo>
                      <a:cubicBezTo>
                        <a:pt x="4802" y="1845"/>
                        <a:pt x="4802" y="1845"/>
                        <a:pt x="4802" y="1845"/>
                      </a:cubicBezTo>
                      <a:cubicBezTo>
                        <a:pt x="4821" y="1851"/>
                        <a:pt x="4821" y="1851"/>
                        <a:pt x="4821" y="1851"/>
                      </a:cubicBezTo>
                      <a:cubicBezTo>
                        <a:pt x="4844" y="1852"/>
                        <a:pt x="4844" y="1852"/>
                        <a:pt x="4844" y="1852"/>
                      </a:cubicBezTo>
                      <a:cubicBezTo>
                        <a:pt x="4844" y="1852"/>
                        <a:pt x="4838" y="1811"/>
                        <a:pt x="4847" y="1807"/>
                      </a:cubicBezTo>
                      <a:cubicBezTo>
                        <a:pt x="4856" y="1803"/>
                        <a:pt x="4863" y="1816"/>
                        <a:pt x="4863" y="1816"/>
                      </a:cubicBezTo>
                      <a:cubicBezTo>
                        <a:pt x="4872" y="1808"/>
                        <a:pt x="4872" y="1808"/>
                        <a:pt x="4872" y="1808"/>
                      </a:cubicBezTo>
                      <a:cubicBezTo>
                        <a:pt x="4872" y="1808"/>
                        <a:pt x="4888" y="1840"/>
                        <a:pt x="4896" y="1838"/>
                      </a:cubicBezTo>
                      <a:cubicBezTo>
                        <a:pt x="4904" y="1836"/>
                        <a:pt x="4923" y="1830"/>
                        <a:pt x="4923" y="1830"/>
                      </a:cubicBezTo>
                      <a:cubicBezTo>
                        <a:pt x="4923" y="1842"/>
                        <a:pt x="4923" y="1842"/>
                        <a:pt x="4923" y="1842"/>
                      </a:cubicBezTo>
                      <a:cubicBezTo>
                        <a:pt x="4923" y="1842"/>
                        <a:pt x="4978" y="1822"/>
                        <a:pt x="4980" y="1802"/>
                      </a:cubicBezTo>
                      <a:cubicBezTo>
                        <a:pt x="4982" y="1782"/>
                        <a:pt x="4985" y="1754"/>
                        <a:pt x="4985" y="1754"/>
                      </a:cubicBezTo>
                      <a:cubicBezTo>
                        <a:pt x="4999" y="1747"/>
                        <a:pt x="4999" y="1747"/>
                        <a:pt x="4999" y="1747"/>
                      </a:cubicBezTo>
                      <a:cubicBezTo>
                        <a:pt x="4999" y="1747"/>
                        <a:pt x="4997" y="1704"/>
                        <a:pt x="5006" y="1697"/>
                      </a:cubicBezTo>
                      <a:cubicBezTo>
                        <a:pt x="5015" y="1690"/>
                        <a:pt x="5017" y="1666"/>
                        <a:pt x="5019" y="1650"/>
                      </a:cubicBezTo>
                      <a:cubicBezTo>
                        <a:pt x="5021" y="1634"/>
                        <a:pt x="5010" y="1607"/>
                        <a:pt x="5010" y="1607"/>
                      </a:cubicBezTo>
                      <a:cubicBezTo>
                        <a:pt x="5010" y="1607"/>
                        <a:pt x="5024" y="1585"/>
                        <a:pt x="5024" y="1580"/>
                      </a:cubicBezTo>
                      <a:cubicBezTo>
                        <a:pt x="5024" y="1575"/>
                        <a:pt x="5016" y="1565"/>
                        <a:pt x="5016" y="1565"/>
                      </a:cubicBezTo>
                      <a:cubicBezTo>
                        <a:pt x="5016" y="1565"/>
                        <a:pt x="5033" y="1541"/>
                        <a:pt x="5029" y="1532"/>
                      </a:cubicBezTo>
                      <a:cubicBezTo>
                        <a:pt x="5025" y="1523"/>
                        <a:pt x="5013" y="1496"/>
                        <a:pt x="5013" y="1496"/>
                      </a:cubicBezTo>
                      <a:cubicBezTo>
                        <a:pt x="5013" y="1496"/>
                        <a:pt x="5005" y="1468"/>
                        <a:pt x="4998" y="1465"/>
                      </a:cubicBezTo>
                      <a:cubicBezTo>
                        <a:pt x="4991" y="1462"/>
                        <a:pt x="4986" y="1458"/>
                        <a:pt x="4986" y="1458"/>
                      </a:cubicBezTo>
                      <a:cubicBezTo>
                        <a:pt x="4990" y="1451"/>
                        <a:pt x="4990" y="1451"/>
                        <a:pt x="4990" y="1451"/>
                      </a:cubicBezTo>
                      <a:cubicBezTo>
                        <a:pt x="4990" y="1451"/>
                        <a:pt x="4971" y="1443"/>
                        <a:pt x="4965" y="1428"/>
                      </a:cubicBezTo>
                      <a:cubicBezTo>
                        <a:pt x="4959" y="1413"/>
                        <a:pt x="4957" y="1401"/>
                        <a:pt x="4957" y="1401"/>
                      </a:cubicBezTo>
                      <a:cubicBezTo>
                        <a:pt x="4948" y="1395"/>
                        <a:pt x="4948" y="1395"/>
                        <a:pt x="4948" y="1395"/>
                      </a:cubicBezTo>
                      <a:cubicBezTo>
                        <a:pt x="4948" y="1395"/>
                        <a:pt x="4955" y="1365"/>
                        <a:pt x="4948" y="1356"/>
                      </a:cubicBezTo>
                      <a:cubicBezTo>
                        <a:pt x="4941" y="1347"/>
                        <a:pt x="4936" y="1340"/>
                        <a:pt x="4936" y="1340"/>
                      </a:cubicBezTo>
                      <a:cubicBezTo>
                        <a:pt x="4924" y="1336"/>
                        <a:pt x="4924" y="1336"/>
                        <a:pt x="4924" y="1336"/>
                      </a:cubicBezTo>
                      <a:cubicBezTo>
                        <a:pt x="4924" y="1336"/>
                        <a:pt x="4920" y="1322"/>
                        <a:pt x="4913" y="1317"/>
                      </a:cubicBezTo>
                      <a:cubicBezTo>
                        <a:pt x="4906" y="1312"/>
                        <a:pt x="4889" y="1304"/>
                        <a:pt x="4889" y="1304"/>
                      </a:cubicBezTo>
                      <a:cubicBezTo>
                        <a:pt x="4875" y="1300"/>
                        <a:pt x="4875" y="1300"/>
                        <a:pt x="4875" y="1300"/>
                      </a:cubicBezTo>
                      <a:cubicBezTo>
                        <a:pt x="4872" y="1291"/>
                        <a:pt x="4872" y="1291"/>
                        <a:pt x="4872" y="1291"/>
                      </a:cubicBezTo>
                      <a:cubicBezTo>
                        <a:pt x="4872" y="1291"/>
                        <a:pt x="4900" y="1304"/>
                        <a:pt x="4903" y="1298"/>
                      </a:cubicBezTo>
                      <a:cubicBezTo>
                        <a:pt x="4906" y="1292"/>
                        <a:pt x="4885" y="1286"/>
                        <a:pt x="4885" y="1286"/>
                      </a:cubicBezTo>
                      <a:cubicBezTo>
                        <a:pt x="4830" y="1260"/>
                        <a:pt x="4830" y="1260"/>
                        <a:pt x="4830" y="1260"/>
                      </a:cubicBezTo>
                      <a:cubicBezTo>
                        <a:pt x="4830" y="1260"/>
                        <a:pt x="4802" y="1243"/>
                        <a:pt x="4794" y="1238"/>
                      </a:cubicBezTo>
                      <a:cubicBezTo>
                        <a:pt x="4786" y="1233"/>
                        <a:pt x="4772" y="1243"/>
                        <a:pt x="4772" y="1243"/>
                      </a:cubicBezTo>
                      <a:cubicBezTo>
                        <a:pt x="4746" y="1236"/>
                        <a:pt x="4746" y="1236"/>
                        <a:pt x="4746" y="1236"/>
                      </a:cubicBezTo>
                      <a:cubicBezTo>
                        <a:pt x="4771" y="1264"/>
                        <a:pt x="4771" y="1264"/>
                        <a:pt x="4771" y="1264"/>
                      </a:cubicBezTo>
                      <a:cubicBezTo>
                        <a:pt x="4767" y="1281"/>
                        <a:pt x="4767" y="1281"/>
                        <a:pt x="4767" y="1281"/>
                      </a:cubicBezTo>
                      <a:cubicBezTo>
                        <a:pt x="4759" y="1279"/>
                        <a:pt x="4759" y="1279"/>
                        <a:pt x="4759" y="1279"/>
                      </a:cubicBezTo>
                      <a:cubicBezTo>
                        <a:pt x="4758" y="1259"/>
                        <a:pt x="4758" y="1259"/>
                        <a:pt x="4758" y="1259"/>
                      </a:cubicBezTo>
                      <a:cubicBezTo>
                        <a:pt x="4748" y="1252"/>
                        <a:pt x="4748" y="1252"/>
                        <a:pt x="4748" y="1252"/>
                      </a:cubicBezTo>
                      <a:cubicBezTo>
                        <a:pt x="4746" y="1271"/>
                        <a:pt x="4746" y="1271"/>
                        <a:pt x="4746" y="1271"/>
                      </a:cubicBezTo>
                      <a:cubicBezTo>
                        <a:pt x="4717" y="1273"/>
                        <a:pt x="4717" y="1273"/>
                        <a:pt x="4717" y="1273"/>
                      </a:cubicBezTo>
                      <a:cubicBezTo>
                        <a:pt x="4717" y="1273"/>
                        <a:pt x="4724" y="1263"/>
                        <a:pt x="4719" y="1257"/>
                      </a:cubicBezTo>
                      <a:cubicBezTo>
                        <a:pt x="4714" y="1251"/>
                        <a:pt x="4701" y="1253"/>
                        <a:pt x="4701" y="1253"/>
                      </a:cubicBezTo>
                      <a:cubicBezTo>
                        <a:pt x="4696" y="1260"/>
                        <a:pt x="4696" y="1260"/>
                        <a:pt x="4696" y="1260"/>
                      </a:cubicBezTo>
                      <a:cubicBezTo>
                        <a:pt x="4681" y="1261"/>
                        <a:pt x="4681" y="1261"/>
                        <a:pt x="4681" y="1261"/>
                      </a:cubicBezTo>
                      <a:cubicBezTo>
                        <a:pt x="4672" y="1236"/>
                        <a:pt x="4672" y="1236"/>
                        <a:pt x="4672" y="1236"/>
                      </a:cubicBezTo>
                      <a:cubicBezTo>
                        <a:pt x="4668" y="1235"/>
                        <a:pt x="4668" y="1235"/>
                        <a:pt x="4668" y="1235"/>
                      </a:cubicBezTo>
                      <a:cubicBezTo>
                        <a:pt x="4660" y="1222"/>
                        <a:pt x="4660" y="1222"/>
                        <a:pt x="4660" y="1222"/>
                      </a:cubicBezTo>
                      <a:cubicBezTo>
                        <a:pt x="4612" y="1224"/>
                        <a:pt x="4612" y="1224"/>
                        <a:pt x="4612" y="1224"/>
                      </a:cubicBezTo>
                      <a:cubicBezTo>
                        <a:pt x="4606" y="1218"/>
                        <a:pt x="4606" y="1218"/>
                        <a:pt x="4606" y="1218"/>
                      </a:cubicBezTo>
                      <a:cubicBezTo>
                        <a:pt x="4606" y="1218"/>
                        <a:pt x="4580" y="1222"/>
                        <a:pt x="4580" y="1205"/>
                      </a:cubicBezTo>
                      <a:cubicBezTo>
                        <a:pt x="4580" y="1188"/>
                        <a:pt x="4602" y="1186"/>
                        <a:pt x="4602" y="1186"/>
                      </a:cubicBezTo>
                      <a:cubicBezTo>
                        <a:pt x="4602" y="1170"/>
                        <a:pt x="4602" y="1170"/>
                        <a:pt x="4602" y="1170"/>
                      </a:cubicBezTo>
                      <a:cubicBezTo>
                        <a:pt x="4602" y="1170"/>
                        <a:pt x="4621" y="1169"/>
                        <a:pt x="4622" y="1158"/>
                      </a:cubicBezTo>
                      <a:cubicBezTo>
                        <a:pt x="4623" y="1147"/>
                        <a:pt x="4633" y="1132"/>
                        <a:pt x="4633" y="1132"/>
                      </a:cubicBezTo>
                      <a:cubicBezTo>
                        <a:pt x="4623" y="1123"/>
                        <a:pt x="4623" y="1123"/>
                        <a:pt x="4623" y="1123"/>
                      </a:cubicBezTo>
                      <a:cubicBezTo>
                        <a:pt x="4630" y="1110"/>
                        <a:pt x="4630" y="1110"/>
                        <a:pt x="4630" y="1110"/>
                      </a:cubicBezTo>
                      <a:cubicBezTo>
                        <a:pt x="4623" y="1100"/>
                        <a:pt x="4623" y="1100"/>
                        <a:pt x="4623" y="1100"/>
                      </a:cubicBezTo>
                      <a:cubicBezTo>
                        <a:pt x="4637" y="1089"/>
                        <a:pt x="4637" y="1089"/>
                        <a:pt x="4637" y="1089"/>
                      </a:cubicBezTo>
                      <a:cubicBezTo>
                        <a:pt x="4651" y="1086"/>
                        <a:pt x="4651" y="1086"/>
                        <a:pt x="4651" y="1086"/>
                      </a:cubicBezTo>
                      <a:cubicBezTo>
                        <a:pt x="4645" y="1064"/>
                        <a:pt x="4645" y="1064"/>
                        <a:pt x="4645" y="1064"/>
                      </a:cubicBezTo>
                      <a:cubicBezTo>
                        <a:pt x="4660" y="1059"/>
                        <a:pt x="4660" y="1059"/>
                        <a:pt x="4660" y="1059"/>
                      </a:cubicBezTo>
                      <a:cubicBezTo>
                        <a:pt x="4642" y="1036"/>
                        <a:pt x="4642" y="1036"/>
                        <a:pt x="4642" y="1036"/>
                      </a:cubicBezTo>
                      <a:cubicBezTo>
                        <a:pt x="4664" y="1027"/>
                        <a:pt x="4664" y="1027"/>
                        <a:pt x="4664" y="1027"/>
                      </a:cubicBezTo>
                      <a:cubicBezTo>
                        <a:pt x="4664" y="1027"/>
                        <a:pt x="4657" y="997"/>
                        <a:pt x="4673" y="987"/>
                      </a:cubicBezTo>
                      <a:cubicBezTo>
                        <a:pt x="4689" y="977"/>
                        <a:pt x="4695" y="976"/>
                        <a:pt x="4695" y="976"/>
                      </a:cubicBezTo>
                      <a:cubicBezTo>
                        <a:pt x="4695" y="976"/>
                        <a:pt x="4720" y="980"/>
                        <a:pt x="4732" y="979"/>
                      </a:cubicBezTo>
                      <a:cubicBezTo>
                        <a:pt x="4744" y="978"/>
                        <a:pt x="4796" y="982"/>
                        <a:pt x="4796" y="982"/>
                      </a:cubicBezTo>
                      <a:cubicBezTo>
                        <a:pt x="4807" y="993"/>
                        <a:pt x="4807" y="993"/>
                        <a:pt x="4807" y="993"/>
                      </a:cubicBezTo>
                      <a:cubicBezTo>
                        <a:pt x="4820" y="988"/>
                        <a:pt x="4820" y="988"/>
                        <a:pt x="4820" y="988"/>
                      </a:cubicBezTo>
                      <a:cubicBezTo>
                        <a:pt x="4815" y="976"/>
                        <a:pt x="4815" y="976"/>
                        <a:pt x="4815" y="976"/>
                      </a:cubicBezTo>
                      <a:cubicBezTo>
                        <a:pt x="4865" y="989"/>
                        <a:pt x="4865" y="989"/>
                        <a:pt x="4865" y="989"/>
                      </a:cubicBezTo>
                      <a:cubicBezTo>
                        <a:pt x="4885" y="977"/>
                        <a:pt x="4885" y="977"/>
                        <a:pt x="4885" y="977"/>
                      </a:cubicBezTo>
                      <a:cubicBezTo>
                        <a:pt x="4904" y="992"/>
                        <a:pt x="4904" y="992"/>
                        <a:pt x="4904" y="992"/>
                      </a:cubicBezTo>
                      <a:cubicBezTo>
                        <a:pt x="4909" y="968"/>
                        <a:pt x="4909" y="968"/>
                        <a:pt x="4909" y="968"/>
                      </a:cubicBezTo>
                      <a:cubicBezTo>
                        <a:pt x="4909" y="968"/>
                        <a:pt x="4932" y="966"/>
                        <a:pt x="4948" y="967"/>
                      </a:cubicBezTo>
                      <a:cubicBezTo>
                        <a:pt x="4964" y="968"/>
                        <a:pt x="4970" y="982"/>
                        <a:pt x="4976" y="980"/>
                      </a:cubicBezTo>
                      <a:cubicBezTo>
                        <a:pt x="4982" y="978"/>
                        <a:pt x="5000" y="967"/>
                        <a:pt x="5000" y="967"/>
                      </a:cubicBezTo>
                      <a:cubicBezTo>
                        <a:pt x="5016" y="981"/>
                        <a:pt x="5016" y="981"/>
                        <a:pt x="5016" y="981"/>
                      </a:cubicBezTo>
                      <a:cubicBezTo>
                        <a:pt x="5044" y="986"/>
                        <a:pt x="5044" y="986"/>
                        <a:pt x="5044" y="986"/>
                      </a:cubicBezTo>
                      <a:cubicBezTo>
                        <a:pt x="5008" y="993"/>
                        <a:pt x="5008" y="993"/>
                        <a:pt x="5008" y="993"/>
                      </a:cubicBezTo>
                      <a:cubicBezTo>
                        <a:pt x="5008" y="993"/>
                        <a:pt x="5019" y="1014"/>
                        <a:pt x="5030" y="1009"/>
                      </a:cubicBezTo>
                      <a:cubicBezTo>
                        <a:pt x="5041" y="1004"/>
                        <a:pt x="5061" y="996"/>
                        <a:pt x="5061" y="996"/>
                      </a:cubicBezTo>
                      <a:cubicBezTo>
                        <a:pt x="5079" y="1005"/>
                        <a:pt x="5079" y="1005"/>
                        <a:pt x="5079" y="1005"/>
                      </a:cubicBezTo>
                      <a:cubicBezTo>
                        <a:pt x="5094" y="993"/>
                        <a:pt x="5094" y="993"/>
                        <a:pt x="5094" y="993"/>
                      </a:cubicBezTo>
                      <a:cubicBezTo>
                        <a:pt x="5094" y="993"/>
                        <a:pt x="5121" y="1002"/>
                        <a:pt x="5129" y="998"/>
                      </a:cubicBezTo>
                      <a:cubicBezTo>
                        <a:pt x="5137" y="994"/>
                        <a:pt x="5131" y="986"/>
                        <a:pt x="5131" y="986"/>
                      </a:cubicBezTo>
                      <a:cubicBezTo>
                        <a:pt x="5155" y="988"/>
                        <a:pt x="5155" y="988"/>
                        <a:pt x="5155" y="988"/>
                      </a:cubicBezTo>
                      <a:cubicBezTo>
                        <a:pt x="5122" y="970"/>
                        <a:pt x="5122" y="970"/>
                        <a:pt x="5122" y="970"/>
                      </a:cubicBezTo>
                      <a:cubicBezTo>
                        <a:pt x="5104" y="977"/>
                        <a:pt x="5104" y="977"/>
                        <a:pt x="5104" y="977"/>
                      </a:cubicBezTo>
                      <a:cubicBezTo>
                        <a:pt x="5099" y="965"/>
                        <a:pt x="5099" y="965"/>
                        <a:pt x="5099" y="965"/>
                      </a:cubicBezTo>
                      <a:cubicBezTo>
                        <a:pt x="5099" y="965"/>
                        <a:pt x="5084" y="942"/>
                        <a:pt x="5086" y="937"/>
                      </a:cubicBezTo>
                      <a:cubicBezTo>
                        <a:pt x="5088" y="932"/>
                        <a:pt x="5105" y="918"/>
                        <a:pt x="5105" y="918"/>
                      </a:cubicBezTo>
                      <a:cubicBezTo>
                        <a:pt x="5101" y="898"/>
                        <a:pt x="5101" y="898"/>
                        <a:pt x="5101" y="898"/>
                      </a:cubicBezTo>
                      <a:cubicBezTo>
                        <a:pt x="5110" y="890"/>
                        <a:pt x="5110" y="890"/>
                        <a:pt x="5110" y="890"/>
                      </a:cubicBezTo>
                      <a:cubicBezTo>
                        <a:pt x="5110" y="890"/>
                        <a:pt x="5084" y="877"/>
                        <a:pt x="5101" y="866"/>
                      </a:cubicBezTo>
                      <a:cubicBezTo>
                        <a:pt x="5118" y="855"/>
                        <a:pt x="5154" y="866"/>
                        <a:pt x="5154" y="866"/>
                      </a:cubicBezTo>
                      <a:cubicBezTo>
                        <a:pt x="5168" y="852"/>
                        <a:pt x="5168" y="852"/>
                        <a:pt x="5168" y="852"/>
                      </a:cubicBezTo>
                      <a:cubicBezTo>
                        <a:pt x="5190" y="871"/>
                        <a:pt x="5190" y="871"/>
                        <a:pt x="5190" y="871"/>
                      </a:cubicBezTo>
                      <a:cubicBezTo>
                        <a:pt x="5209" y="860"/>
                        <a:pt x="5209" y="860"/>
                        <a:pt x="5209" y="860"/>
                      </a:cubicBezTo>
                      <a:cubicBezTo>
                        <a:pt x="5209" y="860"/>
                        <a:pt x="5222" y="893"/>
                        <a:pt x="5229" y="896"/>
                      </a:cubicBezTo>
                      <a:cubicBezTo>
                        <a:pt x="5236" y="899"/>
                        <a:pt x="5257" y="895"/>
                        <a:pt x="5257" y="895"/>
                      </a:cubicBezTo>
                      <a:cubicBezTo>
                        <a:pt x="5257" y="895"/>
                        <a:pt x="5257" y="926"/>
                        <a:pt x="5268" y="922"/>
                      </a:cubicBezTo>
                      <a:cubicBezTo>
                        <a:pt x="5279" y="918"/>
                        <a:pt x="5294" y="878"/>
                        <a:pt x="5294" y="878"/>
                      </a:cubicBezTo>
                      <a:cubicBezTo>
                        <a:pt x="5310" y="869"/>
                        <a:pt x="5310" y="869"/>
                        <a:pt x="5310" y="869"/>
                      </a:cubicBezTo>
                      <a:cubicBezTo>
                        <a:pt x="5330" y="876"/>
                        <a:pt x="5330" y="876"/>
                        <a:pt x="5330" y="876"/>
                      </a:cubicBezTo>
                      <a:cubicBezTo>
                        <a:pt x="5329" y="867"/>
                        <a:pt x="5329" y="867"/>
                        <a:pt x="5329" y="867"/>
                      </a:cubicBezTo>
                      <a:cubicBezTo>
                        <a:pt x="5310" y="857"/>
                        <a:pt x="5310" y="857"/>
                        <a:pt x="5310" y="857"/>
                      </a:cubicBezTo>
                      <a:cubicBezTo>
                        <a:pt x="5310" y="857"/>
                        <a:pt x="5263" y="823"/>
                        <a:pt x="5274" y="822"/>
                      </a:cubicBezTo>
                      <a:cubicBezTo>
                        <a:pt x="5285" y="821"/>
                        <a:pt x="5339" y="823"/>
                        <a:pt x="5339" y="823"/>
                      </a:cubicBezTo>
                      <a:cubicBezTo>
                        <a:pt x="5373" y="823"/>
                        <a:pt x="5373" y="823"/>
                        <a:pt x="5373" y="823"/>
                      </a:cubicBezTo>
                      <a:cubicBezTo>
                        <a:pt x="5373" y="823"/>
                        <a:pt x="5376" y="837"/>
                        <a:pt x="5372" y="836"/>
                      </a:cubicBezTo>
                      <a:cubicBezTo>
                        <a:pt x="5368" y="835"/>
                        <a:pt x="5329" y="823"/>
                        <a:pt x="5331" y="837"/>
                      </a:cubicBezTo>
                      <a:cubicBezTo>
                        <a:pt x="5333" y="851"/>
                        <a:pt x="5356" y="864"/>
                        <a:pt x="5356" y="864"/>
                      </a:cubicBezTo>
                      <a:cubicBezTo>
                        <a:pt x="5358" y="881"/>
                        <a:pt x="5358" y="881"/>
                        <a:pt x="5358" y="881"/>
                      </a:cubicBezTo>
                      <a:cubicBezTo>
                        <a:pt x="5378" y="884"/>
                        <a:pt x="5378" y="884"/>
                        <a:pt x="5378" y="884"/>
                      </a:cubicBezTo>
                      <a:cubicBezTo>
                        <a:pt x="5374" y="897"/>
                        <a:pt x="5374" y="897"/>
                        <a:pt x="5374" y="897"/>
                      </a:cubicBezTo>
                      <a:cubicBezTo>
                        <a:pt x="5387" y="908"/>
                        <a:pt x="5387" y="908"/>
                        <a:pt x="5387" y="908"/>
                      </a:cubicBezTo>
                      <a:cubicBezTo>
                        <a:pt x="5369" y="911"/>
                        <a:pt x="5369" y="911"/>
                        <a:pt x="5369" y="911"/>
                      </a:cubicBezTo>
                      <a:cubicBezTo>
                        <a:pt x="5364" y="922"/>
                        <a:pt x="5364" y="922"/>
                        <a:pt x="5364" y="922"/>
                      </a:cubicBezTo>
                      <a:cubicBezTo>
                        <a:pt x="5352" y="926"/>
                        <a:pt x="5352" y="926"/>
                        <a:pt x="5352" y="926"/>
                      </a:cubicBezTo>
                      <a:cubicBezTo>
                        <a:pt x="5352" y="926"/>
                        <a:pt x="5365" y="948"/>
                        <a:pt x="5358" y="960"/>
                      </a:cubicBezTo>
                      <a:cubicBezTo>
                        <a:pt x="5351" y="972"/>
                        <a:pt x="5340" y="992"/>
                        <a:pt x="5340" y="999"/>
                      </a:cubicBezTo>
                      <a:cubicBezTo>
                        <a:pt x="5340" y="1006"/>
                        <a:pt x="5358" y="1012"/>
                        <a:pt x="5345" y="1029"/>
                      </a:cubicBezTo>
                      <a:cubicBezTo>
                        <a:pt x="5332" y="1046"/>
                        <a:pt x="5310" y="1051"/>
                        <a:pt x="5310" y="1051"/>
                      </a:cubicBezTo>
                      <a:cubicBezTo>
                        <a:pt x="5313" y="1063"/>
                        <a:pt x="5313" y="1063"/>
                        <a:pt x="5313" y="1063"/>
                      </a:cubicBezTo>
                      <a:cubicBezTo>
                        <a:pt x="5300" y="1063"/>
                        <a:pt x="5300" y="1063"/>
                        <a:pt x="5300" y="1063"/>
                      </a:cubicBezTo>
                      <a:cubicBezTo>
                        <a:pt x="5300" y="1063"/>
                        <a:pt x="5324" y="1073"/>
                        <a:pt x="5322" y="1090"/>
                      </a:cubicBezTo>
                      <a:cubicBezTo>
                        <a:pt x="5320" y="1107"/>
                        <a:pt x="5313" y="1118"/>
                        <a:pt x="5320" y="1135"/>
                      </a:cubicBezTo>
                      <a:cubicBezTo>
                        <a:pt x="5327" y="1152"/>
                        <a:pt x="5392" y="1206"/>
                        <a:pt x="5392" y="1206"/>
                      </a:cubicBezTo>
                      <a:cubicBezTo>
                        <a:pt x="5432" y="1247"/>
                        <a:pt x="5432" y="1247"/>
                        <a:pt x="5432" y="1247"/>
                      </a:cubicBezTo>
                      <a:cubicBezTo>
                        <a:pt x="5441" y="1244"/>
                        <a:pt x="5441" y="1244"/>
                        <a:pt x="5441" y="1244"/>
                      </a:cubicBezTo>
                      <a:cubicBezTo>
                        <a:pt x="5494" y="1308"/>
                        <a:pt x="5494" y="1308"/>
                        <a:pt x="5494" y="1308"/>
                      </a:cubicBezTo>
                      <a:cubicBezTo>
                        <a:pt x="5529" y="1319"/>
                        <a:pt x="5529" y="1319"/>
                        <a:pt x="5529" y="1319"/>
                      </a:cubicBezTo>
                      <a:cubicBezTo>
                        <a:pt x="5544" y="1337"/>
                        <a:pt x="5544" y="1337"/>
                        <a:pt x="5544" y="1337"/>
                      </a:cubicBezTo>
                      <a:cubicBezTo>
                        <a:pt x="5544" y="1337"/>
                        <a:pt x="5583" y="1385"/>
                        <a:pt x="5590" y="1389"/>
                      </a:cubicBezTo>
                      <a:cubicBezTo>
                        <a:pt x="5597" y="1393"/>
                        <a:pt x="5608" y="1393"/>
                        <a:pt x="5608" y="1393"/>
                      </a:cubicBezTo>
                      <a:cubicBezTo>
                        <a:pt x="5608" y="1393"/>
                        <a:pt x="5602" y="1411"/>
                        <a:pt x="5617" y="1405"/>
                      </a:cubicBezTo>
                      <a:cubicBezTo>
                        <a:pt x="5632" y="1399"/>
                        <a:pt x="5630" y="1386"/>
                        <a:pt x="5630" y="1386"/>
                      </a:cubicBezTo>
                      <a:cubicBezTo>
                        <a:pt x="5623" y="1378"/>
                        <a:pt x="5623" y="1378"/>
                        <a:pt x="5623" y="1378"/>
                      </a:cubicBezTo>
                      <a:cubicBezTo>
                        <a:pt x="5623" y="1378"/>
                        <a:pt x="5638" y="1358"/>
                        <a:pt x="5635" y="1349"/>
                      </a:cubicBezTo>
                      <a:cubicBezTo>
                        <a:pt x="5632" y="1340"/>
                        <a:pt x="5601" y="1323"/>
                        <a:pt x="5608" y="1310"/>
                      </a:cubicBezTo>
                      <a:cubicBezTo>
                        <a:pt x="5615" y="1297"/>
                        <a:pt x="5624" y="1289"/>
                        <a:pt x="5627" y="1288"/>
                      </a:cubicBezTo>
                      <a:cubicBezTo>
                        <a:pt x="5630" y="1287"/>
                        <a:pt x="5650" y="1295"/>
                        <a:pt x="5650" y="1295"/>
                      </a:cubicBezTo>
                      <a:cubicBezTo>
                        <a:pt x="5650" y="1295"/>
                        <a:pt x="5628" y="1269"/>
                        <a:pt x="5622" y="1265"/>
                      </a:cubicBezTo>
                      <a:cubicBezTo>
                        <a:pt x="5616" y="1261"/>
                        <a:pt x="5601" y="1255"/>
                        <a:pt x="5604" y="1240"/>
                      </a:cubicBezTo>
                      <a:cubicBezTo>
                        <a:pt x="5607" y="1225"/>
                        <a:pt x="5625" y="1220"/>
                        <a:pt x="5625" y="1220"/>
                      </a:cubicBezTo>
                      <a:cubicBezTo>
                        <a:pt x="5625" y="1220"/>
                        <a:pt x="5654" y="1232"/>
                        <a:pt x="5652" y="1217"/>
                      </a:cubicBezTo>
                      <a:cubicBezTo>
                        <a:pt x="5650" y="1202"/>
                        <a:pt x="5637" y="1198"/>
                        <a:pt x="5621" y="1190"/>
                      </a:cubicBezTo>
                      <a:cubicBezTo>
                        <a:pt x="5605" y="1182"/>
                        <a:pt x="5591" y="1163"/>
                        <a:pt x="5590" y="1152"/>
                      </a:cubicBezTo>
                      <a:cubicBezTo>
                        <a:pt x="5589" y="1141"/>
                        <a:pt x="5583" y="1129"/>
                        <a:pt x="5583" y="1129"/>
                      </a:cubicBezTo>
                      <a:cubicBezTo>
                        <a:pt x="5590" y="1126"/>
                        <a:pt x="5590" y="1126"/>
                        <a:pt x="5590" y="1126"/>
                      </a:cubicBezTo>
                      <a:cubicBezTo>
                        <a:pt x="5590" y="1126"/>
                        <a:pt x="5616" y="1151"/>
                        <a:pt x="5622" y="1146"/>
                      </a:cubicBezTo>
                      <a:cubicBezTo>
                        <a:pt x="5628" y="1141"/>
                        <a:pt x="5604" y="1114"/>
                        <a:pt x="5604" y="1114"/>
                      </a:cubicBezTo>
                      <a:cubicBezTo>
                        <a:pt x="5581" y="1111"/>
                        <a:pt x="5581" y="1111"/>
                        <a:pt x="5581" y="1111"/>
                      </a:cubicBezTo>
                      <a:cubicBezTo>
                        <a:pt x="5548" y="1083"/>
                        <a:pt x="5548" y="1083"/>
                        <a:pt x="5548" y="1083"/>
                      </a:cubicBezTo>
                      <a:cubicBezTo>
                        <a:pt x="5548" y="1083"/>
                        <a:pt x="5552" y="1062"/>
                        <a:pt x="5536" y="1055"/>
                      </a:cubicBezTo>
                      <a:cubicBezTo>
                        <a:pt x="5520" y="1048"/>
                        <a:pt x="5508" y="1048"/>
                        <a:pt x="5508" y="1048"/>
                      </a:cubicBezTo>
                      <a:cubicBezTo>
                        <a:pt x="5509" y="1060"/>
                        <a:pt x="5509" y="1060"/>
                        <a:pt x="5509" y="1060"/>
                      </a:cubicBezTo>
                      <a:cubicBezTo>
                        <a:pt x="5509" y="1060"/>
                        <a:pt x="5465" y="1050"/>
                        <a:pt x="5464" y="1034"/>
                      </a:cubicBezTo>
                      <a:cubicBezTo>
                        <a:pt x="5463" y="1018"/>
                        <a:pt x="5471" y="1007"/>
                        <a:pt x="5463" y="992"/>
                      </a:cubicBezTo>
                      <a:cubicBezTo>
                        <a:pt x="5455" y="977"/>
                        <a:pt x="5439" y="969"/>
                        <a:pt x="5439" y="969"/>
                      </a:cubicBezTo>
                      <a:cubicBezTo>
                        <a:pt x="5439" y="969"/>
                        <a:pt x="5441" y="953"/>
                        <a:pt x="5445" y="951"/>
                      </a:cubicBezTo>
                      <a:cubicBezTo>
                        <a:pt x="5449" y="949"/>
                        <a:pt x="5458" y="956"/>
                        <a:pt x="5458" y="956"/>
                      </a:cubicBezTo>
                      <a:cubicBezTo>
                        <a:pt x="5467" y="945"/>
                        <a:pt x="5467" y="945"/>
                        <a:pt x="5467" y="945"/>
                      </a:cubicBezTo>
                      <a:cubicBezTo>
                        <a:pt x="5492" y="964"/>
                        <a:pt x="5492" y="964"/>
                        <a:pt x="5492" y="964"/>
                      </a:cubicBezTo>
                      <a:cubicBezTo>
                        <a:pt x="5497" y="959"/>
                        <a:pt x="5497" y="959"/>
                        <a:pt x="5497" y="959"/>
                      </a:cubicBezTo>
                      <a:cubicBezTo>
                        <a:pt x="5489" y="951"/>
                        <a:pt x="5489" y="951"/>
                        <a:pt x="5489" y="951"/>
                      </a:cubicBezTo>
                      <a:cubicBezTo>
                        <a:pt x="5489" y="951"/>
                        <a:pt x="5495" y="919"/>
                        <a:pt x="5506" y="925"/>
                      </a:cubicBezTo>
                      <a:cubicBezTo>
                        <a:pt x="5517" y="931"/>
                        <a:pt x="5544" y="964"/>
                        <a:pt x="5544" y="964"/>
                      </a:cubicBezTo>
                      <a:cubicBezTo>
                        <a:pt x="5551" y="931"/>
                        <a:pt x="5551" y="931"/>
                        <a:pt x="5551" y="931"/>
                      </a:cubicBezTo>
                      <a:cubicBezTo>
                        <a:pt x="5551" y="931"/>
                        <a:pt x="5608" y="924"/>
                        <a:pt x="5617" y="924"/>
                      </a:cubicBezTo>
                      <a:cubicBezTo>
                        <a:pt x="5626" y="924"/>
                        <a:pt x="5663" y="944"/>
                        <a:pt x="5663" y="944"/>
                      </a:cubicBezTo>
                      <a:cubicBezTo>
                        <a:pt x="5691" y="955"/>
                        <a:pt x="5691" y="955"/>
                        <a:pt x="5691" y="955"/>
                      </a:cubicBezTo>
                      <a:cubicBezTo>
                        <a:pt x="5671" y="915"/>
                        <a:pt x="5671" y="915"/>
                        <a:pt x="5671" y="915"/>
                      </a:cubicBezTo>
                      <a:cubicBezTo>
                        <a:pt x="5671" y="915"/>
                        <a:pt x="5703" y="916"/>
                        <a:pt x="5705" y="905"/>
                      </a:cubicBezTo>
                      <a:cubicBezTo>
                        <a:pt x="5707" y="894"/>
                        <a:pt x="5697" y="876"/>
                        <a:pt x="5697" y="876"/>
                      </a:cubicBezTo>
                      <a:cubicBezTo>
                        <a:pt x="5710" y="877"/>
                        <a:pt x="5710" y="877"/>
                        <a:pt x="5710" y="877"/>
                      </a:cubicBezTo>
                      <a:cubicBezTo>
                        <a:pt x="5713" y="861"/>
                        <a:pt x="5713" y="861"/>
                        <a:pt x="5713" y="861"/>
                      </a:cubicBezTo>
                      <a:cubicBezTo>
                        <a:pt x="5713" y="861"/>
                        <a:pt x="5752" y="870"/>
                        <a:pt x="5758" y="855"/>
                      </a:cubicBezTo>
                      <a:cubicBezTo>
                        <a:pt x="5764" y="840"/>
                        <a:pt x="5784" y="828"/>
                        <a:pt x="5784" y="828"/>
                      </a:cubicBezTo>
                      <a:cubicBezTo>
                        <a:pt x="5770" y="811"/>
                        <a:pt x="5770" y="811"/>
                        <a:pt x="5770" y="811"/>
                      </a:cubicBezTo>
                      <a:cubicBezTo>
                        <a:pt x="5791" y="813"/>
                        <a:pt x="5791" y="813"/>
                        <a:pt x="5791" y="813"/>
                      </a:cubicBezTo>
                      <a:cubicBezTo>
                        <a:pt x="5794" y="825"/>
                        <a:pt x="5794" y="825"/>
                        <a:pt x="5794" y="825"/>
                      </a:cubicBezTo>
                      <a:cubicBezTo>
                        <a:pt x="5835" y="828"/>
                        <a:pt x="5835" y="828"/>
                        <a:pt x="5835" y="828"/>
                      </a:cubicBezTo>
                      <a:cubicBezTo>
                        <a:pt x="5835" y="828"/>
                        <a:pt x="5877" y="838"/>
                        <a:pt x="5877" y="832"/>
                      </a:cubicBezTo>
                      <a:cubicBezTo>
                        <a:pt x="5877" y="826"/>
                        <a:pt x="5873" y="814"/>
                        <a:pt x="5873" y="814"/>
                      </a:cubicBezTo>
                      <a:cubicBezTo>
                        <a:pt x="5848" y="811"/>
                        <a:pt x="5848" y="811"/>
                        <a:pt x="5848" y="811"/>
                      </a:cubicBezTo>
                      <a:cubicBezTo>
                        <a:pt x="5844" y="797"/>
                        <a:pt x="5844" y="797"/>
                        <a:pt x="5844" y="797"/>
                      </a:cubicBezTo>
                      <a:cubicBezTo>
                        <a:pt x="5844" y="797"/>
                        <a:pt x="5807" y="784"/>
                        <a:pt x="5795" y="780"/>
                      </a:cubicBezTo>
                      <a:cubicBezTo>
                        <a:pt x="5783" y="776"/>
                        <a:pt x="5774" y="782"/>
                        <a:pt x="5774" y="782"/>
                      </a:cubicBezTo>
                      <a:cubicBezTo>
                        <a:pt x="5778" y="770"/>
                        <a:pt x="5778" y="770"/>
                        <a:pt x="5778" y="770"/>
                      </a:cubicBezTo>
                      <a:cubicBezTo>
                        <a:pt x="5730" y="736"/>
                        <a:pt x="5730" y="736"/>
                        <a:pt x="5730" y="736"/>
                      </a:cubicBezTo>
                      <a:cubicBezTo>
                        <a:pt x="5719" y="747"/>
                        <a:pt x="5719" y="747"/>
                        <a:pt x="5719" y="747"/>
                      </a:cubicBezTo>
                      <a:cubicBezTo>
                        <a:pt x="5719" y="747"/>
                        <a:pt x="5699" y="742"/>
                        <a:pt x="5691" y="739"/>
                      </a:cubicBezTo>
                      <a:cubicBezTo>
                        <a:pt x="5683" y="736"/>
                        <a:pt x="5672" y="727"/>
                        <a:pt x="5672" y="727"/>
                      </a:cubicBezTo>
                      <a:cubicBezTo>
                        <a:pt x="5649" y="732"/>
                        <a:pt x="5649" y="732"/>
                        <a:pt x="5649" y="732"/>
                      </a:cubicBezTo>
                      <a:cubicBezTo>
                        <a:pt x="5630" y="730"/>
                        <a:pt x="5630" y="730"/>
                        <a:pt x="5630" y="730"/>
                      </a:cubicBezTo>
                      <a:cubicBezTo>
                        <a:pt x="5630" y="730"/>
                        <a:pt x="5599" y="712"/>
                        <a:pt x="5611" y="709"/>
                      </a:cubicBezTo>
                      <a:cubicBezTo>
                        <a:pt x="5623" y="706"/>
                        <a:pt x="5635" y="713"/>
                        <a:pt x="5644" y="715"/>
                      </a:cubicBezTo>
                      <a:cubicBezTo>
                        <a:pt x="5653" y="717"/>
                        <a:pt x="5697" y="724"/>
                        <a:pt x="5697" y="724"/>
                      </a:cubicBezTo>
                      <a:cubicBezTo>
                        <a:pt x="5697" y="724"/>
                        <a:pt x="5749" y="709"/>
                        <a:pt x="5749" y="702"/>
                      </a:cubicBezTo>
                      <a:cubicBezTo>
                        <a:pt x="5749" y="695"/>
                        <a:pt x="5719" y="679"/>
                        <a:pt x="5716" y="677"/>
                      </a:cubicBezTo>
                      <a:cubicBezTo>
                        <a:pt x="5713" y="675"/>
                        <a:pt x="5664" y="658"/>
                        <a:pt x="5679" y="649"/>
                      </a:cubicBezTo>
                      <a:cubicBezTo>
                        <a:pt x="5694" y="640"/>
                        <a:pt x="5719" y="660"/>
                        <a:pt x="5719" y="660"/>
                      </a:cubicBezTo>
                      <a:cubicBezTo>
                        <a:pt x="5719" y="660"/>
                        <a:pt x="5766" y="689"/>
                        <a:pt x="5780" y="687"/>
                      </a:cubicBezTo>
                      <a:cubicBezTo>
                        <a:pt x="5794" y="685"/>
                        <a:pt x="5799" y="671"/>
                        <a:pt x="5838" y="684"/>
                      </a:cubicBezTo>
                      <a:cubicBezTo>
                        <a:pt x="5877" y="697"/>
                        <a:pt x="5911" y="711"/>
                        <a:pt x="5922" y="713"/>
                      </a:cubicBezTo>
                      <a:cubicBezTo>
                        <a:pt x="5933" y="715"/>
                        <a:pt x="5976" y="727"/>
                        <a:pt x="5976" y="727"/>
                      </a:cubicBezTo>
                      <a:cubicBezTo>
                        <a:pt x="5976" y="727"/>
                        <a:pt x="6035" y="762"/>
                        <a:pt x="6031" y="744"/>
                      </a:cubicBezTo>
                      <a:cubicBezTo>
                        <a:pt x="6027" y="726"/>
                        <a:pt x="6007" y="715"/>
                        <a:pt x="6007" y="715"/>
                      </a:cubicBezTo>
                      <a:cubicBezTo>
                        <a:pt x="6019" y="706"/>
                        <a:pt x="6019" y="706"/>
                        <a:pt x="6019" y="706"/>
                      </a:cubicBezTo>
                      <a:cubicBezTo>
                        <a:pt x="5989" y="693"/>
                        <a:pt x="5989" y="693"/>
                        <a:pt x="5989" y="693"/>
                      </a:cubicBezTo>
                      <a:cubicBezTo>
                        <a:pt x="5995" y="689"/>
                        <a:pt x="5995" y="689"/>
                        <a:pt x="5995" y="689"/>
                      </a:cubicBezTo>
                      <a:cubicBezTo>
                        <a:pt x="5962" y="672"/>
                        <a:pt x="5962" y="672"/>
                        <a:pt x="5962" y="672"/>
                      </a:cubicBezTo>
                      <a:cubicBezTo>
                        <a:pt x="5998" y="679"/>
                        <a:pt x="5998" y="679"/>
                        <a:pt x="5998" y="679"/>
                      </a:cubicBezTo>
                      <a:cubicBezTo>
                        <a:pt x="5994" y="666"/>
                        <a:pt x="5994" y="666"/>
                        <a:pt x="5994" y="666"/>
                      </a:cubicBezTo>
                      <a:cubicBezTo>
                        <a:pt x="5994" y="666"/>
                        <a:pt x="6045" y="678"/>
                        <a:pt x="6034" y="664"/>
                      </a:cubicBezTo>
                      <a:close/>
                      <a:moveTo>
                        <a:pt x="3574" y="1289"/>
                      </a:moveTo>
                      <a:cubicBezTo>
                        <a:pt x="3574" y="1289"/>
                        <a:pt x="3571" y="1303"/>
                        <a:pt x="3570" y="1306"/>
                      </a:cubicBezTo>
                      <a:cubicBezTo>
                        <a:pt x="3569" y="1309"/>
                        <a:pt x="3556" y="1316"/>
                        <a:pt x="3556" y="1316"/>
                      </a:cubicBezTo>
                      <a:cubicBezTo>
                        <a:pt x="3556" y="1316"/>
                        <a:pt x="3544" y="1322"/>
                        <a:pt x="3540" y="1322"/>
                      </a:cubicBezTo>
                      <a:cubicBezTo>
                        <a:pt x="3535" y="1322"/>
                        <a:pt x="3536" y="1334"/>
                        <a:pt x="3536" y="1334"/>
                      </a:cubicBezTo>
                      <a:cubicBezTo>
                        <a:pt x="3536" y="1334"/>
                        <a:pt x="3534" y="1327"/>
                        <a:pt x="3514" y="1334"/>
                      </a:cubicBezTo>
                      <a:cubicBezTo>
                        <a:pt x="3493" y="1340"/>
                        <a:pt x="3522" y="1350"/>
                        <a:pt x="3522" y="1350"/>
                      </a:cubicBezTo>
                      <a:cubicBezTo>
                        <a:pt x="3522" y="1350"/>
                        <a:pt x="3512" y="1358"/>
                        <a:pt x="3510" y="1367"/>
                      </a:cubicBezTo>
                      <a:cubicBezTo>
                        <a:pt x="3509" y="1377"/>
                        <a:pt x="3494" y="1368"/>
                        <a:pt x="3494" y="1368"/>
                      </a:cubicBezTo>
                      <a:cubicBezTo>
                        <a:pt x="3494" y="1368"/>
                        <a:pt x="3491" y="1382"/>
                        <a:pt x="3471" y="1382"/>
                      </a:cubicBezTo>
                      <a:cubicBezTo>
                        <a:pt x="3450" y="1382"/>
                        <a:pt x="3451" y="1377"/>
                        <a:pt x="3451" y="1377"/>
                      </a:cubicBezTo>
                      <a:cubicBezTo>
                        <a:pt x="3428" y="1371"/>
                        <a:pt x="3428" y="1371"/>
                        <a:pt x="3428" y="1371"/>
                      </a:cubicBezTo>
                      <a:cubicBezTo>
                        <a:pt x="3439" y="1365"/>
                        <a:pt x="3439" y="1365"/>
                        <a:pt x="3439" y="1365"/>
                      </a:cubicBezTo>
                      <a:cubicBezTo>
                        <a:pt x="3461" y="1365"/>
                        <a:pt x="3461" y="1365"/>
                        <a:pt x="3461" y="1365"/>
                      </a:cubicBezTo>
                      <a:cubicBezTo>
                        <a:pt x="3462" y="1360"/>
                        <a:pt x="3462" y="1360"/>
                        <a:pt x="3462" y="1360"/>
                      </a:cubicBezTo>
                      <a:cubicBezTo>
                        <a:pt x="3462" y="1360"/>
                        <a:pt x="3478" y="1360"/>
                        <a:pt x="3485" y="1353"/>
                      </a:cubicBezTo>
                      <a:cubicBezTo>
                        <a:pt x="3491" y="1347"/>
                        <a:pt x="3492" y="1328"/>
                        <a:pt x="3492" y="1328"/>
                      </a:cubicBezTo>
                      <a:cubicBezTo>
                        <a:pt x="3492" y="1328"/>
                        <a:pt x="3496" y="1327"/>
                        <a:pt x="3505" y="1325"/>
                      </a:cubicBezTo>
                      <a:cubicBezTo>
                        <a:pt x="3514" y="1323"/>
                        <a:pt x="3514" y="1307"/>
                        <a:pt x="3514" y="1307"/>
                      </a:cubicBezTo>
                      <a:cubicBezTo>
                        <a:pt x="3514" y="1307"/>
                        <a:pt x="3507" y="1303"/>
                        <a:pt x="3508" y="1297"/>
                      </a:cubicBezTo>
                      <a:cubicBezTo>
                        <a:pt x="3509" y="1292"/>
                        <a:pt x="3528" y="1275"/>
                        <a:pt x="3528" y="1275"/>
                      </a:cubicBezTo>
                      <a:cubicBezTo>
                        <a:pt x="3528" y="1264"/>
                        <a:pt x="3528" y="1264"/>
                        <a:pt x="3528" y="1264"/>
                      </a:cubicBezTo>
                      <a:cubicBezTo>
                        <a:pt x="3542" y="1251"/>
                        <a:pt x="3542" y="1251"/>
                        <a:pt x="3542" y="1251"/>
                      </a:cubicBezTo>
                      <a:cubicBezTo>
                        <a:pt x="3534" y="1240"/>
                        <a:pt x="3534" y="1240"/>
                        <a:pt x="3534" y="1240"/>
                      </a:cubicBezTo>
                      <a:cubicBezTo>
                        <a:pt x="3533" y="1187"/>
                        <a:pt x="3533" y="1187"/>
                        <a:pt x="3533" y="1187"/>
                      </a:cubicBezTo>
                      <a:cubicBezTo>
                        <a:pt x="3533" y="1187"/>
                        <a:pt x="3518" y="1165"/>
                        <a:pt x="3536" y="1160"/>
                      </a:cubicBezTo>
                      <a:cubicBezTo>
                        <a:pt x="3555" y="1156"/>
                        <a:pt x="3551" y="1181"/>
                        <a:pt x="3551" y="1181"/>
                      </a:cubicBezTo>
                      <a:cubicBezTo>
                        <a:pt x="3551" y="1181"/>
                        <a:pt x="3560" y="1188"/>
                        <a:pt x="3564" y="1203"/>
                      </a:cubicBezTo>
                      <a:cubicBezTo>
                        <a:pt x="3569" y="1219"/>
                        <a:pt x="3571" y="1229"/>
                        <a:pt x="3571" y="1229"/>
                      </a:cubicBezTo>
                      <a:cubicBezTo>
                        <a:pt x="3585" y="1248"/>
                        <a:pt x="3585" y="1248"/>
                        <a:pt x="3585" y="1248"/>
                      </a:cubicBezTo>
                      <a:cubicBezTo>
                        <a:pt x="3579" y="1259"/>
                        <a:pt x="3579" y="1259"/>
                        <a:pt x="3579" y="1259"/>
                      </a:cubicBezTo>
                      <a:cubicBezTo>
                        <a:pt x="3579" y="1259"/>
                        <a:pt x="3566" y="1265"/>
                        <a:pt x="3568" y="1272"/>
                      </a:cubicBezTo>
                      <a:cubicBezTo>
                        <a:pt x="3569" y="1280"/>
                        <a:pt x="3585" y="1271"/>
                        <a:pt x="3585" y="1271"/>
                      </a:cubicBezTo>
                      <a:cubicBezTo>
                        <a:pt x="3587" y="1282"/>
                        <a:pt x="3587" y="1282"/>
                        <a:pt x="3587" y="1282"/>
                      </a:cubicBezTo>
                      <a:lnTo>
                        <a:pt x="3574" y="1289"/>
                      </a:lnTo>
                      <a:close/>
                      <a:moveTo>
                        <a:pt x="4656" y="1185"/>
                      </a:moveTo>
                      <a:cubicBezTo>
                        <a:pt x="4650" y="1193"/>
                        <a:pt x="4662" y="1221"/>
                        <a:pt x="4684" y="1223"/>
                      </a:cubicBezTo>
                      <a:cubicBezTo>
                        <a:pt x="4702" y="1225"/>
                        <a:pt x="4662" y="1177"/>
                        <a:pt x="4656" y="1185"/>
                      </a:cubicBezTo>
                      <a:close/>
                      <a:moveTo>
                        <a:pt x="1020" y="0"/>
                      </a:moveTo>
                      <a:cubicBezTo>
                        <a:pt x="986" y="0"/>
                        <a:pt x="986" y="0"/>
                        <a:pt x="986" y="0"/>
                      </a:cubicBezTo>
                      <a:cubicBezTo>
                        <a:pt x="986" y="10"/>
                        <a:pt x="986" y="10"/>
                        <a:pt x="986" y="10"/>
                      </a:cubicBezTo>
                      <a:cubicBezTo>
                        <a:pt x="1007" y="11"/>
                        <a:pt x="1007" y="11"/>
                        <a:pt x="1007" y="11"/>
                      </a:cubicBezTo>
                      <a:cubicBezTo>
                        <a:pt x="1021" y="10"/>
                        <a:pt x="1020" y="0"/>
                        <a:pt x="1020" y="0"/>
                      </a:cubicBezTo>
                      <a:close/>
                      <a:moveTo>
                        <a:pt x="1012" y="37"/>
                      </a:moveTo>
                      <a:cubicBezTo>
                        <a:pt x="1026" y="35"/>
                        <a:pt x="1035" y="23"/>
                        <a:pt x="1017" y="23"/>
                      </a:cubicBezTo>
                      <a:cubicBezTo>
                        <a:pt x="999" y="23"/>
                        <a:pt x="1002" y="38"/>
                        <a:pt x="1012" y="37"/>
                      </a:cubicBezTo>
                      <a:close/>
                      <a:moveTo>
                        <a:pt x="943" y="537"/>
                      </a:moveTo>
                      <a:cubicBezTo>
                        <a:pt x="965" y="542"/>
                        <a:pt x="973" y="535"/>
                        <a:pt x="980" y="531"/>
                      </a:cubicBezTo>
                      <a:cubicBezTo>
                        <a:pt x="987" y="527"/>
                        <a:pt x="993" y="519"/>
                        <a:pt x="993" y="519"/>
                      </a:cubicBezTo>
                      <a:cubicBezTo>
                        <a:pt x="1002" y="518"/>
                        <a:pt x="1002" y="518"/>
                        <a:pt x="1002" y="518"/>
                      </a:cubicBezTo>
                      <a:cubicBezTo>
                        <a:pt x="1002" y="518"/>
                        <a:pt x="994" y="507"/>
                        <a:pt x="968" y="501"/>
                      </a:cubicBezTo>
                      <a:cubicBezTo>
                        <a:pt x="942" y="495"/>
                        <a:pt x="927" y="518"/>
                        <a:pt x="927" y="518"/>
                      </a:cubicBezTo>
                      <a:cubicBezTo>
                        <a:pt x="927" y="521"/>
                        <a:pt x="921" y="533"/>
                        <a:pt x="943" y="537"/>
                      </a:cubicBezTo>
                      <a:close/>
                      <a:moveTo>
                        <a:pt x="996" y="48"/>
                      </a:moveTo>
                      <a:cubicBezTo>
                        <a:pt x="1007" y="61"/>
                        <a:pt x="1000" y="62"/>
                        <a:pt x="1023" y="55"/>
                      </a:cubicBezTo>
                      <a:cubicBezTo>
                        <a:pt x="1045" y="48"/>
                        <a:pt x="1020" y="45"/>
                        <a:pt x="1016" y="45"/>
                      </a:cubicBezTo>
                      <a:cubicBezTo>
                        <a:pt x="1012" y="45"/>
                        <a:pt x="996" y="48"/>
                        <a:pt x="996" y="48"/>
                      </a:cubicBezTo>
                      <a:close/>
                      <a:moveTo>
                        <a:pt x="966" y="65"/>
                      </a:moveTo>
                      <a:cubicBezTo>
                        <a:pt x="976" y="65"/>
                        <a:pt x="1009" y="63"/>
                        <a:pt x="1003" y="62"/>
                      </a:cubicBezTo>
                      <a:cubicBezTo>
                        <a:pt x="997" y="61"/>
                        <a:pt x="985" y="52"/>
                        <a:pt x="985" y="52"/>
                      </a:cubicBezTo>
                      <a:cubicBezTo>
                        <a:pt x="954" y="52"/>
                        <a:pt x="954" y="52"/>
                        <a:pt x="954" y="52"/>
                      </a:cubicBezTo>
                      <a:cubicBezTo>
                        <a:pt x="954" y="52"/>
                        <a:pt x="957" y="65"/>
                        <a:pt x="966" y="65"/>
                      </a:cubicBezTo>
                      <a:close/>
                      <a:moveTo>
                        <a:pt x="893" y="23"/>
                      </a:moveTo>
                      <a:cubicBezTo>
                        <a:pt x="876" y="24"/>
                        <a:pt x="885" y="35"/>
                        <a:pt x="885" y="35"/>
                      </a:cubicBezTo>
                      <a:cubicBezTo>
                        <a:pt x="910" y="30"/>
                        <a:pt x="910" y="21"/>
                        <a:pt x="893" y="23"/>
                      </a:cubicBezTo>
                      <a:close/>
                      <a:moveTo>
                        <a:pt x="940" y="48"/>
                      </a:moveTo>
                      <a:cubicBezTo>
                        <a:pt x="924" y="45"/>
                        <a:pt x="924" y="45"/>
                        <a:pt x="924" y="45"/>
                      </a:cubicBezTo>
                      <a:cubicBezTo>
                        <a:pt x="930" y="61"/>
                        <a:pt x="930" y="61"/>
                        <a:pt x="930" y="61"/>
                      </a:cubicBezTo>
                      <a:lnTo>
                        <a:pt x="940" y="48"/>
                      </a:lnTo>
                      <a:close/>
                      <a:moveTo>
                        <a:pt x="972" y="10"/>
                      </a:moveTo>
                      <a:cubicBezTo>
                        <a:pt x="972" y="27"/>
                        <a:pt x="972" y="27"/>
                        <a:pt x="972" y="27"/>
                      </a:cubicBezTo>
                      <a:cubicBezTo>
                        <a:pt x="995" y="20"/>
                        <a:pt x="995" y="20"/>
                        <a:pt x="995" y="20"/>
                      </a:cubicBezTo>
                      <a:lnTo>
                        <a:pt x="972" y="10"/>
                      </a:lnTo>
                      <a:close/>
                      <a:moveTo>
                        <a:pt x="936" y="31"/>
                      </a:moveTo>
                      <a:cubicBezTo>
                        <a:pt x="936" y="31"/>
                        <a:pt x="931" y="25"/>
                        <a:pt x="924" y="25"/>
                      </a:cubicBezTo>
                      <a:cubicBezTo>
                        <a:pt x="917" y="25"/>
                        <a:pt x="919" y="38"/>
                        <a:pt x="919" y="38"/>
                      </a:cubicBezTo>
                      <a:lnTo>
                        <a:pt x="936" y="31"/>
                      </a:lnTo>
                      <a:close/>
                      <a:moveTo>
                        <a:pt x="957" y="31"/>
                      </a:moveTo>
                      <a:cubicBezTo>
                        <a:pt x="938" y="39"/>
                        <a:pt x="938" y="39"/>
                        <a:pt x="938" y="39"/>
                      </a:cubicBezTo>
                      <a:cubicBezTo>
                        <a:pt x="957" y="39"/>
                        <a:pt x="957" y="39"/>
                        <a:pt x="957" y="39"/>
                      </a:cubicBezTo>
                      <a:lnTo>
                        <a:pt x="957" y="31"/>
                      </a:lnTo>
                      <a:close/>
                      <a:moveTo>
                        <a:pt x="979" y="42"/>
                      </a:moveTo>
                      <a:cubicBezTo>
                        <a:pt x="995" y="47"/>
                        <a:pt x="1009" y="30"/>
                        <a:pt x="990" y="28"/>
                      </a:cubicBezTo>
                      <a:cubicBezTo>
                        <a:pt x="972" y="27"/>
                        <a:pt x="964" y="38"/>
                        <a:pt x="979" y="42"/>
                      </a:cubicBezTo>
                      <a:close/>
                      <a:moveTo>
                        <a:pt x="966" y="23"/>
                      </a:moveTo>
                      <a:cubicBezTo>
                        <a:pt x="965" y="7"/>
                        <a:pt x="965" y="7"/>
                        <a:pt x="965" y="7"/>
                      </a:cubicBezTo>
                      <a:cubicBezTo>
                        <a:pt x="938" y="14"/>
                        <a:pt x="938" y="14"/>
                        <a:pt x="938" y="14"/>
                      </a:cubicBezTo>
                      <a:cubicBezTo>
                        <a:pt x="944" y="24"/>
                        <a:pt x="944" y="24"/>
                        <a:pt x="944" y="24"/>
                      </a:cubicBezTo>
                      <a:lnTo>
                        <a:pt x="966" y="23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5" name="Qatar">
                  <a:extLst>
                    <a:ext uri="{FF2B5EF4-FFF2-40B4-BE49-F238E27FC236}">
                      <a16:creationId xmlns:a16="http://schemas.microsoft.com/office/drawing/2014/main" id="{B84A8186-4BEE-CC28-659B-4D3D3160EAE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37229" y="3291757"/>
                  <a:ext cx="26992" cy="55537"/>
                </a:xfrm>
                <a:custGeom>
                  <a:avLst/>
                  <a:gdLst>
                    <a:gd name="T0" fmla="*/ 16 w 49"/>
                    <a:gd name="T1" fmla="*/ 90 h 98"/>
                    <a:gd name="T2" fmla="*/ 24 w 49"/>
                    <a:gd name="T3" fmla="*/ 98 h 98"/>
                    <a:gd name="T4" fmla="*/ 30 w 49"/>
                    <a:gd name="T5" fmla="*/ 96 h 98"/>
                    <a:gd name="T6" fmla="*/ 30 w 49"/>
                    <a:gd name="T7" fmla="*/ 95 h 98"/>
                    <a:gd name="T8" fmla="*/ 47 w 49"/>
                    <a:gd name="T9" fmla="*/ 35 h 98"/>
                    <a:gd name="T10" fmla="*/ 22 w 49"/>
                    <a:gd name="T11" fmla="*/ 3 h 98"/>
                    <a:gd name="T12" fmla="*/ 9 w 49"/>
                    <a:gd name="T13" fmla="*/ 47 h 98"/>
                    <a:gd name="T14" fmla="*/ 1 w 49"/>
                    <a:gd name="T15" fmla="*/ 84 h 98"/>
                    <a:gd name="T16" fmla="*/ 0 w 49"/>
                    <a:gd name="T17" fmla="*/ 83 h 98"/>
                    <a:gd name="T18" fmla="*/ 6 w 49"/>
                    <a:gd name="T19" fmla="*/ 93 h 98"/>
                    <a:gd name="T20" fmla="*/ 16 w 49"/>
                    <a:gd name="T21" fmla="*/ 9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9" h="98">
                      <a:moveTo>
                        <a:pt x="16" y="90"/>
                      </a:move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0" y="96"/>
                        <a:pt x="30" y="96"/>
                        <a:pt x="30" y="96"/>
                      </a:cubicBezTo>
                      <a:cubicBezTo>
                        <a:pt x="30" y="96"/>
                        <a:pt x="30" y="95"/>
                        <a:pt x="30" y="95"/>
                      </a:cubicBezTo>
                      <a:cubicBezTo>
                        <a:pt x="35" y="86"/>
                        <a:pt x="49" y="56"/>
                        <a:pt x="47" y="35"/>
                      </a:cubicBezTo>
                      <a:cubicBezTo>
                        <a:pt x="45" y="14"/>
                        <a:pt x="31" y="0"/>
                        <a:pt x="22" y="3"/>
                      </a:cubicBezTo>
                      <a:cubicBezTo>
                        <a:pt x="12" y="6"/>
                        <a:pt x="10" y="32"/>
                        <a:pt x="9" y="47"/>
                      </a:cubicBezTo>
                      <a:cubicBezTo>
                        <a:pt x="9" y="62"/>
                        <a:pt x="9" y="83"/>
                        <a:pt x="1" y="84"/>
                      </a:cubicBezTo>
                      <a:cubicBezTo>
                        <a:pt x="1" y="84"/>
                        <a:pt x="1" y="84"/>
                        <a:pt x="0" y="83"/>
                      </a:cubicBezTo>
                      <a:cubicBezTo>
                        <a:pt x="6" y="93"/>
                        <a:pt x="6" y="93"/>
                        <a:pt x="6" y="93"/>
                      </a:cubicBezTo>
                      <a:lnTo>
                        <a:pt x="16" y="9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6" name="Philippines">
                  <a:extLst>
                    <a:ext uri="{FF2B5EF4-FFF2-40B4-BE49-F238E27FC236}">
                      <a16:creationId xmlns:a16="http://schemas.microsoft.com/office/drawing/2014/main" id="{5DD0350E-0A4C-7DD1-78CE-3AA33EA11EC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8712361" y="3518664"/>
                  <a:ext cx="273097" cy="449055"/>
                </a:xfrm>
                <a:custGeom>
                  <a:avLst/>
                  <a:gdLst>
                    <a:gd name="T0" fmla="*/ 475 w 487"/>
                    <a:gd name="T1" fmla="*/ 801 h 801"/>
                    <a:gd name="T2" fmla="*/ 476 w 487"/>
                    <a:gd name="T3" fmla="*/ 763 h 801"/>
                    <a:gd name="T4" fmla="*/ 395 w 487"/>
                    <a:gd name="T5" fmla="*/ 758 h 801"/>
                    <a:gd name="T6" fmla="*/ 187 w 487"/>
                    <a:gd name="T7" fmla="*/ 700 h 801"/>
                    <a:gd name="T8" fmla="*/ 175 w 487"/>
                    <a:gd name="T9" fmla="*/ 693 h 801"/>
                    <a:gd name="T10" fmla="*/ 346 w 487"/>
                    <a:gd name="T11" fmla="*/ 393 h 801"/>
                    <a:gd name="T12" fmla="*/ 408 w 487"/>
                    <a:gd name="T13" fmla="*/ 418 h 801"/>
                    <a:gd name="T14" fmla="*/ 321 w 487"/>
                    <a:gd name="T15" fmla="*/ 337 h 801"/>
                    <a:gd name="T16" fmla="*/ 325 w 487"/>
                    <a:gd name="T17" fmla="*/ 499 h 801"/>
                    <a:gd name="T18" fmla="*/ 301 w 487"/>
                    <a:gd name="T19" fmla="*/ 414 h 801"/>
                    <a:gd name="T20" fmla="*/ 358 w 487"/>
                    <a:gd name="T21" fmla="*/ 492 h 801"/>
                    <a:gd name="T22" fmla="*/ 337 w 487"/>
                    <a:gd name="T23" fmla="*/ 494 h 801"/>
                    <a:gd name="T24" fmla="*/ 360 w 487"/>
                    <a:gd name="T25" fmla="*/ 416 h 801"/>
                    <a:gd name="T26" fmla="*/ 352 w 487"/>
                    <a:gd name="T27" fmla="*/ 436 h 801"/>
                    <a:gd name="T28" fmla="*/ 391 w 487"/>
                    <a:gd name="T29" fmla="*/ 441 h 801"/>
                    <a:gd name="T30" fmla="*/ 103 w 487"/>
                    <a:gd name="T31" fmla="*/ 405 h 801"/>
                    <a:gd name="T32" fmla="*/ 79 w 487"/>
                    <a:gd name="T33" fmla="*/ 472 h 801"/>
                    <a:gd name="T34" fmla="*/ 55 w 487"/>
                    <a:gd name="T35" fmla="*/ 514 h 801"/>
                    <a:gd name="T36" fmla="*/ 31 w 487"/>
                    <a:gd name="T37" fmla="*/ 557 h 801"/>
                    <a:gd name="T38" fmla="*/ 71 w 487"/>
                    <a:gd name="T39" fmla="*/ 503 h 801"/>
                    <a:gd name="T40" fmla="*/ 117 w 487"/>
                    <a:gd name="T41" fmla="*/ 403 h 801"/>
                    <a:gd name="T42" fmla="*/ 259 w 487"/>
                    <a:gd name="T43" fmla="*/ 679 h 801"/>
                    <a:gd name="T44" fmla="*/ 451 w 487"/>
                    <a:gd name="T45" fmla="*/ 560 h 801"/>
                    <a:gd name="T46" fmla="*/ 413 w 487"/>
                    <a:gd name="T47" fmla="*/ 526 h 801"/>
                    <a:gd name="T48" fmla="*/ 362 w 487"/>
                    <a:gd name="T49" fmla="*/ 552 h 801"/>
                    <a:gd name="T50" fmla="*/ 307 w 487"/>
                    <a:gd name="T51" fmla="*/ 568 h 801"/>
                    <a:gd name="T52" fmla="*/ 251 w 487"/>
                    <a:gd name="T53" fmla="*/ 627 h 801"/>
                    <a:gd name="T54" fmla="*/ 287 w 487"/>
                    <a:gd name="T55" fmla="*/ 643 h 801"/>
                    <a:gd name="T56" fmla="*/ 340 w 487"/>
                    <a:gd name="T57" fmla="*/ 657 h 801"/>
                    <a:gd name="T58" fmla="*/ 413 w 487"/>
                    <a:gd name="T59" fmla="*/ 701 h 801"/>
                    <a:gd name="T60" fmla="*/ 430 w 487"/>
                    <a:gd name="T61" fmla="*/ 693 h 801"/>
                    <a:gd name="T62" fmla="*/ 444 w 487"/>
                    <a:gd name="T63" fmla="*/ 676 h 801"/>
                    <a:gd name="T64" fmla="*/ 451 w 487"/>
                    <a:gd name="T65" fmla="*/ 560 h 801"/>
                    <a:gd name="T66" fmla="*/ 286 w 487"/>
                    <a:gd name="T67" fmla="*/ 309 h 801"/>
                    <a:gd name="T68" fmla="*/ 259 w 487"/>
                    <a:gd name="T69" fmla="*/ 240 h 801"/>
                    <a:gd name="T70" fmla="*/ 184 w 487"/>
                    <a:gd name="T71" fmla="*/ 201 h 801"/>
                    <a:gd name="T72" fmla="*/ 193 w 487"/>
                    <a:gd name="T73" fmla="*/ 93 h 801"/>
                    <a:gd name="T74" fmla="*/ 184 w 487"/>
                    <a:gd name="T75" fmla="*/ 16 h 801"/>
                    <a:gd name="T76" fmla="*/ 126 w 487"/>
                    <a:gd name="T77" fmla="*/ 10 h 801"/>
                    <a:gd name="T78" fmla="*/ 100 w 487"/>
                    <a:gd name="T79" fmla="*/ 53 h 801"/>
                    <a:gd name="T80" fmla="*/ 112 w 487"/>
                    <a:gd name="T81" fmla="*/ 109 h 801"/>
                    <a:gd name="T82" fmla="*/ 92 w 487"/>
                    <a:gd name="T83" fmla="*/ 152 h 801"/>
                    <a:gd name="T84" fmla="*/ 135 w 487"/>
                    <a:gd name="T85" fmla="*/ 233 h 801"/>
                    <a:gd name="T86" fmla="*/ 219 w 487"/>
                    <a:gd name="T87" fmla="*/ 274 h 801"/>
                    <a:gd name="T88" fmla="*/ 146 w 487"/>
                    <a:gd name="T89" fmla="*/ 285 h 801"/>
                    <a:gd name="T90" fmla="*/ 197 w 487"/>
                    <a:gd name="T91" fmla="*/ 339 h 801"/>
                    <a:gd name="T92" fmla="*/ 232 w 487"/>
                    <a:gd name="T93" fmla="*/ 434 h 801"/>
                    <a:gd name="T94" fmla="*/ 271 w 487"/>
                    <a:gd name="T95" fmla="*/ 463 h 801"/>
                    <a:gd name="T96" fmla="*/ 273 w 487"/>
                    <a:gd name="T97" fmla="*/ 535 h 801"/>
                    <a:gd name="T98" fmla="*/ 295 w 487"/>
                    <a:gd name="T99" fmla="*/ 431 h 801"/>
                    <a:gd name="T100" fmla="*/ 249 w 487"/>
                    <a:gd name="T101" fmla="*/ 378 h 801"/>
                    <a:gd name="T102" fmla="*/ 232 w 487"/>
                    <a:gd name="T103" fmla="*/ 434 h 8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487" h="801">
                      <a:moveTo>
                        <a:pt x="476" y="763"/>
                      </a:moveTo>
                      <a:cubicBezTo>
                        <a:pt x="472" y="782"/>
                        <a:pt x="472" y="782"/>
                        <a:pt x="472" y="782"/>
                      </a:cubicBezTo>
                      <a:cubicBezTo>
                        <a:pt x="475" y="801"/>
                        <a:pt x="475" y="801"/>
                        <a:pt x="475" y="801"/>
                      </a:cubicBezTo>
                      <a:cubicBezTo>
                        <a:pt x="487" y="791"/>
                        <a:pt x="487" y="791"/>
                        <a:pt x="487" y="791"/>
                      </a:cubicBezTo>
                      <a:cubicBezTo>
                        <a:pt x="487" y="763"/>
                        <a:pt x="487" y="763"/>
                        <a:pt x="487" y="763"/>
                      </a:cubicBezTo>
                      <a:lnTo>
                        <a:pt x="476" y="763"/>
                      </a:lnTo>
                      <a:close/>
                      <a:moveTo>
                        <a:pt x="399" y="785"/>
                      </a:moveTo>
                      <a:cubicBezTo>
                        <a:pt x="410" y="763"/>
                        <a:pt x="410" y="763"/>
                        <a:pt x="410" y="763"/>
                      </a:cubicBezTo>
                      <a:cubicBezTo>
                        <a:pt x="395" y="758"/>
                        <a:pt x="395" y="758"/>
                        <a:pt x="395" y="758"/>
                      </a:cubicBezTo>
                      <a:lnTo>
                        <a:pt x="399" y="785"/>
                      </a:lnTo>
                      <a:close/>
                      <a:moveTo>
                        <a:pt x="175" y="693"/>
                      </a:moveTo>
                      <a:cubicBezTo>
                        <a:pt x="187" y="700"/>
                        <a:pt x="187" y="700"/>
                        <a:pt x="187" y="700"/>
                      </a:cubicBezTo>
                      <a:cubicBezTo>
                        <a:pt x="199" y="682"/>
                        <a:pt x="199" y="682"/>
                        <a:pt x="199" y="682"/>
                      </a:cubicBezTo>
                      <a:cubicBezTo>
                        <a:pt x="182" y="672"/>
                        <a:pt x="182" y="672"/>
                        <a:pt x="182" y="672"/>
                      </a:cubicBezTo>
                      <a:lnTo>
                        <a:pt x="175" y="693"/>
                      </a:lnTo>
                      <a:close/>
                      <a:moveTo>
                        <a:pt x="345" y="372"/>
                      </a:moveTo>
                      <a:cubicBezTo>
                        <a:pt x="370" y="385"/>
                        <a:pt x="370" y="385"/>
                        <a:pt x="370" y="385"/>
                      </a:cubicBezTo>
                      <a:cubicBezTo>
                        <a:pt x="370" y="401"/>
                        <a:pt x="346" y="393"/>
                        <a:pt x="346" y="393"/>
                      </a:cubicBezTo>
                      <a:cubicBezTo>
                        <a:pt x="389" y="427"/>
                        <a:pt x="389" y="427"/>
                        <a:pt x="389" y="427"/>
                      </a:cubicBezTo>
                      <a:cubicBezTo>
                        <a:pt x="391" y="413"/>
                        <a:pt x="391" y="413"/>
                        <a:pt x="391" y="413"/>
                      </a:cubicBezTo>
                      <a:cubicBezTo>
                        <a:pt x="408" y="418"/>
                        <a:pt x="408" y="418"/>
                        <a:pt x="408" y="418"/>
                      </a:cubicBezTo>
                      <a:cubicBezTo>
                        <a:pt x="394" y="395"/>
                        <a:pt x="394" y="395"/>
                        <a:pt x="394" y="395"/>
                      </a:cubicBezTo>
                      <a:cubicBezTo>
                        <a:pt x="394" y="395"/>
                        <a:pt x="391" y="370"/>
                        <a:pt x="379" y="357"/>
                      </a:cubicBezTo>
                      <a:cubicBezTo>
                        <a:pt x="367" y="344"/>
                        <a:pt x="328" y="321"/>
                        <a:pt x="321" y="337"/>
                      </a:cubicBezTo>
                      <a:cubicBezTo>
                        <a:pt x="312" y="357"/>
                        <a:pt x="345" y="372"/>
                        <a:pt x="345" y="372"/>
                      </a:cubicBezTo>
                      <a:close/>
                      <a:moveTo>
                        <a:pt x="318" y="445"/>
                      </a:moveTo>
                      <a:cubicBezTo>
                        <a:pt x="325" y="499"/>
                        <a:pt x="325" y="499"/>
                        <a:pt x="325" y="499"/>
                      </a:cubicBezTo>
                      <a:cubicBezTo>
                        <a:pt x="333" y="449"/>
                        <a:pt x="333" y="449"/>
                        <a:pt x="333" y="449"/>
                      </a:cubicBezTo>
                      <a:cubicBezTo>
                        <a:pt x="316" y="414"/>
                        <a:pt x="316" y="414"/>
                        <a:pt x="316" y="414"/>
                      </a:cubicBezTo>
                      <a:cubicBezTo>
                        <a:pt x="301" y="414"/>
                        <a:pt x="301" y="414"/>
                        <a:pt x="301" y="414"/>
                      </a:cubicBezTo>
                      <a:lnTo>
                        <a:pt x="318" y="445"/>
                      </a:lnTo>
                      <a:close/>
                      <a:moveTo>
                        <a:pt x="337" y="494"/>
                      </a:moveTo>
                      <a:cubicBezTo>
                        <a:pt x="358" y="492"/>
                        <a:pt x="358" y="492"/>
                        <a:pt x="358" y="492"/>
                      </a:cubicBezTo>
                      <a:cubicBezTo>
                        <a:pt x="361" y="475"/>
                        <a:pt x="361" y="475"/>
                        <a:pt x="361" y="475"/>
                      </a:cubicBezTo>
                      <a:cubicBezTo>
                        <a:pt x="343" y="469"/>
                        <a:pt x="343" y="469"/>
                        <a:pt x="343" y="469"/>
                      </a:cubicBezTo>
                      <a:lnTo>
                        <a:pt x="337" y="494"/>
                      </a:lnTo>
                      <a:close/>
                      <a:moveTo>
                        <a:pt x="391" y="441"/>
                      </a:moveTo>
                      <a:cubicBezTo>
                        <a:pt x="372" y="434"/>
                        <a:pt x="372" y="434"/>
                        <a:pt x="372" y="434"/>
                      </a:cubicBezTo>
                      <a:cubicBezTo>
                        <a:pt x="372" y="434"/>
                        <a:pt x="364" y="424"/>
                        <a:pt x="360" y="416"/>
                      </a:cubicBezTo>
                      <a:cubicBezTo>
                        <a:pt x="357" y="408"/>
                        <a:pt x="333" y="413"/>
                        <a:pt x="333" y="413"/>
                      </a:cubicBezTo>
                      <a:cubicBezTo>
                        <a:pt x="336" y="442"/>
                        <a:pt x="336" y="442"/>
                        <a:pt x="336" y="442"/>
                      </a:cubicBezTo>
                      <a:cubicBezTo>
                        <a:pt x="352" y="436"/>
                        <a:pt x="352" y="436"/>
                        <a:pt x="352" y="436"/>
                      </a:cubicBezTo>
                      <a:cubicBezTo>
                        <a:pt x="358" y="452"/>
                        <a:pt x="358" y="452"/>
                        <a:pt x="358" y="452"/>
                      </a:cubicBezTo>
                      <a:cubicBezTo>
                        <a:pt x="391" y="477"/>
                        <a:pt x="391" y="477"/>
                        <a:pt x="391" y="477"/>
                      </a:cubicBezTo>
                      <a:lnTo>
                        <a:pt x="391" y="441"/>
                      </a:lnTo>
                      <a:close/>
                      <a:moveTo>
                        <a:pt x="117" y="403"/>
                      </a:moveTo>
                      <a:cubicBezTo>
                        <a:pt x="107" y="388"/>
                        <a:pt x="107" y="388"/>
                        <a:pt x="107" y="388"/>
                      </a:cubicBezTo>
                      <a:cubicBezTo>
                        <a:pt x="103" y="405"/>
                        <a:pt x="103" y="405"/>
                        <a:pt x="103" y="405"/>
                      </a:cubicBezTo>
                      <a:cubicBezTo>
                        <a:pt x="103" y="405"/>
                        <a:pt x="84" y="421"/>
                        <a:pt x="91" y="436"/>
                      </a:cubicBezTo>
                      <a:cubicBezTo>
                        <a:pt x="98" y="450"/>
                        <a:pt x="115" y="450"/>
                        <a:pt x="105" y="457"/>
                      </a:cubicBezTo>
                      <a:cubicBezTo>
                        <a:pt x="95" y="463"/>
                        <a:pt x="79" y="472"/>
                        <a:pt x="79" y="472"/>
                      </a:cubicBezTo>
                      <a:cubicBezTo>
                        <a:pt x="72" y="490"/>
                        <a:pt x="72" y="490"/>
                        <a:pt x="72" y="490"/>
                      </a:cubicBezTo>
                      <a:cubicBezTo>
                        <a:pt x="57" y="499"/>
                        <a:pt x="57" y="499"/>
                        <a:pt x="57" y="499"/>
                      </a:cubicBezTo>
                      <a:cubicBezTo>
                        <a:pt x="57" y="499"/>
                        <a:pt x="62" y="508"/>
                        <a:pt x="55" y="514"/>
                      </a:cubicBezTo>
                      <a:cubicBezTo>
                        <a:pt x="48" y="521"/>
                        <a:pt x="23" y="532"/>
                        <a:pt x="23" y="532"/>
                      </a:cubicBezTo>
                      <a:cubicBezTo>
                        <a:pt x="23" y="532"/>
                        <a:pt x="0" y="568"/>
                        <a:pt x="11" y="576"/>
                      </a:cubicBezTo>
                      <a:cubicBezTo>
                        <a:pt x="31" y="557"/>
                        <a:pt x="31" y="557"/>
                        <a:pt x="31" y="557"/>
                      </a:cubicBezTo>
                      <a:cubicBezTo>
                        <a:pt x="31" y="557"/>
                        <a:pt x="28" y="542"/>
                        <a:pt x="36" y="542"/>
                      </a:cubicBezTo>
                      <a:cubicBezTo>
                        <a:pt x="45" y="542"/>
                        <a:pt x="55" y="539"/>
                        <a:pt x="62" y="534"/>
                      </a:cubicBezTo>
                      <a:cubicBezTo>
                        <a:pt x="69" y="529"/>
                        <a:pt x="62" y="513"/>
                        <a:pt x="71" y="503"/>
                      </a:cubicBezTo>
                      <a:cubicBezTo>
                        <a:pt x="79" y="493"/>
                        <a:pt x="127" y="478"/>
                        <a:pt x="127" y="467"/>
                      </a:cubicBezTo>
                      <a:cubicBezTo>
                        <a:pt x="127" y="455"/>
                        <a:pt x="117" y="444"/>
                        <a:pt x="115" y="434"/>
                      </a:cubicBezTo>
                      <a:cubicBezTo>
                        <a:pt x="114" y="424"/>
                        <a:pt x="117" y="403"/>
                        <a:pt x="117" y="403"/>
                      </a:cubicBezTo>
                      <a:close/>
                      <a:moveTo>
                        <a:pt x="232" y="684"/>
                      </a:moveTo>
                      <a:cubicBezTo>
                        <a:pt x="257" y="706"/>
                        <a:pt x="257" y="706"/>
                        <a:pt x="257" y="706"/>
                      </a:cubicBezTo>
                      <a:cubicBezTo>
                        <a:pt x="259" y="679"/>
                        <a:pt x="259" y="679"/>
                        <a:pt x="259" y="679"/>
                      </a:cubicBezTo>
                      <a:cubicBezTo>
                        <a:pt x="244" y="668"/>
                        <a:pt x="244" y="668"/>
                        <a:pt x="244" y="668"/>
                      </a:cubicBezTo>
                      <a:lnTo>
                        <a:pt x="232" y="684"/>
                      </a:lnTo>
                      <a:close/>
                      <a:moveTo>
                        <a:pt x="451" y="560"/>
                      </a:moveTo>
                      <a:cubicBezTo>
                        <a:pt x="451" y="560"/>
                        <a:pt x="451" y="529"/>
                        <a:pt x="441" y="524"/>
                      </a:cubicBezTo>
                      <a:cubicBezTo>
                        <a:pt x="430" y="519"/>
                        <a:pt x="405" y="483"/>
                        <a:pt x="396" y="491"/>
                      </a:cubicBezTo>
                      <a:cubicBezTo>
                        <a:pt x="388" y="499"/>
                        <a:pt x="420" y="522"/>
                        <a:pt x="413" y="526"/>
                      </a:cubicBezTo>
                      <a:cubicBezTo>
                        <a:pt x="406" y="529"/>
                        <a:pt x="376" y="532"/>
                        <a:pt x="376" y="532"/>
                      </a:cubicBezTo>
                      <a:cubicBezTo>
                        <a:pt x="376" y="553"/>
                        <a:pt x="376" y="553"/>
                        <a:pt x="376" y="553"/>
                      </a:cubicBezTo>
                      <a:cubicBezTo>
                        <a:pt x="362" y="552"/>
                        <a:pt x="362" y="552"/>
                        <a:pt x="362" y="552"/>
                      </a:cubicBezTo>
                      <a:cubicBezTo>
                        <a:pt x="358" y="567"/>
                        <a:pt x="358" y="567"/>
                        <a:pt x="358" y="567"/>
                      </a:cubicBezTo>
                      <a:cubicBezTo>
                        <a:pt x="341" y="576"/>
                        <a:pt x="341" y="576"/>
                        <a:pt x="341" y="576"/>
                      </a:cubicBezTo>
                      <a:cubicBezTo>
                        <a:pt x="341" y="576"/>
                        <a:pt x="316" y="560"/>
                        <a:pt x="307" y="568"/>
                      </a:cubicBezTo>
                      <a:cubicBezTo>
                        <a:pt x="299" y="576"/>
                        <a:pt x="283" y="604"/>
                        <a:pt x="283" y="604"/>
                      </a:cubicBezTo>
                      <a:cubicBezTo>
                        <a:pt x="283" y="604"/>
                        <a:pt x="273" y="585"/>
                        <a:pt x="268" y="594"/>
                      </a:cubicBezTo>
                      <a:cubicBezTo>
                        <a:pt x="263" y="604"/>
                        <a:pt x="251" y="627"/>
                        <a:pt x="251" y="627"/>
                      </a:cubicBezTo>
                      <a:cubicBezTo>
                        <a:pt x="264" y="640"/>
                        <a:pt x="264" y="640"/>
                        <a:pt x="264" y="640"/>
                      </a:cubicBezTo>
                      <a:cubicBezTo>
                        <a:pt x="278" y="627"/>
                        <a:pt x="278" y="627"/>
                        <a:pt x="278" y="627"/>
                      </a:cubicBezTo>
                      <a:cubicBezTo>
                        <a:pt x="287" y="643"/>
                        <a:pt x="287" y="643"/>
                        <a:pt x="287" y="643"/>
                      </a:cubicBezTo>
                      <a:cubicBezTo>
                        <a:pt x="287" y="643"/>
                        <a:pt x="314" y="621"/>
                        <a:pt x="321" y="621"/>
                      </a:cubicBezTo>
                      <a:cubicBezTo>
                        <a:pt x="328" y="621"/>
                        <a:pt x="350" y="642"/>
                        <a:pt x="350" y="642"/>
                      </a:cubicBezTo>
                      <a:cubicBezTo>
                        <a:pt x="350" y="642"/>
                        <a:pt x="340" y="648"/>
                        <a:pt x="340" y="657"/>
                      </a:cubicBezTo>
                      <a:cubicBezTo>
                        <a:pt x="340" y="665"/>
                        <a:pt x="358" y="701"/>
                        <a:pt x="367" y="704"/>
                      </a:cubicBezTo>
                      <a:cubicBezTo>
                        <a:pt x="376" y="707"/>
                        <a:pt x="400" y="714"/>
                        <a:pt x="400" y="714"/>
                      </a:cubicBezTo>
                      <a:cubicBezTo>
                        <a:pt x="413" y="701"/>
                        <a:pt x="413" y="701"/>
                        <a:pt x="413" y="701"/>
                      </a:cubicBezTo>
                      <a:cubicBezTo>
                        <a:pt x="415" y="717"/>
                        <a:pt x="415" y="717"/>
                        <a:pt x="415" y="717"/>
                      </a:cubicBezTo>
                      <a:cubicBezTo>
                        <a:pt x="429" y="719"/>
                        <a:pt x="429" y="719"/>
                        <a:pt x="429" y="719"/>
                      </a:cubicBezTo>
                      <a:cubicBezTo>
                        <a:pt x="430" y="693"/>
                        <a:pt x="430" y="693"/>
                        <a:pt x="430" y="693"/>
                      </a:cubicBezTo>
                      <a:cubicBezTo>
                        <a:pt x="430" y="693"/>
                        <a:pt x="410" y="671"/>
                        <a:pt x="415" y="658"/>
                      </a:cubicBezTo>
                      <a:cubicBezTo>
                        <a:pt x="420" y="645"/>
                        <a:pt x="427" y="642"/>
                        <a:pt x="427" y="642"/>
                      </a:cubicBezTo>
                      <a:cubicBezTo>
                        <a:pt x="444" y="676"/>
                        <a:pt x="444" y="676"/>
                        <a:pt x="444" y="676"/>
                      </a:cubicBezTo>
                      <a:cubicBezTo>
                        <a:pt x="444" y="676"/>
                        <a:pt x="463" y="650"/>
                        <a:pt x="463" y="634"/>
                      </a:cubicBezTo>
                      <a:cubicBezTo>
                        <a:pt x="463" y="617"/>
                        <a:pt x="451" y="599"/>
                        <a:pt x="451" y="599"/>
                      </a:cubicBezTo>
                      <a:lnTo>
                        <a:pt x="451" y="560"/>
                      </a:lnTo>
                      <a:close/>
                      <a:moveTo>
                        <a:pt x="230" y="258"/>
                      </a:moveTo>
                      <a:cubicBezTo>
                        <a:pt x="248" y="256"/>
                        <a:pt x="255" y="265"/>
                        <a:pt x="259" y="279"/>
                      </a:cubicBezTo>
                      <a:cubicBezTo>
                        <a:pt x="262" y="291"/>
                        <a:pt x="272" y="303"/>
                        <a:pt x="286" y="309"/>
                      </a:cubicBezTo>
                      <a:cubicBezTo>
                        <a:pt x="311" y="322"/>
                        <a:pt x="313" y="261"/>
                        <a:pt x="282" y="264"/>
                      </a:cubicBezTo>
                      <a:cubicBezTo>
                        <a:pt x="281" y="258"/>
                        <a:pt x="286" y="256"/>
                        <a:pt x="288" y="251"/>
                      </a:cubicBezTo>
                      <a:cubicBezTo>
                        <a:pt x="276" y="250"/>
                        <a:pt x="272" y="236"/>
                        <a:pt x="259" y="240"/>
                      </a:cubicBezTo>
                      <a:cubicBezTo>
                        <a:pt x="251" y="257"/>
                        <a:pt x="236" y="236"/>
                        <a:pt x="224" y="236"/>
                      </a:cubicBezTo>
                      <a:cubicBezTo>
                        <a:pt x="208" y="235"/>
                        <a:pt x="201" y="259"/>
                        <a:pt x="188" y="239"/>
                      </a:cubicBezTo>
                      <a:cubicBezTo>
                        <a:pt x="181" y="228"/>
                        <a:pt x="184" y="213"/>
                        <a:pt x="184" y="201"/>
                      </a:cubicBezTo>
                      <a:cubicBezTo>
                        <a:pt x="184" y="189"/>
                        <a:pt x="180" y="170"/>
                        <a:pt x="185" y="159"/>
                      </a:cubicBezTo>
                      <a:cubicBezTo>
                        <a:pt x="192" y="143"/>
                        <a:pt x="203" y="148"/>
                        <a:pt x="202" y="128"/>
                      </a:cubicBezTo>
                      <a:cubicBezTo>
                        <a:pt x="202" y="114"/>
                        <a:pt x="191" y="105"/>
                        <a:pt x="193" y="93"/>
                      </a:cubicBezTo>
                      <a:cubicBezTo>
                        <a:pt x="194" y="80"/>
                        <a:pt x="202" y="64"/>
                        <a:pt x="198" y="50"/>
                      </a:cubicBezTo>
                      <a:cubicBezTo>
                        <a:pt x="195" y="44"/>
                        <a:pt x="188" y="41"/>
                        <a:pt x="185" y="35"/>
                      </a:cubicBezTo>
                      <a:cubicBezTo>
                        <a:pt x="182" y="29"/>
                        <a:pt x="185" y="22"/>
                        <a:pt x="184" y="16"/>
                      </a:cubicBezTo>
                      <a:cubicBezTo>
                        <a:pt x="183" y="11"/>
                        <a:pt x="181" y="0"/>
                        <a:pt x="172" y="0"/>
                      </a:cubicBezTo>
                      <a:cubicBezTo>
                        <a:pt x="167" y="1"/>
                        <a:pt x="165" y="9"/>
                        <a:pt x="162" y="12"/>
                      </a:cubicBezTo>
                      <a:cubicBezTo>
                        <a:pt x="145" y="26"/>
                        <a:pt x="142" y="9"/>
                        <a:pt x="126" y="10"/>
                      </a:cubicBezTo>
                      <a:cubicBezTo>
                        <a:pt x="117" y="13"/>
                        <a:pt x="117" y="13"/>
                        <a:pt x="117" y="13"/>
                      </a:cubicBezTo>
                      <a:cubicBezTo>
                        <a:pt x="114" y="20"/>
                        <a:pt x="117" y="27"/>
                        <a:pt x="115" y="34"/>
                      </a:cubicBezTo>
                      <a:cubicBezTo>
                        <a:pt x="113" y="41"/>
                        <a:pt x="104" y="47"/>
                        <a:pt x="100" y="53"/>
                      </a:cubicBezTo>
                      <a:cubicBezTo>
                        <a:pt x="92" y="65"/>
                        <a:pt x="94" y="57"/>
                        <a:pt x="101" y="69"/>
                      </a:cubicBezTo>
                      <a:cubicBezTo>
                        <a:pt x="104" y="74"/>
                        <a:pt x="108" y="83"/>
                        <a:pt x="110" y="89"/>
                      </a:cubicBezTo>
                      <a:cubicBezTo>
                        <a:pt x="112" y="95"/>
                        <a:pt x="113" y="102"/>
                        <a:pt x="112" y="109"/>
                      </a:cubicBezTo>
                      <a:cubicBezTo>
                        <a:pt x="111" y="116"/>
                        <a:pt x="103" y="122"/>
                        <a:pt x="103" y="127"/>
                      </a:cubicBezTo>
                      <a:cubicBezTo>
                        <a:pt x="103" y="135"/>
                        <a:pt x="114" y="137"/>
                        <a:pt x="110" y="145"/>
                      </a:cubicBezTo>
                      <a:cubicBezTo>
                        <a:pt x="108" y="150"/>
                        <a:pt x="96" y="153"/>
                        <a:pt x="92" y="152"/>
                      </a:cubicBezTo>
                      <a:cubicBezTo>
                        <a:pt x="92" y="146"/>
                        <a:pt x="90" y="140"/>
                        <a:pt x="85" y="138"/>
                      </a:cubicBezTo>
                      <a:cubicBezTo>
                        <a:pt x="84" y="161"/>
                        <a:pt x="87" y="175"/>
                        <a:pt x="103" y="194"/>
                      </a:cubicBezTo>
                      <a:cubicBezTo>
                        <a:pt x="115" y="207"/>
                        <a:pt x="127" y="217"/>
                        <a:pt x="135" y="233"/>
                      </a:cubicBezTo>
                      <a:cubicBezTo>
                        <a:pt x="140" y="245"/>
                        <a:pt x="156" y="275"/>
                        <a:pt x="171" y="274"/>
                      </a:cubicBezTo>
                      <a:cubicBezTo>
                        <a:pt x="181" y="273"/>
                        <a:pt x="185" y="260"/>
                        <a:pt x="196" y="259"/>
                      </a:cubicBezTo>
                      <a:cubicBezTo>
                        <a:pt x="207" y="258"/>
                        <a:pt x="212" y="268"/>
                        <a:pt x="219" y="274"/>
                      </a:cubicBezTo>
                      <a:cubicBezTo>
                        <a:pt x="241" y="293"/>
                        <a:pt x="240" y="275"/>
                        <a:pt x="230" y="258"/>
                      </a:cubicBezTo>
                      <a:close/>
                      <a:moveTo>
                        <a:pt x="182" y="288"/>
                      </a:moveTo>
                      <a:cubicBezTo>
                        <a:pt x="175" y="282"/>
                        <a:pt x="146" y="285"/>
                        <a:pt x="146" y="285"/>
                      </a:cubicBezTo>
                      <a:cubicBezTo>
                        <a:pt x="167" y="313"/>
                        <a:pt x="167" y="313"/>
                        <a:pt x="167" y="313"/>
                      </a:cubicBezTo>
                      <a:cubicBezTo>
                        <a:pt x="180" y="357"/>
                        <a:pt x="180" y="357"/>
                        <a:pt x="180" y="357"/>
                      </a:cubicBezTo>
                      <a:cubicBezTo>
                        <a:pt x="180" y="357"/>
                        <a:pt x="192" y="347"/>
                        <a:pt x="197" y="339"/>
                      </a:cubicBezTo>
                      <a:cubicBezTo>
                        <a:pt x="203" y="331"/>
                        <a:pt x="191" y="315"/>
                        <a:pt x="191" y="315"/>
                      </a:cubicBezTo>
                      <a:cubicBezTo>
                        <a:pt x="191" y="315"/>
                        <a:pt x="189" y="295"/>
                        <a:pt x="182" y="288"/>
                      </a:cubicBezTo>
                      <a:close/>
                      <a:moveTo>
                        <a:pt x="232" y="434"/>
                      </a:moveTo>
                      <a:cubicBezTo>
                        <a:pt x="237" y="444"/>
                        <a:pt x="245" y="454"/>
                        <a:pt x="245" y="454"/>
                      </a:cubicBezTo>
                      <a:cubicBezTo>
                        <a:pt x="245" y="454"/>
                        <a:pt x="261" y="437"/>
                        <a:pt x="266" y="441"/>
                      </a:cubicBezTo>
                      <a:cubicBezTo>
                        <a:pt x="271" y="444"/>
                        <a:pt x="271" y="463"/>
                        <a:pt x="271" y="463"/>
                      </a:cubicBezTo>
                      <a:cubicBezTo>
                        <a:pt x="280" y="472"/>
                        <a:pt x="280" y="472"/>
                        <a:pt x="280" y="472"/>
                      </a:cubicBezTo>
                      <a:cubicBezTo>
                        <a:pt x="280" y="472"/>
                        <a:pt x="257" y="506"/>
                        <a:pt x="257" y="513"/>
                      </a:cubicBezTo>
                      <a:cubicBezTo>
                        <a:pt x="257" y="519"/>
                        <a:pt x="257" y="539"/>
                        <a:pt x="273" y="535"/>
                      </a:cubicBezTo>
                      <a:cubicBezTo>
                        <a:pt x="288" y="532"/>
                        <a:pt x="311" y="527"/>
                        <a:pt x="302" y="513"/>
                      </a:cubicBezTo>
                      <a:cubicBezTo>
                        <a:pt x="293" y="498"/>
                        <a:pt x="292" y="486"/>
                        <a:pt x="300" y="463"/>
                      </a:cubicBezTo>
                      <a:cubicBezTo>
                        <a:pt x="309" y="441"/>
                        <a:pt x="302" y="424"/>
                        <a:pt x="295" y="431"/>
                      </a:cubicBezTo>
                      <a:cubicBezTo>
                        <a:pt x="288" y="437"/>
                        <a:pt x="275" y="445"/>
                        <a:pt x="275" y="437"/>
                      </a:cubicBezTo>
                      <a:cubicBezTo>
                        <a:pt x="275" y="429"/>
                        <a:pt x="295" y="398"/>
                        <a:pt x="283" y="395"/>
                      </a:cubicBezTo>
                      <a:cubicBezTo>
                        <a:pt x="271" y="391"/>
                        <a:pt x="249" y="378"/>
                        <a:pt x="249" y="378"/>
                      </a:cubicBezTo>
                      <a:cubicBezTo>
                        <a:pt x="249" y="378"/>
                        <a:pt x="228" y="373"/>
                        <a:pt x="227" y="380"/>
                      </a:cubicBezTo>
                      <a:cubicBezTo>
                        <a:pt x="225" y="387"/>
                        <a:pt x="239" y="398"/>
                        <a:pt x="239" y="398"/>
                      </a:cubicBezTo>
                      <a:cubicBezTo>
                        <a:pt x="239" y="398"/>
                        <a:pt x="227" y="424"/>
                        <a:pt x="232" y="43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7" name="Papua New Guinea">
                  <a:extLst>
                    <a:ext uri="{FF2B5EF4-FFF2-40B4-BE49-F238E27FC236}">
                      <a16:creationId xmlns:a16="http://schemas.microsoft.com/office/drawing/2014/main" id="{7DD74AC3-B45F-37C2-AE4E-F3EA5FD5499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339532" y="4134328"/>
                  <a:ext cx="409646" cy="274511"/>
                </a:xfrm>
                <a:custGeom>
                  <a:avLst/>
                  <a:gdLst>
                    <a:gd name="T0" fmla="*/ 296 w 730"/>
                    <a:gd name="T1" fmla="*/ 19 h 491"/>
                    <a:gd name="T2" fmla="*/ 331 w 730"/>
                    <a:gd name="T3" fmla="*/ 7 h 491"/>
                    <a:gd name="T4" fmla="*/ 521 w 730"/>
                    <a:gd name="T5" fmla="*/ 171 h 491"/>
                    <a:gd name="T6" fmla="*/ 476 w 730"/>
                    <a:gd name="T7" fmla="*/ 209 h 491"/>
                    <a:gd name="T8" fmla="*/ 404 w 730"/>
                    <a:gd name="T9" fmla="*/ 228 h 491"/>
                    <a:gd name="T10" fmla="*/ 398 w 730"/>
                    <a:gd name="T11" fmla="*/ 257 h 491"/>
                    <a:gd name="T12" fmla="*/ 474 w 730"/>
                    <a:gd name="T13" fmla="*/ 251 h 491"/>
                    <a:gd name="T14" fmla="*/ 523 w 730"/>
                    <a:gd name="T15" fmla="*/ 228 h 491"/>
                    <a:gd name="T16" fmla="*/ 536 w 730"/>
                    <a:gd name="T17" fmla="*/ 206 h 491"/>
                    <a:gd name="T18" fmla="*/ 555 w 730"/>
                    <a:gd name="T19" fmla="*/ 140 h 491"/>
                    <a:gd name="T20" fmla="*/ 564 w 730"/>
                    <a:gd name="T21" fmla="*/ 94 h 491"/>
                    <a:gd name="T22" fmla="*/ 520 w 730"/>
                    <a:gd name="T23" fmla="*/ 58 h 491"/>
                    <a:gd name="T24" fmla="*/ 494 w 730"/>
                    <a:gd name="T25" fmla="*/ 31 h 491"/>
                    <a:gd name="T26" fmla="*/ 516 w 730"/>
                    <a:gd name="T27" fmla="*/ 69 h 491"/>
                    <a:gd name="T28" fmla="*/ 576 w 730"/>
                    <a:gd name="T29" fmla="*/ 122 h 491"/>
                    <a:gd name="T30" fmla="*/ 599 w 730"/>
                    <a:gd name="T31" fmla="*/ 131 h 491"/>
                    <a:gd name="T32" fmla="*/ 728 w 730"/>
                    <a:gd name="T33" fmla="*/ 249 h 491"/>
                    <a:gd name="T34" fmla="*/ 664 w 730"/>
                    <a:gd name="T35" fmla="*/ 185 h 491"/>
                    <a:gd name="T36" fmla="*/ 670 w 730"/>
                    <a:gd name="T37" fmla="*/ 225 h 491"/>
                    <a:gd name="T38" fmla="*/ 730 w 730"/>
                    <a:gd name="T39" fmla="*/ 300 h 491"/>
                    <a:gd name="T40" fmla="*/ 17 w 730"/>
                    <a:gd name="T41" fmla="*/ 401 h 491"/>
                    <a:gd name="T42" fmla="*/ 17 w 730"/>
                    <a:gd name="T43" fmla="*/ 401 h 491"/>
                    <a:gd name="T44" fmla="*/ 452 w 730"/>
                    <a:gd name="T45" fmla="*/ 453 h 491"/>
                    <a:gd name="T46" fmla="*/ 437 w 730"/>
                    <a:gd name="T47" fmla="*/ 426 h 491"/>
                    <a:gd name="T48" fmla="*/ 408 w 730"/>
                    <a:gd name="T49" fmla="*/ 388 h 491"/>
                    <a:gd name="T50" fmla="*/ 374 w 730"/>
                    <a:gd name="T51" fmla="*/ 375 h 491"/>
                    <a:gd name="T52" fmla="*/ 357 w 730"/>
                    <a:gd name="T53" fmla="*/ 337 h 491"/>
                    <a:gd name="T54" fmla="*/ 304 w 730"/>
                    <a:gd name="T55" fmla="*/ 274 h 491"/>
                    <a:gd name="T56" fmla="*/ 308 w 730"/>
                    <a:gd name="T57" fmla="*/ 220 h 491"/>
                    <a:gd name="T58" fmla="*/ 256 w 730"/>
                    <a:gd name="T59" fmla="*/ 169 h 491"/>
                    <a:gd name="T60" fmla="*/ 200 w 730"/>
                    <a:gd name="T61" fmla="*/ 113 h 491"/>
                    <a:gd name="T62" fmla="*/ 151 w 730"/>
                    <a:gd name="T63" fmla="*/ 91 h 491"/>
                    <a:gd name="T64" fmla="*/ 49 w 730"/>
                    <a:gd name="T65" fmla="*/ 49 h 491"/>
                    <a:gd name="T66" fmla="*/ 6 w 730"/>
                    <a:gd name="T67" fmla="*/ 36 h 491"/>
                    <a:gd name="T68" fmla="*/ 30 w 730"/>
                    <a:gd name="T69" fmla="*/ 155 h 491"/>
                    <a:gd name="T70" fmla="*/ 27 w 730"/>
                    <a:gd name="T71" fmla="*/ 253 h 491"/>
                    <a:gd name="T72" fmla="*/ 26 w 730"/>
                    <a:gd name="T73" fmla="*/ 282 h 491"/>
                    <a:gd name="T74" fmla="*/ 15 w 730"/>
                    <a:gd name="T75" fmla="*/ 353 h 491"/>
                    <a:gd name="T76" fmla="*/ 17 w 730"/>
                    <a:gd name="T77" fmla="*/ 401 h 491"/>
                    <a:gd name="T78" fmla="*/ 88 w 730"/>
                    <a:gd name="T79" fmla="*/ 408 h 491"/>
                    <a:gd name="T80" fmla="*/ 71 w 730"/>
                    <a:gd name="T81" fmla="*/ 347 h 491"/>
                    <a:gd name="T82" fmla="*/ 130 w 730"/>
                    <a:gd name="T83" fmla="*/ 329 h 491"/>
                    <a:gd name="T84" fmla="*/ 146 w 730"/>
                    <a:gd name="T85" fmla="*/ 313 h 491"/>
                    <a:gd name="T86" fmla="*/ 185 w 730"/>
                    <a:gd name="T87" fmla="*/ 311 h 491"/>
                    <a:gd name="T88" fmla="*/ 258 w 730"/>
                    <a:gd name="T89" fmla="*/ 342 h 491"/>
                    <a:gd name="T90" fmla="*/ 302 w 730"/>
                    <a:gd name="T91" fmla="*/ 398 h 491"/>
                    <a:gd name="T92" fmla="*/ 418 w 730"/>
                    <a:gd name="T93" fmla="*/ 464 h 491"/>
                    <a:gd name="T94" fmla="*/ 450 w 730"/>
                    <a:gd name="T95" fmla="*/ 464 h 4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30" h="491">
                      <a:moveTo>
                        <a:pt x="331" y="7"/>
                      </a:moveTo>
                      <a:cubicBezTo>
                        <a:pt x="318" y="0"/>
                        <a:pt x="296" y="19"/>
                        <a:pt x="296" y="19"/>
                      </a:cubicBezTo>
                      <a:cubicBezTo>
                        <a:pt x="315" y="31"/>
                        <a:pt x="315" y="31"/>
                        <a:pt x="315" y="31"/>
                      </a:cubicBezTo>
                      <a:cubicBezTo>
                        <a:pt x="333" y="35"/>
                        <a:pt x="344" y="14"/>
                        <a:pt x="331" y="7"/>
                      </a:cubicBezTo>
                      <a:close/>
                      <a:moveTo>
                        <a:pt x="508" y="150"/>
                      </a:moveTo>
                      <a:cubicBezTo>
                        <a:pt x="499" y="159"/>
                        <a:pt x="521" y="171"/>
                        <a:pt x="521" y="171"/>
                      </a:cubicBezTo>
                      <a:cubicBezTo>
                        <a:pt x="523" y="184"/>
                        <a:pt x="523" y="184"/>
                        <a:pt x="523" y="184"/>
                      </a:cubicBezTo>
                      <a:cubicBezTo>
                        <a:pt x="476" y="209"/>
                        <a:pt x="476" y="209"/>
                        <a:pt x="476" y="209"/>
                      </a:cubicBezTo>
                      <a:cubicBezTo>
                        <a:pt x="476" y="209"/>
                        <a:pt x="452" y="207"/>
                        <a:pt x="436" y="210"/>
                      </a:cubicBezTo>
                      <a:cubicBezTo>
                        <a:pt x="420" y="213"/>
                        <a:pt x="414" y="222"/>
                        <a:pt x="404" y="228"/>
                      </a:cubicBezTo>
                      <a:cubicBezTo>
                        <a:pt x="394" y="234"/>
                        <a:pt x="388" y="222"/>
                        <a:pt x="382" y="234"/>
                      </a:cubicBezTo>
                      <a:cubicBezTo>
                        <a:pt x="398" y="257"/>
                        <a:pt x="398" y="257"/>
                        <a:pt x="398" y="257"/>
                      </a:cubicBezTo>
                      <a:cubicBezTo>
                        <a:pt x="463" y="260"/>
                        <a:pt x="463" y="260"/>
                        <a:pt x="463" y="260"/>
                      </a:cubicBezTo>
                      <a:cubicBezTo>
                        <a:pt x="474" y="251"/>
                        <a:pt x="474" y="251"/>
                        <a:pt x="474" y="251"/>
                      </a:cubicBezTo>
                      <a:cubicBezTo>
                        <a:pt x="474" y="251"/>
                        <a:pt x="486" y="251"/>
                        <a:pt x="499" y="250"/>
                      </a:cubicBezTo>
                      <a:cubicBezTo>
                        <a:pt x="513" y="248"/>
                        <a:pt x="523" y="228"/>
                        <a:pt x="523" y="228"/>
                      </a:cubicBezTo>
                      <a:cubicBezTo>
                        <a:pt x="542" y="223"/>
                        <a:pt x="542" y="223"/>
                        <a:pt x="542" y="223"/>
                      </a:cubicBezTo>
                      <a:cubicBezTo>
                        <a:pt x="536" y="206"/>
                        <a:pt x="536" y="206"/>
                        <a:pt x="536" y="206"/>
                      </a:cubicBezTo>
                      <a:cubicBezTo>
                        <a:pt x="554" y="209"/>
                        <a:pt x="554" y="209"/>
                        <a:pt x="554" y="209"/>
                      </a:cubicBezTo>
                      <a:cubicBezTo>
                        <a:pt x="554" y="209"/>
                        <a:pt x="562" y="157"/>
                        <a:pt x="555" y="140"/>
                      </a:cubicBezTo>
                      <a:cubicBezTo>
                        <a:pt x="548" y="122"/>
                        <a:pt x="517" y="141"/>
                        <a:pt x="508" y="150"/>
                      </a:cubicBezTo>
                      <a:close/>
                      <a:moveTo>
                        <a:pt x="564" y="94"/>
                      </a:moveTo>
                      <a:cubicBezTo>
                        <a:pt x="555" y="94"/>
                        <a:pt x="555" y="94"/>
                        <a:pt x="555" y="94"/>
                      </a:cubicBezTo>
                      <a:cubicBezTo>
                        <a:pt x="555" y="94"/>
                        <a:pt x="524" y="60"/>
                        <a:pt x="520" y="58"/>
                      </a:cubicBezTo>
                      <a:cubicBezTo>
                        <a:pt x="516" y="55"/>
                        <a:pt x="508" y="55"/>
                        <a:pt x="508" y="55"/>
                      </a:cubicBezTo>
                      <a:cubicBezTo>
                        <a:pt x="494" y="31"/>
                        <a:pt x="494" y="31"/>
                        <a:pt x="494" y="31"/>
                      </a:cubicBezTo>
                      <a:cubicBezTo>
                        <a:pt x="486" y="63"/>
                        <a:pt x="486" y="63"/>
                        <a:pt x="486" y="63"/>
                      </a:cubicBezTo>
                      <a:cubicBezTo>
                        <a:pt x="516" y="69"/>
                        <a:pt x="516" y="69"/>
                        <a:pt x="516" y="69"/>
                      </a:cubicBezTo>
                      <a:cubicBezTo>
                        <a:pt x="516" y="69"/>
                        <a:pt x="539" y="96"/>
                        <a:pt x="545" y="102"/>
                      </a:cubicBezTo>
                      <a:cubicBezTo>
                        <a:pt x="551" y="107"/>
                        <a:pt x="571" y="109"/>
                        <a:pt x="576" y="122"/>
                      </a:cubicBezTo>
                      <a:cubicBezTo>
                        <a:pt x="580" y="135"/>
                        <a:pt x="562" y="179"/>
                        <a:pt x="589" y="181"/>
                      </a:cubicBezTo>
                      <a:cubicBezTo>
                        <a:pt x="604" y="182"/>
                        <a:pt x="612" y="150"/>
                        <a:pt x="599" y="131"/>
                      </a:cubicBezTo>
                      <a:cubicBezTo>
                        <a:pt x="586" y="112"/>
                        <a:pt x="564" y="94"/>
                        <a:pt x="564" y="94"/>
                      </a:cubicBezTo>
                      <a:close/>
                      <a:moveTo>
                        <a:pt x="728" y="249"/>
                      </a:moveTo>
                      <a:cubicBezTo>
                        <a:pt x="687" y="202"/>
                        <a:pt x="687" y="202"/>
                        <a:pt x="687" y="202"/>
                      </a:cubicBezTo>
                      <a:cubicBezTo>
                        <a:pt x="687" y="202"/>
                        <a:pt x="683" y="177"/>
                        <a:pt x="664" y="185"/>
                      </a:cubicBezTo>
                      <a:cubicBezTo>
                        <a:pt x="653" y="190"/>
                        <a:pt x="659" y="206"/>
                        <a:pt x="659" y="206"/>
                      </a:cubicBezTo>
                      <a:cubicBezTo>
                        <a:pt x="670" y="225"/>
                        <a:pt x="670" y="225"/>
                        <a:pt x="670" y="225"/>
                      </a:cubicBezTo>
                      <a:cubicBezTo>
                        <a:pt x="687" y="257"/>
                        <a:pt x="687" y="257"/>
                        <a:pt x="687" y="257"/>
                      </a:cubicBezTo>
                      <a:cubicBezTo>
                        <a:pt x="730" y="300"/>
                        <a:pt x="730" y="300"/>
                        <a:pt x="730" y="300"/>
                      </a:cubicBezTo>
                      <a:lnTo>
                        <a:pt x="728" y="249"/>
                      </a:lnTo>
                      <a:close/>
                      <a:moveTo>
                        <a:pt x="17" y="401"/>
                      </a:moveTo>
                      <a:cubicBezTo>
                        <a:pt x="17" y="401"/>
                        <a:pt x="17" y="401"/>
                        <a:pt x="17" y="401"/>
                      </a:cubicBezTo>
                      <a:cubicBezTo>
                        <a:pt x="17" y="401"/>
                        <a:pt x="17" y="401"/>
                        <a:pt x="17" y="401"/>
                      </a:cubicBezTo>
                      <a:cubicBezTo>
                        <a:pt x="17" y="401"/>
                        <a:pt x="17" y="401"/>
                        <a:pt x="17" y="401"/>
                      </a:cubicBezTo>
                      <a:close/>
                      <a:moveTo>
                        <a:pt x="452" y="453"/>
                      </a:moveTo>
                      <a:cubicBezTo>
                        <a:pt x="425" y="436"/>
                        <a:pt x="425" y="436"/>
                        <a:pt x="425" y="436"/>
                      </a:cubicBezTo>
                      <a:cubicBezTo>
                        <a:pt x="437" y="426"/>
                        <a:pt x="437" y="426"/>
                        <a:pt x="437" y="426"/>
                      </a:cubicBezTo>
                      <a:cubicBezTo>
                        <a:pt x="437" y="426"/>
                        <a:pt x="413" y="425"/>
                        <a:pt x="406" y="418"/>
                      </a:cubicBezTo>
                      <a:cubicBezTo>
                        <a:pt x="400" y="411"/>
                        <a:pt x="408" y="397"/>
                        <a:pt x="408" y="388"/>
                      </a:cubicBezTo>
                      <a:cubicBezTo>
                        <a:pt x="408" y="379"/>
                        <a:pt x="375" y="396"/>
                        <a:pt x="375" y="396"/>
                      </a:cubicBezTo>
                      <a:cubicBezTo>
                        <a:pt x="374" y="375"/>
                        <a:pt x="374" y="375"/>
                        <a:pt x="374" y="375"/>
                      </a:cubicBezTo>
                      <a:cubicBezTo>
                        <a:pt x="357" y="367"/>
                        <a:pt x="357" y="367"/>
                        <a:pt x="357" y="367"/>
                      </a:cubicBezTo>
                      <a:cubicBezTo>
                        <a:pt x="357" y="337"/>
                        <a:pt x="357" y="337"/>
                        <a:pt x="357" y="337"/>
                      </a:cubicBezTo>
                      <a:cubicBezTo>
                        <a:pt x="321" y="311"/>
                        <a:pt x="321" y="311"/>
                        <a:pt x="321" y="311"/>
                      </a:cubicBezTo>
                      <a:cubicBezTo>
                        <a:pt x="304" y="274"/>
                        <a:pt x="304" y="274"/>
                        <a:pt x="304" y="274"/>
                      </a:cubicBezTo>
                      <a:cubicBezTo>
                        <a:pt x="304" y="274"/>
                        <a:pt x="342" y="261"/>
                        <a:pt x="342" y="245"/>
                      </a:cubicBezTo>
                      <a:cubicBezTo>
                        <a:pt x="342" y="229"/>
                        <a:pt x="308" y="220"/>
                        <a:pt x="308" y="220"/>
                      </a:cubicBezTo>
                      <a:cubicBezTo>
                        <a:pt x="306" y="216"/>
                        <a:pt x="256" y="202"/>
                        <a:pt x="256" y="202"/>
                      </a:cubicBezTo>
                      <a:cubicBezTo>
                        <a:pt x="256" y="202"/>
                        <a:pt x="252" y="189"/>
                        <a:pt x="256" y="169"/>
                      </a:cubicBezTo>
                      <a:cubicBezTo>
                        <a:pt x="260" y="150"/>
                        <a:pt x="232" y="147"/>
                        <a:pt x="232" y="147"/>
                      </a:cubicBezTo>
                      <a:cubicBezTo>
                        <a:pt x="200" y="113"/>
                        <a:pt x="200" y="113"/>
                        <a:pt x="200" y="113"/>
                      </a:cubicBezTo>
                      <a:cubicBezTo>
                        <a:pt x="175" y="114"/>
                        <a:pt x="175" y="114"/>
                        <a:pt x="175" y="114"/>
                      </a:cubicBezTo>
                      <a:cubicBezTo>
                        <a:pt x="151" y="91"/>
                        <a:pt x="151" y="91"/>
                        <a:pt x="151" y="91"/>
                      </a:cubicBezTo>
                      <a:cubicBezTo>
                        <a:pt x="131" y="87"/>
                        <a:pt x="131" y="87"/>
                        <a:pt x="131" y="87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33" y="55"/>
                        <a:pt x="33" y="55"/>
                        <a:pt x="33" y="55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32" y="55"/>
                        <a:pt x="32" y="55"/>
                        <a:pt x="32" y="55"/>
                      </a:cubicBezTo>
                      <a:cubicBezTo>
                        <a:pt x="32" y="75"/>
                        <a:pt x="30" y="139"/>
                        <a:pt x="30" y="155"/>
                      </a:cubicBezTo>
                      <a:cubicBezTo>
                        <a:pt x="30" y="175"/>
                        <a:pt x="22" y="197"/>
                        <a:pt x="24" y="212"/>
                      </a:cubicBezTo>
                      <a:cubicBezTo>
                        <a:pt x="26" y="227"/>
                        <a:pt x="27" y="253"/>
                        <a:pt x="27" y="253"/>
                      </a:cubicBezTo>
                      <a:cubicBezTo>
                        <a:pt x="27" y="253"/>
                        <a:pt x="0" y="271"/>
                        <a:pt x="11" y="277"/>
                      </a:cubicBezTo>
                      <a:cubicBezTo>
                        <a:pt x="22" y="284"/>
                        <a:pt x="26" y="282"/>
                        <a:pt x="26" y="282"/>
                      </a:cubicBezTo>
                      <a:cubicBezTo>
                        <a:pt x="26" y="282"/>
                        <a:pt x="23" y="319"/>
                        <a:pt x="21" y="327"/>
                      </a:cubicBezTo>
                      <a:cubicBezTo>
                        <a:pt x="19" y="334"/>
                        <a:pt x="15" y="353"/>
                        <a:pt x="15" y="353"/>
                      </a:cubicBezTo>
                      <a:cubicBezTo>
                        <a:pt x="19" y="369"/>
                        <a:pt x="19" y="369"/>
                        <a:pt x="19" y="369"/>
                      </a:cubicBezTo>
                      <a:cubicBezTo>
                        <a:pt x="17" y="401"/>
                        <a:pt x="17" y="401"/>
                        <a:pt x="17" y="401"/>
                      </a:cubicBezTo>
                      <a:cubicBezTo>
                        <a:pt x="34" y="405"/>
                        <a:pt x="75" y="396"/>
                        <a:pt x="75" y="396"/>
                      </a:cubicBezTo>
                      <a:cubicBezTo>
                        <a:pt x="88" y="408"/>
                        <a:pt x="88" y="408"/>
                        <a:pt x="88" y="408"/>
                      </a:cubicBezTo>
                      <a:cubicBezTo>
                        <a:pt x="88" y="408"/>
                        <a:pt x="114" y="398"/>
                        <a:pt x="126" y="388"/>
                      </a:cubicBezTo>
                      <a:cubicBezTo>
                        <a:pt x="138" y="377"/>
                        <a:pt x="71" y="347"/>
                        <a:pt x="71" y="347"/>
                      </a:cubicBezTo>
                      <a:cubicBezTo>
                        <a:pt x="71" y="347"/>
                        <a:pt x="126" y="355"/>
                        <a:pt x="138" y="353"/>
                      </a:cubicBezTo>
                      <a:cubicBezTo>
                        <a:pt x="150" y="350"/>
                        <a:pt x="130" y="329"/>
                        <a:pt x="130" y="329"/>
                      </a:cubicBezTo>
                      <a:cubicBezTo>
                        <a:pt x="130" y="329"/>
                        <a:pt x="146" y="341"/>
                        <a:pt x="151" y="338"/>
                      </a:cubicBezTo>
                      <a:cubicBezTo>
                        <a:pt x="156" y="336"/>
                        <a:pt x="146" y="313"/>
                        <a:pt x="146" y="313"/>
                      </a:cubicBezTo>
                      <a:cubicBezTo>
                        <a:pt x="146" y="313"/>
                        <a:pt x="156" y="322"/>
                        <a:pt x="163" y="324"/>
                      </a:cubicBezTo>
                      <a:cubicBezTo>
                        <a:pt x="169" y="325"/>
                        <a:pt x="179" y="312"/>
                        <a:pt x="185" y="311"/>
                      </a:cubicBezTo>
                      <a:cubicBezTo>
                        <a:pt x="192" y="309"/>
                        <a:pt x="202" y="329"/>
                        <a:pt x="209" y="333"/>
                      </a:cubicBezTo>
                      <a:cubicBezTo>
                        <a:pt x="215" y="337"/>
                        <a:pt x="240" y="332"/>
                        <a:pt x="258" y="342"/>
                      </a:cubicBezTo>
                      <a:cubicBezTo>
                        <a:pt x="277" y="353"/>
                        <a:pt x="270" y="376"/>
                        <a:pt x="277" y="388"/>
                      </a:cubicBezTo>
                      <a:cubicBezTo>
                        <a:pt x="283" y="400"/>
                        <a:pt x="296" y="392"/>
                        <a:pt x="302" y="398"/>
                      </a:cubicBezTo>
                      <a:cubicBezTo>
                        <a:pt x="307" y="405"/>
                        <a:pt x="316" y="446"/>
                        <a:pt x="330" y="456"/>
                      </a:cubicBezTo>
                      <a:cubicBezTo>
                        <a:pt x="345" y="466"/>
                        <a:pt x="409" y="460"/>
                        <a:pt x="418" y="464"/>
                      </a:cubicBezTo>
                      <a:cubicBezTo>
                        <a:pt x="427" y="468"/>
                        <a:pt x="447" y="491"/>
                        <a:pt x="459" y="491"/>
                      </a:cubicBezTo>
                      <a:cubicBezTo>
                        <a:pt x="471" y="491"/>
                        <a:pt x="450" y="464"/>
                        <a:pt x="450" y="464"/>
                      </a:cubicBezTo>
                      <a:lnTo>
                        <a:pt x="452" y="453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8" name="Pakistan">
                  <a:extLst>
                    <a:ext uri="{FF2B5EF4-FFF2-40B4-BE49-F238E27FC236}">
                      <a16:creationId xmlns:a16="http://schemas.microsoft.com/office/drawing/2014/main" id="{F6DE793E-B1A8-3972-6580-53F19D29E2C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180158" y="2968056"/>
                  <a:ext cx="392180" cy="395105"/>
                </a:xfrm>
                <a:custGeom>
                  <a:avLst/>
                  <a:gdLst>
                    <a:gd name="T0" fmla="*/ 639 w 701"/>
                    <a:gd name="T1" fmla="*/ 64 h 705"/>
                    <a:gd name="T2" fmla="*/ 584 w 701"/>
                    <a:gd name="T3" fmla="*/ 14 h 705"/>
                    <a:gd name="T4" fmla="*/ 541 w 701"/>
                    <a:gd name="T5" fmla="*/ 0 h 705"/>
                    <a:gd name="T6" fmla="*/ 479 w 701"/>
                    <a:gd name="T7" fmla="*/ 10 h 705"/>
                    <a:gd name="T8" fmla="*/ 408 w 701"/>
                    <a:gd name="T9" fmla="*/ 46 h 705"/>
                    <a:gd name="T10" fmla="*/ 433 w 701"/>
                    <a:gd name="T11" fmla="*/ 110 h 705"/>
                    <a:gd name="T12" fmla="*/ 418 w 701"/>
                    <a:gd name="T13" fmla="*/ 160 h 705"/>
                    <a:gd name="T14" fmla="*/ 395 w 701"/>
                    <a:gd name="T15" fmla="*/ 168 h 705"/>
                    <a:gd name="T16" fmla="*/ 370 w 701"/>
                    <a:gd name="T17" fmla="*/ 171 h 705"/>
                    <a:gd name="T18" fmla="*/ 401 w 701"/>
                    <a:gd name="T19" fmla="*/ 197 h 705"/>
                    <a:gd name="T20" fmla="*/ 363 w 701"/>
                    <a:gd name="T21" fmla="*/ 238 h 705"/>
                    <a:gd name="T22" fmla="*/ 348 w 701"/>
                    <a:gd name="T23" fmla="*/ 293 h 705"/>
                    <a:gd name="T24" fmla="*/ 305 w 701"/>
                    <a:gd name="T25" fmla="*/ 289 h 705"/>
                    <a:gd name="T26" fmla="*/ 266 w 701"/>
                    <a:gd name="T27" fmla="*/ 312 h 705"/>
                    <a:gd name="T28" fmla="*/ 242 w 701"/>
                    <a:gd name="T29" fmla="*/ 355 h 705"/>
                    <a:gd name="T30" fmla="*/ 157 w 701"/>
                    <a:gd name="T31" fmla="*/ 404 h 705"/>
                    <a:gd name="T32" fmla="*/ 100 w 701"/>
                    <a:gd name="T33" fmla="*/ 405 h 705"/>
                    <a:gd name="T34" fmla="*/ 0 w 701"/>
                    <a:gd name="T35" fmla="*/ 389 h 705"/>
                    <a:gd name="T36" fmla="*/ 77 w 701"/>
                    <a:gd name="T37" fmla="*/ 462 h 705"/>
                    <a:gd name="T38" fmla="*/ 98 w 701"/>
                    <a:gd name="T39" fmla="*/ 492 h 705"/>
                    <a:gd name="T40" fmla="*/ 120 w 701"/>
                    <a:gd name="T41" fmla="*/ 529 h 705"/>
                    <a:gd name="T42" fmla="*/ 85 w 701"/>
                    <a:gd name="T43" fmla="*/ 575 h 705"/>
                    <a:gd name="T44" fmla="*/ 60 w 701"/>
                    <a:gd name="T45" fmla="*/ 600 h 705"/>
                    <a:gd name="T46" fmla="*/ 110 w 701"/>
                    <a:gd name="T47" fmla="*/ 635 h 705"/>
                    <a:gd name="T48" fmla="*/ 208 w 701"/>
                    <a:gd name="T49" fmla="*/ 615 h 705"/>
                    <a:gd name="T50" fmla="*/ 299 w 701"/>
                    <a:gd name="T51" fmla="*/ 662 h 705"/>
                    <a:gd name="T52" fmla="*/ 381 w 701"/>
                    <a:gd name="T53" fmla="*/ 705 h 705"/>
                    <a:gd name="T54" fmla="*/ 416 w 701"/>
                    <a:gd name="T55" fmla="*/ 689 h 705"/>
                    <a:gd name="T56" fmla="*/ 467 w 701"/>
                    <a:gd name="T57" fmla="*/ 679 h 705"/>
                    <a:gd name="T58" fmla="*/ 492 w 701"/>
                    <a:gd name="T59" fmla="*/ 654 h 705"/>
                    <a:gd name="T60" fmla="*/ 455 w 701"/>
                    <a:gd name="T61" fmla="*/ 604 h 705"/>
                    <a:gd name="T62" fmla="*/ 447 w 701"/>
                    <a:gd name="T63" fmla="*/ 559 h 705"/>
                    <a:gd name="T64" fmla="*/ 423 w 701"/>
                    <a:gd name="T65" fmla="*/ 522 h 705"/>
                    <a:gd name="T66" fmla="*/ 470 w 701"/>
                    <a:gd name="T67" fmla="*/ 500 h 705"/>
                    <a:gd name="T68" fmla="*/ 518 w 701"/>
                    <a:gd name="T69" fmla="*/ 472 h 705"/>
                    <a:gd name="T70" fmla="*/ 560 w 701"/>
                    <a:gd name="T71" fmla="*/ 425 h 705"/>
                    <a:gd name="T72" fmla="*/ 581 w 701"/>
                    <a:gd name="T73" fmla="*/ 358 h 705"/>
                    <a:gd name="T74" fmla="*/ 604 w 701"/>
                    <a:gd name="T75" fmla="*/ 297 h 705"/>
                    <a:gd name="T76" fmla="*/ 624 w 701"/>
                    <a:gd name="T77" fmla="*/ 248 h 705"/>
                    <a:gd name="T78" fmla="*/ 583 w 701"/>
                    <a:gd name="T79" fmla="*/ 225 h 705"/>
                    <a:gd name="T80" fmla="*/ 567 w 701"/>
                    <a:gd name="T81" fmla="*/ 194 h 705"/>
                    <a:gd name="T82" fmla="*/ 548 w 701"/>
                    <a:gd name="T83" fmla="*/ 161 h 705"/>
                    <a:gd name="T84" fmla="*/ 557 w 701"/>
                    <a:gd name="T85" fmla="*/ 123 h 705"/>
                    <a:gd name="T86" fmla="*/ 643 w 701"/>
                    <a:gd name="T87" fmla="*/ 123 h 705"/>
                    <a:gd name="T88" fmla="*/ 667 w 701"/>
                    <a:gd name="T89" fmla="*/ 122 h 705"/>
                    <a:gd name="T90" fmla="*/ 700 w 701"/>
                    <a:gd name="T91" fmla="*/ 82 h 7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01" h="705">
                      <a:moveTo>
                        <a:pt x="671" y="81"/>
                      </a:moveTo>
                      <a:cubicBezTo>
                        <a:pt x="652" y="80"/>
                        <a:pt x="647" y="60"/>
                        <a:pt x="647" y="60"/>
                      </a:cubicBezTo>
                      <a:cubicBezTo>
                        <a:pt x="639" y="64"/>
                        <a:pt x="639" y="64"/>
                        <a:pt x="639" y="64"/>
                      </a:cubicBezTo>
                      <a:cubicBezTo>
                        <a:pt x="618" y="56"/>
                        <a:pt x="618" y="56"/>
                        <a:pt x="618" y="56"/>
                      </a:cubicBezTo>
                      <a:cubicBezTo>
                        <a:pt x="618" y="56"/>
                        <a:pt x="617" y="35"/>
                        <a:pt x="608" y="25"/>
                      </a:cubicBezTo>
                      <a:cubicBezTo>
                        <a:pt x="599" y="15"/>
                        <a:pt x="584" y="14"/>
                        <a:pt x="584" y="14"/>
                      </a:cubicBezTo>
                      <a:cubicBezTo>
                        <a:pt x="581" y="5"/>
                        <a:pt x="581" y="5"/>
                        <a:pt x="581" y="5"/>
                      </a:cubicBezTo>
                      <a:cubicBezTo>
                        <a:pt x="560" y="5"/>
                        <a:pt x="560" y="5"/>
                        <a:pt x="560" y="5"/>
                      </a:cubicBezTo>
                      <a:cubicBezTo>
                        <a:pt x="560" y="5"/>
                        <a:pt x="549" y="4"/>
                        <a:pt x="541" y="0"/>
                      </a:cubicBezTo>
                      <a:cubicBezTo>
                        <a:pt x="535" y="4"/>
                        <a:pt x="526" y="9"/>
                        <a:pt x="523" y="10"/>
                      </a:cubicBezTo>
                      <a:cubicBezTo>
                        <a:pt x="518" y="11"/>
                        <a:pt x="508" y="5"/>
                        <a:pt x="505" y="5"/>
                      </a:cubicBezTo>
                      <a:cubicBezTo>
                        <a:pt x="502" y="5"/>
                        <a:pt x="479" y="10"/>
                        <a:pt x="479" y="10"/>
                      </a:cubicBezTo>
                      <a:cubicBezTo>
                        <a:pt x="479" y="10"/>
                        <a:pt x="462" y="9"/>
                        <a:pt x="455" y="12"/>
                      </a:cubicBezTo>
                      <a:cubicBezTo>
                        <a:pt x="448" y="15"/>
                        <a:pt x="425" y="31"/>
                        <a:pt x="425" y="31"/>
                      </a:cubicBezTo>
                      <a:cubicBezTo>
                        <a:pt x="425" y="31"/>
                        <a:pt x="414" y="34"/>
                        <a:pt x="408" y="46"/>
                      </a:cubicBezTo>
                      <a:cubicBezTo>
                        <a:pt x="402" y="58"/>
                        <a:pt x="407" y="54"/>
                        <a:pt x="418" y="66"/>
                      </a:cubicBezTo>
                      <a:cubicBezTo>
                        <a:pt x="429" y="78"/>
                        <a:pt x="426" y="95"/>
                        <a:pt x="426" y="95"/>
                      </a:cubicBezTo>
                      <a:cubicBezTo>
                        <a:pt x="426" y="95"/>
                        <a:pt x="436" y="103"/>
                        <a:pt x="433" y="110"/>
                      </a:cubicBezTo>
                      <a:cubicBezTo>
                        <a:pt x="430" y="117"/>
                        <a:pt x="413" y="125"/>
                        <a:pt x="412" y="134"/>
                      </a:cubicBezTo>
                      <a:cubicBezTo>
                        <a:pt x="411" y="143"/>
                        <a:pt x="418" y="144"/>
                        <a:pt x="418" y="144"/>
                      </a:cubicBezTo>
                      <a:cubicBezTo>
                        <a:pt x="418" y="144"/>
                        <a:pt x="419" y="153"/>
                        <a:pt x="418" y="160"/>
                      </a:cubicBezTo>
                      <a:cubicBezTo>
                        <a:pt x="417" y="167"/>
                        <a:pt x="406" y="164"/>
                        <a:pt x="406" y="164"/>
                      </a:cubicBezTo>
                      <a:cubicBezTo>
                        <a:pt x="402" y="171"/>
                        <a:pt x="402" y="171"/>
                        <a:pt x="402" y="171"/>
                      </a:cubicBezTo>
                      <a:cubicBezTo>
                        <a:pt x="395" y="168"/>
                        <a:pt x="395" y="168"/>
                        <a:pt x="395" y="168"/>
                      </a:cubicBezTo>
                      <a:cubicBezTo>
                        <a:pt x="384" y="167"/>
                        <a:pt x="384" y="167"/>
                        <a:pt x="384" y="167"/>
                      </a:cubicBezTo>
                      <a:cubicBezTo>
                        <a:pt x="384" y="167"/>
                        <a:pt x="377" y="159"/>
                        <a:pt x="373" y="160"/>
                      </a:cubicBezTo>
                      <a:cubicBezTo>
                        <a:pt x="369" y="161"/>
                        <a:pt x="369" y="166"/>
                        <a:pt x="370" y="171"/>
                      </a:cubicBezTo>
                      <a:cubicBezTo>
                        <a:pt x="371" y="176"/>
                        <a:pt x="386" y="180"/>
                        <a:pt x="386" y="180"/>
                      </a:cubicBezTo>
                      <a:cubicBezTo>
                        <a:pt x="386" y="180"/>
                        <a:pt x="386" y="184"/>
                        <a:pt x="388" y="191"/>
                      </a:cubicBezTo>
                      <a:cubicBezTo>
                        <a:pt x="390" y="198"/>
                        <a:pt x="401" y="197"/>
                        <a:pt x="401" y="197"/>
                      </a:cubicBezTo>
                      <a:cubicBezTo>
                        <a:pt x="381" y="211"/>
                        <a:pt x="381" y="211"/>
                        <a:pt x="381" y="211"/>
                      </a:cubicBezTo>
                      <a:cubicBezTo>
                        <a:pt x="381" y="211"/>
                        <a:pt x="368" y="210"/>
                        <a:pt x="364" y="213"/>
                      </a:cubicBezTo>
                      <a:cubicBezTo>
                        <a:pt x="360" y="216"/>
                        <a:pt x="363" y="238"/>
                        <a:pt x="363" y="238"/>
                      </a:cubicBezTo>
                      <a:cubicBezTo>
                        <a:pt x="363" y="238"/>
                        <a:pt x="357" y="235"/>
                        <a:pt x="356" y="247"/>
                      </a:cubicBezTo>
                      <a:cubicBezTo>
                        <a:pt x="355" y="259"/>
                        <a:pt x="364" y="277"/>
                        <a:pt x="364" y="277"/>
                      </a:cubicBezTo>
                      <a:cubicBezTo>
                        <a:pt x="364" y="277"/>
                        <a:pt x="361" y="286"/>
                        <a:pt x="348" y="293"/>
                      </a:cubicBezTo>
                      <a:cubicBezTo>
                        <a:pt x="335" y="300"/>
                        <a:pt x="338" y="281"/>
                        <a:pt x="338" y="281"/>
                      </a:cubicBezTo>
                      <a:cubicBezTo>
                        <a:pt x="338" y="281"/>
                        <a:pt x="328" y="283"/>
                        <a:pt x="320" y="283"/>
                      </a:cubicBezTo>
                      <a:cubicBezTo>
                        <a:pt x="312" y="283"/>
                        <a:pt x="305" y="289"/>
                        <a:pt x="305" y="289"/>
                      </a:cubicBezTo>
                      <a:cubicBezTo>
                        <a:pt x="305" y="289"/>
                        <a:pt x="291" y="293"/>
                        <a:pt x="287" y="298"/>
                      </a:cubicBezTo>
                      <a:cubicBezTo>
                        <a:pt x="283" y="303"/>
                        <a:pt x="300" y="305"/>
                        <a:pt x="298" y="311"/>
                      </a:cubicBezTo>
                      <a:cubicBezTo>
                        <a:pt x="296" y="317"/>
                        <a:pt x="266" y="312"/>
                        <a:pt x="266" y="312"/>
                      </a:cubicBezTo>
                      <a:cubicBezTo>
                        <a:pt x="266" y="312"/>
                        <a:pt x="270" y="306"/>
                        <a:pt x="262" y="306"/>
                      </a:cubicBezTo>
                      <a:cubicBezTo>
                        <a:pt x="254" y="306"/>
                        <a:pt x="239" y="319"/>
                        <a:pt x="237" y="325"/>
                      </a:cubicBezTo>
                      <a:cubicBezTo>
                        <a:pt x="235" y="331"/>
                        <a:pt x="242" y="355"/>
                        <a:pt x="242" y="355"/>
                      </a:cubicBezTo>
                      <a:cubicBezTo>
                        <a:pt x="242" y="355"/>
                        <a:pt x="248" y="375"/>
                        <a:pt x="246" y="381"/>
                      </a:cubicBezTo>
                      <a:cubicBezTo>
                        <a:pt x="244" y="387"/>
                        <a:pt x="205" y="400"/>
                        <a:pt x="202" y="401"/>
                      </a:cubicBezTo>
                      <a:cubicBezTo>
                        <a:pt x="199" y="402"/>
                        <a:pt x="157" y="404"/>
                        <a:pt x="157" y="404"/>
                      </a:cubicBezTo>
                      <a:cubicBezTo>
                        <a:pt x="157" y="404"/>
                        <a:pt x="156" y="410"/>
                        <a:pt x="144" y="410"/>
                      </a:cubicBezTo>
                      <a:cubicBezTo>
                        <a:pt x="132" y="410"/>
                        <a:pt x="135" y="406"/>
                        <a:pt x="135" y="406"/>
                      </a:cubicBezTo>
                      <a:cubicBezTo>
                        <a:pt x="100" y="405"/>
                        <a:pt x="100" y="405"/>
                        <a:pt x="100" y="405"/>
                      </a:cubicBezTo>
                      <a:cubicBezTo>
                        <a:pt x="100" y="405"/>
                        <a:pt x="102" y="410"/>
                        <a:pt x="81" y="412"/>
                      </a:cubicBezTo>
                      <a:cubicBezTo>
                        <a:pt x="60" y="414"/>
                        <a:pt x="30" y="396"/>
                        <a:pt x="21" y="391"/>
                      </a:cubicBezTo>
                      <a:cubicBezTo>
                        <a:pt x="12" y="386"/>
                        <a:pt x="0" y="389"/>
                        <a:pt x="0" y="389"/>
                      </a:cubicBezTo>
                      <a:cubicBezTo>
                        <a:pt x="0" y="389"/>
                        <a:pt x="20" y="408"/>
                        <a:pt x="26" y="419"/>
                      </a:cubicBezTo>
                      <a:cubicBezTo>
                        <a:pt x="32" y="430"/>
                        <a:pt x="46" y="450"/>
                        <a:pt x="54" y="460"/>
                      </a:cubicBezTo>
                      <a:cubicBezTo>
                        <a:pt x="62" y="470"/>
                        <a:pt x="77" y="462"/>
                        <a:pt x="77" y="462"/>
                      </a:cubicBezTo>
                      <a:cubicBezTo>
                        <a:pt x="86" y="473"/>
                        <a:pt x="86" y="473"/>
                        <a:pt x="86" y="473"/>
                      </a:cubicBezTo>
                      <a:cubicBezTo>
                        <a:pt x="99" y="472"/>
                        <a:pt x="99" y="472"/>
                        <a:pt x="99" y="472"/>
                      </a:cubicBezTo>
                      <a:cubicBezTo>
                        <a:pt x="98" y="492"/>
                        <a:pt x="98" y="492"/>
                        <a:pt x="98" y="492"/>
                      </a:cubicBezTo>
                      <a:cubicBezTo>
                        <a:pt x="101" y="494"/>
                        <a:pt x="101" y="494"/>
                        <a:pt x="101" y="494"/>
                      </a:cubicBezTo>
                      <a:cubicBezTo>
                        <a:pt x="101" y="494"/>
                        <a:pt x="100" y="517"/>
                        <a:pt x="103" y="524"/>
                      </a:cubicBezTo>
                      <a:cubicBezTo>
                        <a:pt x="106" y="531"/>
                        <a:pt x="112" y="518"/>
                        <a:pt x="120" y="529"/>
                      </a:cubicBezTo>
                      <a:cubicBezTo>
                        <a:pt x="128" y="540"/>
                        <a:pt x="129" y="556"/>
                        <a:pt x="125" y="561"/>
                      </a:cubicBezTo>
                      <a:cubicBezTo>
                        <a:pt x="121" y="566"/>
                        <a:pt x="119" y="553"/>
                        <a:pt x="101" y="559"/>
                      </a:cubicBezTo>
                      <a:cubicBezTo>
                        <a:pt x="83" y="565"/>
                        <a:pt x="89" y="569"/>
                        <a:pt x="85" y="575"/>
                      </a:cubicBezTo>
                      <a:cubicBezTo>
                        <a:pt x="81" y="581"/>
                        <a:pt x="72" y="579"/>
                        <a:pt x="72" y="579"/>
                      </a:cubicBezTo>
                      <a:cubicBezTo>
                        <a:pt x="70" y="590"/>
                        <a:pt x="70" y="590"/>
                        <a:pt x="70" y="590"/>
                      </a:cubicBezTo>
                      <a:cubicBezTo>
                        <a:pt x="70" y="590"/>
                        <a:pt x="66" y="597"/>
                        <a:pt x="60" y="600"/>
                      </a:cubicBezTo>
                      <a:cubicBezTo>
                        <a:pt x="55" y="602"/>
                        <a:pt x="59" y="630"/>
                        <a:pt x="60" y="637"/>
                      </a:cubicBezTo>
                      <a:cubicBezTo>
                        <a:pt x="70" y="633"/>
                        <a:pt x="78" y="628"/>
                        <a:pt x="78" y="628"/>
                      </a:cubicBezTo>
                      <a:cubicBezTo>
                        <a:pt x="78" y="628"/>
                        <a:pt x="100" y="635"/>
                        <a:pt x="110" y="635"/>
                      </a:cubicBezTo>
                      <a:cubicBezTo>
                        <a:pt x="120" y="636"/>
                        <a:pt x="149" y="620"/>
                        <a:pt x="149" y="620"/>
                      </a:cubicBezTo>
                      <a:cubicBezTo>
                        <a:pt x="149" y="620"/>
                        <a:pt x="165" y="628"/>
                        <a:pt x="175" y="626"/>
                      </a:cubicBezTo>
                      <a:cubicBezTo>
                        <a:pt x="186" y="624"/>
                        <a:pt x="208" y="615"/>
                        <a:pt x="208" y="615"/>
                      </a:cubicBezTo>
                      <a:cubicBezTo>
                        <a:pt x="234" y="622"/>
                        <a:pt x="234" y="622"/>
                        <a:pt x="234" y="622"/>
                      </a:cubicBezTo>
                      <a:cubicBezTo>
                        <a:pt x="234" y="622"/>
                        <a:pt x="249" y="601"/>
                        <a:pt x="267" y="613"/>
                      </a:cubicBezTo>
                      <a:cubicBezTo>
                        <a:pt x="284" y="624"/>
                        <a:pt x="285" y="659"/>
                        <a:pt x="299" y="662"/>
                      </a:cubicBezTo>
                      <a:cubicBezTo>
                        <a:pt x="313" y="665"/>
                        <a:pt x="339" y="665"/>
                        <a:pt x="348" y="674"/>
                      </a:cubicBezTo>
                      <a:cubicBezTo>
                        <a:pt x="358" y="683"/>
                        <a:pt x="359" y="704"/>
                        <a:pt x="370" y="705"/>
                      </a:cubicBezTo>
                      <a:cubicBezTo>
                        <a:pt x="373" y="705"/>
                        <a:pt x="377" y="705"/>
                        <a:pt x="381" y="705"/>
                      </a:cubicBezTo>
                      <a:cubicBezTo>
                        <a:pt x="394" y="700"/>
                        <a:pt x="394" y="700"/>
                        <a:pt x="394" y="700"/>
                      </a:cubicBezTo>
                      <a:cubicBezTo>
                        <a:pt x="394" y="700"/>
                        <a:pt x="385" y="684"/>
                        <a:pt x="396" y="683"/>
                      </a:cubicBezTo>
                      <a:cubicBezTo>
                        <a:pt x="407" y="682"/>
                        <a:pt x="416" y="689"/>
                        <a:pt x="416" y="689"/>
                      </a:cubicBezTo>
                      <a:cubicBezTo>
                        <a:pt x="433" y="683"/>
                        <a:pt x="433" y="683"/>
                        <a:pt x="433" y="683"/>
                      </a:cubicBezTo>
                      <a:cubicBezTo>
                        <a:pt x="433" y="683"/>
                        <a:pt x="430" y="691"/>
                        <a:pt x="444" y="691"/>
                      </a:cubicBezTo>
                      <a:cubicBezTo>
                        <a:pt x="458" y="691"/>
                        <a:pt x="456" y="681"/>
                        <a:pt x="467" y="679"/>
                      </a:cubicBezTo>
                      <a:cubicBezTo>
                        <a:pt x="478" y="677"/>
                        <a:pt x="468" y="688"/>
                        <a:pt x="479" y="688"/>
                      </a:cubicBezTo>
                      <a:cubicBezTo>
                        <a:pt x="490" y="688"/>
                        <a:pt x="499" y="687"/>
                        <a:pt x="501" y="678"/>
                      </a:cubicBezTo>
                      <a:cubicBezTo>
                        <a:pt x="503" y="669"/>
                        <a:pt x="492" y="654"/>
                        <a:pt x="492" y="654"/>
                      </a:cubicBezTo>
                      <a:cubicBezTo>
                        <a:pt x="478" y="626"/>
                        <a:pt x="478" y="626"/>
                        <a:pt x="478" y="626"/>
                      </a:cubicBezTo>
                      <a:cubicBezTo>
                        <a:pt x="478" y="611"/>
                        <a:pt x="478" y="611"/>
                        <a:pt x="478" y="611"/>
                      </a:cubicBezTo>
                      <a:cubicBezTo>
                        <a:pt x="478" y="611"/>
                        <a:pt x="462" y="611"/>
                        <a:pt x="455" y="604"/>
                      </a:cubicBezTo>
                      <a:cubicBezTo>
                        <a:pt x="448" y="597"/>
                        <a:pt x="446" y="589"/>
                        <a:pt x="446" y="589"/>
                      </a:cubicBezTo>
                      <a:cubicBezTo>
                        <a:pt x="448" y="569"/>
                        <a:pt x="448" y="569"/>
                        <a:pt x="448" y="569"/>
                      </a:cubicBezTo>
                      <a:cubicBezTo>
                        <a:pt x="447" y="559"/>
                        <a:pt x="447" y="559"/>
                        <a:pt x="447" y="559"/>
                      </a:cubicBezTo>
                      <a:cubicBezTo>
                        <a:pt x="429" y="561"/>
                        <a:pt x="429" y="561"/>
                        <a:pt x="429" y="561"/>
                      </a:cubicBezTo>
                      <a:cubicBezTo>
                        <a:pt x="429" y="561"/>
                        <a:pt x="414" y="563"/>
                        <a:pt x="414" y="546"/>
                      </a:cubicBezTo>
                      <a:cubicBezTo>
                        <a:pt x="414" y="529"/>
                        <a:pt x="415" y="529"/>
                        <a:pt x="423" y="522"/>
                      </a:cubicBezTo>
                      <a:cubicBezTo>
                        <a:pt x="431" y="515"/>
                        <a:pt x="438" y="503"/>
                        <a:pt x="438" y="503"/>
                      </a:cubicBezTo>
                      <a:cubicBezTo>
                        <a:pt x="438" y="503"/>
                        <a:pt x="437" y="489"/>
                        <a:pt x="451" y="487"/>
                      </a:cubicBezTo>
                      <a:cubicBezTo>
                        <a:pt x="465" y="485"/>
                        <a:pt x="457" y="502"/>
                        <a:pt x="470" y="500"/>
                      </a:cubicBezTo>
                      <a:cubicBezTo>
                        <a:pt x="483" y="498"/>
                        <a:pt x="488" y="490"/>
                        <a:pt x="488" y="490"/>
                      </a:cubicBezTo>
                      <a:cubicBezTo>
                        <a:pt x="488" y="490"/>
                        <a:pt x="503" y="498"/>
                        <a:pt x="510" y="490"/>
                      </a:cubicBezTo>
                      <a:cubicBezTo>
                        <a:pt x="517" y="482"/>
                        <a:pt x="518" y="472"/>
                        <a:pt x="518" y="472"/>
                      </a:cubicBezTo>
                      <a:cubicBezTo>
                        <a:pt x="527" y="467"/>
                        <a:pt x="527" y="467"/>
                        <a:pt x="527" y="467"/>
                      </a:cubicBezTo>
                      <a:cubicBezTo>
                        <a:pt x="527" y="467"/>
                        <a:pt x="528" y="447"/>
                        <a:pt x="532" y="444"/>
                      </a:cubicBezTo>
                      <a:cubicBezTo>
                        <a:pt x="536" y="441"/>
                        <a:pt x="552" y="438"/>
                        <a:pt x="560" y="425"/>
                      </a:cubicBezTo>
                      <a:cubicBezTo>
                        <a:pt x="568" y="412"/>
                        <a:pt x="565" y="394"/>
                        <a:pt x="569" y="385"/>
                      </a:cubicBezTo>
                      <a:cubicBezTo>
                        <a:pt x="573" y="376"/>
                        <a:pt x="592" y="375"/>
                        <a:pt x="592" y="375"/>
                      </a:cubicBezTo>
                      <a:cubicBezTo>
                        <a:pt x="581" y="358"/>
                        <a:pt x="581" y="358"/>
                        <a:pt x="581" y="358"/>
                      </a:cubicBezTo>
                      <a:cubicBezTo>
                        <a:pt x="598" y="334"/>
                        <a:pt x="598" y="334"/>
                        <a:pt x="598" y="334"/>
                      </a:cubicBezTo>
                      <a:cubicBezTo>
                        <a:pt x="616" y="321"/>
                        <a:pt x="616" y="321"/>
                        <a:pt x="616" y="321"/>
                      </a:cubicBezTo>
                      <a:cubicBezTo>
                        <a:pt x="616" y="321"/>
                        <a:pt x="604" y="301"/>
                        <a:pt x="604" y="297"/>
                      </a:cubicBezTo>
                      <a:cubicBezTo>
                        <a:pt x="604" y="293"/>
                        <a:pt x="601" y="279"/>
                        <a:pt x="605" y="277"/>
                      </a:cubicBezTo>
                      <a:cubicBezTo>
                        <a:pt x="609" y="275"/>
                        <a:pt x="638" y="271"/>
                        <a:pt x="637" y="262"/>
                      </a:cubicBezTo>
                      <a:cubicBezTo>
                        <a:pt x="636" y="253"/>
                        <a:pt x="624" y="248"/>
                        <a:pt x="624" y="248"/>
                      </a:cubicBezTo>
                      <a:cubicBezTo>
                        <a:pt x="600" y="249"/>
                        <a:pt x="600" y="249"/>
                        <a:pt x="600" y="249"/>
                      </a:cubicBezTo>
                      <a:cubicBezTo>
                        <a:pt x="597" y="226"/>
                        <a:pt x="597" y="226"/>
                        <a:pt x="597" y="226"/>
                      </a:cubicBezTo>
                      <a:cubicBezTo>
                        <a:pt x="583" y="225"/>
                        <a:pt x="583" y="225"/>
                        <a:pt x="583" y="225"/>
                      </a:cubicBezTo>
                      <a:cubicBezTo>
                        <a:pt x="575" y="215"/>
                        <a:pt x="575" y="215"/>
                        <a:pt x="575" y="215"/>
                      </a:cubicBezTo>
                      <a:cubicBezTo>
                        <a:pt x="575" y="215"/>
                        <a:pt x="564" y="218"/>
                        <a:pt x="565" y="210"/>
                      </a:cubicBezTo>
                      <a:cubicBezTo>
                        <a:pt x="566" y="202"/>
                        <a:pt x="567" y="194"/>
                        <a:pt x="567" y="194"/>
                      </a:cubicBezTo>
                      <a:cubicBezTo>
                        <a:pt x="567" y="194"/>
                        <a:pt x="553" y="193"/>
                        <a:pt x="556" y="183"/>
                      </a:cubicBezTo>
                      <a:cubicBezTo>
                        <a:pt x="559" y="173"/>
                        <a:pt x="568" y="165"/>
                        <a:pt x="568" y="165"/>
                      </a:cubicBezTo>
                      <a:cubicBezTo>
                        <a:pt x="548" y="161"/>
                        <a:pt x="548" y="161"/>
                        <a:pt x="548" y="161"/>
                      </a:cubicBezTo>
                      <a:cubicBezTo>
                        <a:pt x="552" y="152"/>
                        <a:pt x="552" y="152"/>
                        <a:pt x="552" y="152"/>
                      </a:cubicBezTo>
                      <a:cubicBezTo>
                        <a:pt x="537" y="142"/>
                        <a:pt x="537" y="142"/>
                        <a:pt x="537" y="142"/>
                      </a:cubicBezTo>
                      <a:cubicBezTo>
                        <a:pt x="537" y="142"/>
                        <a:pt x="535" y="126"/>
                        <a:pt x="557" y="123"/>
                      </a:cubicBezTo>
                      <a:cubicBezTo>
                        <a:pt x="579" y="120"/>
                        <a:pt x="608" y="126"/>
                        <a:pt x="608" y="126"/>
                      </a:cubicBezTo>
                      <a:cubicBezTo>
                        <a:pt x="608" y="126"/>
                        <a:pt x="611" y="138"/>
                        <a:pt x="618" y="137"/>
                      </a:cubicBezTo>
                      <a:cubicBezTo>
                        <a:pt x="625" y="136"/>
                        <a:pt x="643" y="123"/>
                        <a:pt x="643" y="123"/>
                      </a:cubicBezTo>
                      <a:cubicBezTo>
                        <a:pt x="647" y="127"/>
                        <a:pt x="647" y="127"/>
                        <a:pt x="647" y="127"/>
                      </a:cubicBezTo>
                      <a:cubicBezTo>
                        <a:pt x="653" y="122"/>
                        <a:pt x="653" y="122"/>
                        <a:pt x="653" y="122"/>
                      </a:cubicBezTo>
                      <a:cubicBezTo>
                        <a:pt x="653" y="122"/>
                        <a:pt x="664" y="123"/>
                        <a:pt x="667" y="122"/>
                      </a:cubicBezTo>
                      <a:cubicBezTo>
                        <a:pt x="670" y="121"/>
                        <a:pt x="670" y="110"/>
                        <a:pt x="670" y="110"/>
                      </a:cubicBezTo>
                      <a:cubicBezTo>
                        <a:pt x="685" y="104"/>
                        <a:pt x="685" y="104"/>
                        <a:pt x="685" y="104"/>
                      </a:cubicBezTo>
                      <a:cubicBezTo>
                        <a:pt x="700" y="82"/>
                        <a:pt x="700" y="82"/>
                        <a:pt x="700" y="82"/>
                      </a:cubicBezTo>
                      <a:cubicBezTo>
                        <a:pt x="701" y="82"/>
                        <a:pt x="701" y="82"/>
                        <a:pt x="701" y="82"/>
                      </a:cubicBezTo>
                      <a:cubicBezTo>
                        <a:pt x="692" y="82"/>
                        <a:pt x="680" y="81"/>
                        <a:pt x="671" y="8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89" name="Oman">
                  <a:extLst>
                    <a:ext uri="{FF2B5EF4-FFF2-40B4-BE49-F238E27FC236}">
                      <a16:creationId xmlns:a16="http://schemas.microsoft.com/office/drawing/2014/main" id="{B12FCA99-66D3-EF06-7581-24E5D5BD72C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80097" y="3329838"/>
                  <a:ext cx="203235" cy="249123"/>
                </a:xfrm>
                <a:custGeom>
                  <a:avLst/>
                  <a:gdLst>
                    <a:gd name="T0" fmla="*/ 169 w 364"/>
                    <a:gd name="T1" fmla="*/ 375 h 445"/>
                    <a:gd name="T2" fmla="*/ 220 w 364"/>
                    <a:gd name="T3" fmla="*/ 358 h 445"/>
                    <a:gd name="T4" fmla="*/ 228 w 364"/>
                    <a:gd name="T5" fmla="*/ 330 h 445"/>
                    <a:gd name="T6" fmla="*/ 269 w 364"/>
                    <a:gd name="T7" fmla="*/ 304 h 445"/>
                    <a:gd name="T8" fmla="*/ 283 w 364"/>
                    <a:gd name="T9" fmla="*/ 249 h 445"/>
                    <a:gd name="T10" fmla="*/ 312 w 364"/>
                    <a:gd name="T11" fmla="*/ 249 h 445"/>
                    <a:gd name="T12" fmla="*/ 318 w 364"/>
                    <a:gd name="T13" fmla="*/ 218 h 445"/>
                    <a:gd name="T14" fmla="*/ 355 w 364"/>
                    <a:gd name="T15" fmla="*/ 184 h 445"/>
                    <a:gd name="T16" fmla="*/ 359 w 364"/>
                    <a:gd name="T17" fmla="*/ 134 h 445"/>
                    <a:gd name="T18" fmla="*/ 339 w 364"/>
                    <a:gd name="T19" fmla="*/ 127 h 445"/>
                    <a:gd name="T20" fmla="*/ 302 w 364"/>
                    <a:gd name="T21" fmla="*/ 74 h 445"/>
                    <a:gd name="T22" fmla="*/ 237 w 364"/>
                    <a:gd name="T23" fmla="*/ 52 h 445"/>
                    <a:gd name="T24" fmla="*/ 191 w 364"/>
                    <a:gd name="T25" fmla="*/ 23 h 445"/>
                    <a:gd name="T26" fmla="*/ 184 w 364"/>
                    <a:gd name="T27" fmla="*/ 7 h 445"/>
                    <a:gd name="T28" fmla="*/ 168 w 364"/>
                    <a:gd name="T29" fmla="*/ 13 h 445"/>
                    <a:gd name="T30" fmla="*/ 158 w 364"/>
                    <a:gd name="T31" fmla="*/ 0 h 445"/>
                    <a:gd name="T32" fmla="*/ 151 w 364"/>
                    <a:gd name="T33" fmla="*/ 34 h 445"/>
                    <a:gd name="T34" fmla="*/ 161 w 364"/>
                    <a:gd name="T35" fmla="*/ 51 h 445"/>
                    <a:gd name="T36" fmla="*/ 149 w 364"/>
                    <a:gd name="T37" fmla="*/ 52 h 445"/>
                    <a:gd name="T38" fmla="*/ 141 w 364"/>
                    <a:gd name="T39" fmla="*/ 79 h 445"/>
                    <a:gd name="T40" fmla="*/ 128 w 364"/>
                    <a:gd name="T41" fmla="*/ 108 h 445"/>
                    <a:gd name="T42" fmla="*/ 141 w 364"/>
                    <a:gd name="T43" fmla="*/ 142 h 445"/>
                    <a:gd name="T44" fmla="*/ 159 w 364"/>
                    <a:gd name="T45" fmla="*/ 161 h 445"/>
                    <a:gd name="T46" fmla="*/ 133 w 364"/>
                    <a:gd name="T47" fmla="*/ 276 h 445"/>
                    <a:gd name="T48" fmla="*/ 0 w 364"/>
                    <a:gd name="T49" fmla="*/ 325 h 445"/>
                    <a:gd name="T50" fmla="*/ 54 w 364"/>
                    <a:gd name="T51" fmla="*/ 445 h 445"/>
                    <a:gd name="T52" fmla="*/ 162 w 364"/>
                    <a:gd name="T53" fmla="*/ 410 h 445"/>
                    <a:gd name="T54" fmla="*/ 169 w 364"/>
                    <a:gd name="T55" fmla="*/ 375 h 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64" h="445">
                      <a:moveTo>
                        <a:pt x="169" y="375"/>
                      </a:moveTo>
                      <a:cubicBezTo>
                        <a:pt x="169" y="375"/>
                        <a:pt x="211" y="369"/>
                        <a:pt x="220" y="358"/>
                      </a:cubicBezTo>
                      <a:cubicBezTo>
                        <a:pt x="228" y="348"/>
                        <a:pt x="228" y="330"/>
                        <a:pt x="228" y="330"/>
                      </a:cubicBezTo>
                      <a:cubicBezTo>
                        <a:pt x="228" y="330"/>
                        <a:pt x="260" y="319"/>
                        <a:pt x="269" y="304"/>
                      </a:cubicBezTo>
                      <a:cubicBezTo>
                        <a:pt x="279" y="288"/>
                        <a:pt x="274" y="250"/>
                        <a:pt x="283" y="249"/>
                      </a:cubicBezTo>
                      <a:cubicBezTo>
                        <a:pt x="292" y="248"/>
                        <a:pt x="302" y="260"/>
                        <a:pt x="312" y="249"/>
                      </a:cubicBezTo>
                      <a:cubicBezTo>
                        <a:pt x="323" y="238"/>
                        <a:pt x="318" y="218"/>
                        <a:pt x="318" y="218"/>
                      </a:cubicBezTo>
                      <a:cubicBezTo>
                        <a:pt x="355" y="184"/>
                        <a:pt x="355" y="184"/>
                        <a:pt x="355" y="184"/>
                      </a:cubicBezTo>
                      <a:cubicBezTo>
                        <a:pt x="355" y="184"/>
                        <a:pt x="364" y="144"/>
                        <a:pt x="359" y="134"/>
                      </a:cubicBezTo>
                      <a:cubicBezTo>
                        <a:pt x="355" y="124"/>
                        <a:pt x="339" y="127"/>
                        <a:pt x="339" y="127"/>
                      </a:cubicBezTo>
                      <a:cubicBezTo>
                        <a:pt x="339" y="127"/>
                        <a:pt x="317" y="87"/>
                        <a:pt x="302" y="74"/>
                      </a:cubicBezTo>
                      <a:cubicBezTo>
                        <a:pt x="287" y="61"/>
                        <a:pt x="237" y="52"/>
                        <a:pt x="237" y="52"/>
                      </a:cubicBezTo>
                      <a:cubicBezTo>
                        <a:pt x="237" y="52"/>
                        <a:pt x="194" y="38"/>
                        <a:pt x="191" y="23"/>
                      </a:cubicBezTo>
                      <a:cubicBezTo>
                        <a:pt x="190" y="18"/>
                        <a:pt x="187" y="13"/>
                        <a:pt x="184" y="7"/>
                      </a:cubicBezTo>
                      <a:cubicBezTo>
                        <a:pt x="168" y="13"/>
                        <a:pt x="168" y="13"/>
                        <a:pt x="168" y="13"/>
                      </a:cubicBezTo>
                      <a:cubicBezTo>
                        <a:pt x="168" y="13"/>
                        <a:pt x="162" y="0"/>
                        <a:pt x="158" y="0"/>
                      </a:cubicBezTo>
                      <a:cubicBezTo>
                        <a:pt x="154" y="0"/>
                        <a:pt x="147" y="30"/>
                        <a:pt x="151" y="34"/>
                      </a:cubicBezTo>
                      <a:cubicBezTo>
                        <a:pt x="155" y="38"/>
                        <a:pt x="165" y="49"/>
                        <a:pt x="161" y="51"/>
                      </a:cubicBezTo>
                      <a:cubicBezTo>
                        <a:pt x="157" y="53"/>
                        <a:pt x="151" y="45"/>
                        <a:pt x="149" y="52"/>
                      </a:cubicBezTo>
                      <a:cubicBezTo>
                        <a:pt x="147" y="59"/>
                        <a:pt x="141" y="79"/>
                        <a:pt x="141" y="79"/>
                      </a:cubicBezTo>
                      <a:cubicBezTo>
                        <a:pt x="141" y="79"/>
                        <a:pt x="128" y="102"/>
                        <a:pt x="128" y="108"/>
                      </a:cubicBezTo>
                      <a:cubicBezTo>
                        <a:pt x="128" y="114"/>
                        <a:pt x="141" y="138"/>
                        <a:pt x="141" y="142"/>
                      </a:cubicBezTo>
                      <a:cubicBezTo>
                        <a:pt x="141" y="146"/>
                        <a:pt x="159" y="161"/>
                        <a:pt x="159" y="161"/>
                      </a:cubicBezTo>
                      <a:cubicBezTo>
                        <a:pt x="133" y="276"/>
                        <a:pt x="133" y="276"/>
                        <a:pt x="133" y="276"/>
                      </a:cubicBezTo>
                      <a:cubicBezTo>
                        <a:pt x="0" y="325"/>
                        <a:pt x="0" y="325"/>
                        <a:pt x="0" y="325"/>
                      </a:cubicBezTo>
                      <a:cubicBezTo>
                        <a:pt x="54" y="445"/>
                        <a:pt x="54" y="445"/>
                        <a:pt x="54" y="445"/>
                      </a:cubicBezTo>
                      <a:cubicBezTo>
                        <a:pt x="81" y="434"/>
                        <a:pt x="159" y="415"/>
                        <a:pt x="162" y="410"/>
                      </a:cubicBezTo>
                      <a:cubicBezTo>
                        <a:pt x="167" y="404"/>
                        <a:pt x="169" y="375"/>
                        <a:pt x="169" y="375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0" name="North Korea">
                  <a:extLst>
                    <a:ext uri="{FF2B5EF4-FFF2-40B4-BE49-F238E27FC236}">
                      <a16:creationId xmlns:a16="http://schemas.microsoft.com/office/drawing/2014/main" id="{54228FAD-046F-41F2-FBEC-5F129DAF227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677430" y="2791925"/>
                  <a:ext cx="122258" cy="157090"/>
                </a:xfrm>
                <a:custGeom>
                  <a:avLst/>
                  <a:gdLst>
                    <a:gd name="T0" fmla="*/ 182 w 220"/>
                    <a:gd name="T1" fmla="*/ 0 h 280"/>
                    <a:gd name="T2" fmla="*/ 160 w 220"/>
                    <a:gd name="T3" fmla="*/ 0 h 280"/>
                    <a:gd name="T4" fmla="*/ 171 w 220"/>
                    <a:gd name="T5" fmla="*/ 27 h 280"/>
                    <a:gd name="T6" fmla="*/ 153 w 220"/>
                    <a:gd name="T7" fmla="*/ 28 h 280"/>
                    <a:gd name="T8" fmla="*/ 153 w 220"/>
                    <a:gd name="T9" fmla="*/ 49 h 280"/>
                    <a:gd name="T10" fmla="*/ 113 w 220"/>
                    <a:gd name="T11" fmla="*/ 50 h 280"/>
                    <a:gd name="T12" fmla="*/ 135 w 220"/>
                    <a:gd name="T13" fmla="*/ 71 h 280"/>
                    <a:gd name="T14" fmla="*/ 134 w 220"/>
                    <a:gd name="T15" fmla="*/ 81 h 280"/>
                    <a:gd name="T16" fmla="*/ 87 w 220"/>
                    <a:gd name="T17" fmla="*/ 77 h 280"/>
                    <a:gd name="T18" fmla="*/ 61 w 220"/>
                    <a:gd name="T19" fmla="*/ 63 h 280"/>
                    <a:gd name="T20" fmla="*/ 47 w 220"/>
                    <a:gd name="T21" fmla="*/ 115 h 280"/>
                    <a:gd name="T22" fmla="*/ 13 w 220"/>
                    <a:gd name="T23" fmla="*/ 138 h 280"/>
                    <a:gd name="T24" fmla="*/ 7 w 220"/>
                    <a:gd name="T25" fmla="*/ 154 h 280"/>
                    <a:gd name="T26" fmla="*/ 0 w 220"/>
                    <a:gd name="T27" fmla="*/ 165 h 280"/>
                    <a:gd name="T28" fmla="*/ 8 w 220"/>
                    <a:gd name="T29" fmla="*/ 152 h 280"/>
                    <a:gd name="T30" fmla="*/ 14 w 220"/>
                    <a:gd name="T31" fmla="*/ 166 h 280"/>
                    <a:gd name="T32" fmla="*/ 26 w 220"/>
                    <a:gd name="T33" fmla="*/ 180 h 280"/>
                    <a:gd name="T34" fmla="*/ 33 w 220"/>
                    <a:gd name="T35" fmla="*/ 168 h 280"/>
                    <a:gd name="T36" fmla="*/ 47 w 220"/>
                    <a:gd name="T37" fmla="*/ 181 h 280"/>
                    <a:gd name="T38" fmla="*/ 64 w 220"/>
                    <a:gd name="T39" fmla="*/ 182 h 280"/>
                    <a:gd name="T40" fmla="*/ 68 w 220"/>
                    <a:gd name="T41" fmla="*/ 223 h 280"/>
                    <a:gd name="T42" fmla="*/ 93 w 220"/>
                    <a:gd name="T43" fmla="*/ 223 h 280"/>
                    <a:gd name="T44" fmla="*/ 96 w 220"/>
                    <a:gd name="T45" fmla="*/ 233 h 280"/>
                    <a:gd name="T46" fmla="*/ 69 w 220"/>
                    <a:gd name="T47" fmla="*/ 234 h 280"/>
                    <a:gd name="T48" fmla="*/ 80 w 220"/>
                    <a:gd name="T49" fmla="*/ 263 h 280"/>
                    <a:gd name="T50" fmla="*/ 87 w 220"/>
                    <a:gd name="T51" fmla="*/ 274 h 280"/>
                    <a:gd name="T52" fmla="*/ 106 w 220"/>
                    <a:gd name="T53" fmla="*/ 266 h 280"/>
                    <a:gd name="T54" fmla="*/ 135 w 220"/>
                    <a:gd name="T55" fmla="*/ 279 h 280"/>
                    <a:gd name="T56" fmla="*/ 153 w 220"/>
                    <a:gd name="T57" fmla="*/ 275 h 280"/>
                    <a:gd name="T58" fmla="*/ 166 w 220"/>
                    <a:gd name="T59" fmla="*/ 265 h 280"/>
                    <a:gd name="T60" fmla="*/ 169 w 220"/>
                    <a:gd name="T61" fmla="*/ 252 h 280"/>
                    <a:gd name="T62" fmla="*/ 207 w 220"/>
                    <a:gd name="T63" fmla="*/ 246 h 280"/>
                    <a:gd name="T64" fmla="*/ 217 w 220"/>
                    <a:gd name="T65" fmla="*/ 236 h 280"/>
                    <a:gd name="T66" fmla="*/ 208 w 220"/>
                    <a:gd name="T67" fmla="*/ 224 h 280"/>
                    <a:gd name="T68" fmla="*/ 177 w 220"/>
                    <a:gd name="T69" fmla="*/ 207 h 280"/>
                    <a:gd name="T70" fmla="*/ 162 w 220"/>
                    <a:gd name="T71" fmla="*/ 202 h 280"/>
                    <a:gd name="T72" fmla="*/ 169 w 220"/>
                    <a:gd name="T73" fmla="*/ 189 h 280"/>
                    <a:gd name="T74" fmla="*/ 154 w 220"/>
                    <a:gd name="T75" fmla="*/ 167 h 280"/>
                    <a:gd name="T76" fmla="*/ 190 w 220"/>
                    <a:gd name="T77" fmla="*/ 146 h 280"/>
                    <a:gd name="T78" fmla="*/ 200 w 220"/>
                    <a:gd name="T79" fmla="*/ 117 h 280"/>
                    <a:gd name="T80" fmla="*/ 216 w 220"/>
                    <a:gd name="T81" fmla="*/ 109 h 280"/>
                    <a:gd name="T82" fmla="*/ 211 w 220"/>
                    <a:gd name="T83" fmla="*/ 88 h 280"/>
                    <a:gd name="T84" fmla="*/ 196 w 220"/>
                    <a:gd name="T85" fmla="*/ 60 h 280"/>
                    <a:gd name="T86" fmla="*/ 220 w 220"/>
                    <a:gd name="T87" fmla="*/ 38 h 280"/>
                    <a:gd name="T88" fmla="*/ 211 w 220"/>
                    <a:gd name="T89" fmla="*/ 23 h 280"/>
                    <a:gd name="T90" fmla="*/ 192 w 220"/>
                    <a:gd name="T91" fmla="*/ 17 h 280"/>
                    <a:gd name="T92" fmla="*/ 182 w 220"/>
                    <a:gd name="T93" fmla="*/ 0 h 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20" h="280">
                      <a:moveTo>
                        <a:pt x="182" y="0"/>
                      </a:move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73" y="22"/>
                        <a:pt x="171" y="27"/>
                      </a:cubicBezTo>
                      <a:cubicBezTo>
                        <a:pt x="169" y="32"/>
                        <a:pt x="153" y="28"/>
                        <a:pt x="153" y="28"/>
                      </a:cubicBezTo>
                      <a:cubicBezTo>
                        <a:pt x="153" y="28"/>
                        <a:pt x="163" y="40"/>
                        <a:pt x="153" y="49"/>
                      </a:cubicBezTo>
                      <a:cubicBezTo>
                        <a:pt x="143" y="58"/>
                        <a:pt x="119" y="42"/>
                        <a:pt x="113" y="50"/>
                      </a:cubicBezTo>
                      <a:cubicBezTo>
                        <a:pt x="107" y="58"/>
                        <a:pt x="135" y="71"/>
                        <a:pt x="135" y="71"/>
                      </a:cubicBezTo>
                      <a:cubicBezTo>
                        <a:pt x="134" y="81"/>
                        <a:pt x="134" y="81"/>
                        <a:pt x="134" y="81"/>
                      </a:cubicBezTo>
                      <a:cubicBezTo>
                        <a:pt x="134" y="81"/>
                        <a:pt x="94" y="82"/>
                        <a:pt x="87" y="77"/>
                      </a:cubicBezTo>
                      <a:cubicBezTo>
                        <a:pt x="80" y="72"/>
                        <a:pt x="65" y="61"/>
                        <a:pt x="61" y="63"/>
                      </a:cubicBezTo>
                      <a:cubicBezTo>
                        <a:pt x="57" y="65"/>
                        <a:pt x="62" y="103"/>
                        <a:pt x="47" y="115"/>
                      </a:cubicBezTo>
                      <a:cubicBezTo>
                        <a:pt x="32" y="127"/>
                        <a:pt x="25" y="128"/>
                        <a:pt x="13" y="138"/>
                      </a:cubicBezTo>
                      <a:cubicBezTo>
                        <a:pt x="3" y="146"/>
                        <a:pt x="5" y="152"/>
                        <a:pt x="7" y="154"/>
                      </a:cubicBezTo>
                      <a:cubicBezTo>
                        <a:pt x="0" y="165"/>
                        <a:pt x="0" y="165"/>
                        <a:pt x="0" y="165"/>
                      </a:cubicBezTo>
                      <a:cubicBezTo>
                        <a:pt x="8" y="152"/>
                        <a:pt x="8" y="152"/>
                        <a:pt x="8" y="152"/>
                      </a:cubicBezTo>
                      <a:cubicBezTo>
                        <a:pt x="14" y="166"/>
                        <a:pt x="14" y="166"/>
                        <a:pt x="14" y="166"/>
                      </a:cubicBezTo>
                      <a:cubicBezTo>
                        <a:pt x="26" y="180"/>
                        <a:pt x="26" y="180"/>
                        <a:pt x="26" y="180"/>
                      </a:cubicBezTo>
                      <a:cubicBezTo>
                        <a:pt x="33" y="168"/>
                        <a:pt x="33" y="168"/>
                        <a:pt x="33" y="168"/>
                      </a:cubicBezTo>
                      <a:cubicBezTo>
                        <a:pt x="33" y="168"/>
                        <a:pt x="42" y="181"/>
                        <a:pt x="47" y="181"/>
                      </a:cubicBezTo>
                      <a:cubicBezTo>
                        <a:pt x="52" y="181"/>
                        <a:pt x="60" y="175"/>
                        <a:pt x="64" y="182"/>
                      </a:cubicBezTo>
                      <a:cubicBezTo>
                        <a:pt x="68" y="189"/>
                        <a:pt x="68" y="223"/>
                        <a:pt x="68" y="223"/>
                      </a:cubicBezTo>
                      <a:cubicBezTo>
                        <a:pt x="93" y="223"/>
                        <a:pt x="93" y="223"/>
                        <a:pt x="93" y="223"/>
                      </a:cubicBezTo>
                      <a:cubicBezTo>
                        <a:pt x="96" y="233"/>
                        <a:pt x="96" y="233"/>
                        <a:pt x="96" y="233"/>
                      </a:cubicBezTo>
                      <a:cubicBezTo>
                        <a:pt x="96" y="233"/>
                        <a:pt x="73" y="221"/>
                        <a:pt x="69" y="234"/>
                      </a:cubicBezTo>
                      <a:cubicBezTo>
                        <a:pt x="65" y="247"/>
                        <a:pt x="80" y="263"/>
                        <a:pt x="80" y="263"/>
                      </a:cubicBezTo>
                      <a:cubicBezTo>
                        <a:pt x="87" y="274"/>
                        <a:pt x="87" y="274"/>
                        <a:pt x="87" y="274"/>
                      </a:cubicBezTo>
                      <a:cubicBezTo>
                        <a:pt x="106" y="266"/>
                        <a:pt x="106" y="266"/>
                        <a:pt x="106" y="266"/>
                      </a:cubicBezTo>
                      <a:cubicBezTo>
                        <a:pt x="106" y="266"/>
                        <a:pt x="126" y="280"/>
                        <a:pt x="135" y="279"/>
                      </a:cubicBezTo>
                      <a:cubicBezTo>
                        <a:pt x="144" y="278"/>
                        <a:pt x="153" y="275"/>
                        <a:pt x="153" y="275"/>
                      </a:cubicBezTo>
                      <a:cubicBezTo>
                        <a:pt x="153" y="275"/>
                        <a:pt x="165" y="268"/>
                        <a:pt x="166" y="265"/>
                      </a:cubicBezTo>
                      <a:cubicBezTo>
                        <a:pt x="167" y="262"/>
                        <a:pt x="155" y="260"/>
                        <a:pt x="169" y="252"/>
                      </a:cubicBezTo>
                      <a:cubicBezTo>
                        <a:pt x="183" y="245"/>
                        <a:pt x="207" y="246"/>
                        <a:pt x="207" y="246"/>
                      </a:cubicBezTo>
                      <a:cubicBezTo>
                        <a:pt x="217" y="236"/>
                        <a:pt x="217" y="236"/>
                        <a:pt x="217" y="236"/>
                      </a:cubicBezTo>
                      <a:cubicBezTo>
                        <a:pt x="212" y="229"/>
                        <a:pt x="208" y="224"/>
                        <a:pt x="208" y="224"/>
                      </a:cubicBezTo>
                      <a:cubicBezTo>
                        <a:pt x="177" y="207"/>
                        <a:pt x="177" y="207"/>
                        <a:pt x="177" y="207"/>
                      </a:cubicBezTo>
                      <a:cubicBezTo>
                        <a:pt x="177" y="207"/>
                        <a:pt x="155" y="215"/>
                        <a:pt x="162" y="202"/>
                      </a:cubicBezTo>
                      <a:cubicBezTo>
                        <a:pt x="169" y="189"/>
                        <a:pt x="169" y="189"/>
                        <a:pt x="169" y="189"/>
                      </a:cubicBezTo>
                      <a:cubicBezTo>
                        <a:pt x="169" y="189"/>
                        <a:pt x="144" y="178"/>
                        <a:pt x="154" y="167"/>
                      </a:cubicBezTo>
                      <a:cubicBezTo>
                        <a:pt x="164" y="156"/>
                        <a:pt x="185" y="160"/>
                        <a:pt x="190" y="146"/>
                      </a:cubicBezTo>
                      <a:cubicBezTo>
                        <a:pt x="195" y="132"/>
                        <a:pt x="200" y="117"/>
                        <a:pt x="200" y="117"/>
                      </a:cubicBezTo>
                      <a:cubicBezTo>
                        <a:pt x="216" y="109"/>
                        <a:pt x="216" y="109"/>
                        <a:pt x="216" y="109"/>
                      </a:cubicBezTo>
                      <a:cubicBezTo>
                        <a:pt x="211" y="88"/>
                        <a:pt x="211" y="88"/>
                        <a:pt x="211" y="88"/>
                      </a:cubicBezTo>
                      <a:cubicBezTo>
                        <a:pt x="211" y="88"/>
                        <a:pt x="195" y="77"/>
                        <a:pt x="196" y="60"/>
                      </a:cubicBezTo>
                      <a:cubicBezTo>
                        <a:pt x="197" y="43"/>
                        <a:pt x="220" y="38"/>
                        <a:pt x="220" y="38"/>
                      </a:cubicBezTo>
                      <a:cubicBezTo>
                        <a:pt x="211" y="23"/>
                        <a:pt x="211" y="23"/>
                        <a:pt x="211" y="23"/>
                      </a:cubicBezTo>
                      <a:cubicBezTo>
                        <a:pt x="192" y="17"/>
                        <a:pt x="192" y="17"/>
                        <a:pt x="192" y="17"/>
                      </a:cubicBezTo>
                      <a:lnTo>
                        <a:pt x="182" y="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1" name="Nepal">
                  <a:extLst>
                    <a:ext uri="{FF2B5EF4-FFF2-40B4-BE49-F238E27FC236}">
                      <a16:creationId xmlns:a16="http://schemas.microsoft.com/office/drawing/2014/main" id="{E37D8036-B6A2-0D33-B15D-7ED66E84DEF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669192" y="3161641"/>
                  <a:ext cx="223876" cy="130115"/>
                </a:xfrm>
                <a:custGeom>
                  <a:avLst/>
                  <a:gdLst>
                    <a:gd name="T0" fmla="*/ 203 w 400"/>
                    <a:gd name="T1" fmla="*/ 166 h 233"/>
                    <a:gd name="T2" fmla="*/ 213 w 400"/>
                    <a:gd name="T3" fmla="*/ 179 h 233"/>
                    <a:gd name="T4" fmla="*/ 227 w 400"/>
                    <a:gd name="T5" fmla="*/ 176 h 233"/>
                    <a:gd name="T6" fmla="*/ 244 w 400"/>
                    <a:gd name="T7" fmla="*/ 194 h 233"/>
                    <a:gd name="T8" fmla="*/ 262 w 400"/>
                    <a:gd name="T9" fmla="*/ 213 h 233"/>
                    <a:gd name="T10" fmla="*/ 274 w 400"/>
                    <a:gd name="T11" fmla="*/ 204 h 233"/>
                    <a:gd name="T12" fmla="*/ 296 w 400"/>
                    <a:gd name="T13" fmla="*/ 218 h 233"/>
                    <a:gd name="T14" fmla="*/ 313 w 400"/>
                    <a:gd name="T15" fmla="*/ 213 h 233"/>
                    <a:gd name="T16" fmla="*/ 337 w 400"/>
                    <a:gd name="T17" fmla="*/ 230 h 233"/>
                    <a:gd name="T18" fmla="*/ 351 w 400"/>
                    <a:gd name="T19" fmla="*/ 219 h 233"/>
                    <a:gd name="T20" fmla="*/ 361 w 400"/>
                    <a:gd name="T21" fmla="*/ 229 h 233"/>
                    <a:gd name="T22" fmla="*/ 377 w 400"/>
                    <a:gd name="T23" fmla="*/ 230 h 233"/>
                    <a:gd name="T24" fmla="*/ 399 w 400"/>
                    <a:gd name="T25" fmla="*/ 224 h 233"/>
                    <a:gd name="T26" fmla="*/ 400 w 400"/>
                    <a:gd name="T27" fmla="*/ 206 h 233"/>
                    <a:gd name="T28" fmla="*/ 390 w 400"/>
                    <a:gd name="T29" fmla="*/ 191 h 233"/>
                    <a:gd name="T30" fmla="*/ 390 w 400"/>
                    <a:gd name="T31" fmla="*/ 159 h 233"/>
                    <a:gd name="T32" fmla="*/ 384 w 400"/>
                    <a:gd name="T33" fmla="*/ 144 h 233"/>
                    <a:gd name="T34" fmla="*/ 363 w 400"/>
                    <a:gd name="T35" fmla="*/ 153 h 233"/>
                    <a:gd name="T36" fmla="*/ 316 w 400"/>
                    <a:gd name="T37" fmla="*/ 134 h 233"/>
                    <a:gd name="T38" fmla="*/ 304 w 400"/>
                    <a:gd name="T39" fmla="*/ 143 h 233"/>
                    <a:gd name="T40" fmla="*/ 295 w 400"/>
                    <a:gd name="T41" fmla="*/ 130 h 233"/>
                    <a:gd name="T42" fmla="*/ 284 w 400"/>
                    <a:gd name="T43" fmla="*/ 143 h 233"/>
                    <a:gd name="T44" fmla="*/ 275 w 400"/>
                    <a:gd name="T45" fmla="*/ 124 h 233"/>
                    <a:gd name="T46" fmla="*/ 247 w 400"/>
                    <a:gd name="T47" fmla="*/ 126 h 233"/>
                    <a:gd name="T48" fmla="*/ 243 w 400"/>
                    <a:gd name="T49" fmla="*/ 109 h 233"/>
                    <a:gd name="T50" fmla="*/ 223 w 400"/>
                    <a:gd name="T51" fmla="*/ 113 h 233"/>
                    <a:gd name="T52" fmla="*/ 201 w 400"/>
                    <a:gd name="T53" fmla="*/ 95 h 233"/>
                    <a:gd name="T54" fmla="*/ 187 w 400"/>
                    <a:gd name="T55" fmla="*/ 66 h 233"/>
                    <a:gd name="T56" fmla="*/ 168 w 400"/>
                    <a:gd name="T57" fmla="*/ 83 h 233"/>
                    <a:gd name="T58" fmla="*/ 149 w 400"/>
                    <a:gd name="T59" fmla="*/ 50 h 233"/>
                    <a:gd name="T60" fmla="*/ 118 w 400"/>
                    <a:gd name="T61" fmla="*/ 44 h 233"/>
                    <a:gd name="T62" fmla="*/ 86 w 400"/>
                    <a:gd name="T63" fmla="*/ 15 h 233"/>
                    <a:gd name="T64" fmla="*/ 59 w 400"/>
                    <a:gd name="T65" fmla="*/ 17 h 233"/>
                    <a:gd name="T66" fmla="*/ 44 w 400"/>
                    <a:gd name="T67" fmla="*/ 30 h 233"/>
                    <a:gd name="T68" fmla="*/ 32 w 400"/>
                    <a:gd name="T69" fmla="*/ 19 h 233"/>
                    <a:gd name="T70" fmla="*/ 26 w 400"/>
                    <a:gd name="T71" fmla="*/ 32 h 233"/>
                    <a:gd name="T72" fmla="*/ 11 w 400"/>
                    <a:gd name="T73" fmla="*/ 50 h 233"/>
                    <a:gd name="T74" fmla="*/ 17 w 400"/>
                    <a:gd name="T75" fmla="*/ 59 h 233"/>
                    <a:gd name="T76" fmla="*/ 10 w 400"/>
                    <a:gd name="T77" fmla="*/ 67 h 233"/>
                    <a:gd name="T78" fmla="*/ 19 w 400"/>
                    <a:gd name="T79" fmla="*/ 73 h 233"/>
                    <a:gd name="T80" fmla="*/ 7 w 400"/>
                    <a:gd name="T81" fmla="*/ 91 h 233"/>
                    <a:gd name="T82" fmla="*/ 26 w 400"/>
                    <a:gd name="T83" fmla="*/ 110 h 233"/>
                    <a:gd name="T84" fmla="*/ 36 w 400"/>
                    <a:gd name="T85" fmla="*/ 104 h 233"/>
                    <a:gd name="T86" fmla="*/ 47 w 400"/>
                    <a:gd name="T87" fmla="*/ 122 h 233"/>
                    <a:gd name="T88" fmla="*/ 65 w 400"/>
                    <a:gd name="T89" fmla="*/ 122 h 233"/>
                    <a:gd name="T90" fmla="*/ 72 w 400"/>
                    <a:gd name="T91" fmla="*/ 132 h 233"/>
                    <a:gd name="T92" fmla="*/ 100 w 400"/>
                    <a:gd name="T93" fmla="*/ 147 h 233"/>
                    <a:gd name="T94" fmla="*/ 109 w 400"/>
                    <a:gd name="T95" fmla="*/ 146 h 233"/>
                    <a:gd name="T96" fmla="*/ 124 w 400"/>
                    <a:gd name="T97" fmla="*/ 160 h 233"/>
                    <a:gd name="T98" fmla="*/ 142 w 400"/>
                    <a:gd name="T99" fmla="*/ 159 h 233"/>
                    <a:gd name="T100" fmla="*/ 148 w 400"/>
                    <a:gd name="T101" fmla="*/ 168 h 233"/>
                    <a:gd name="T102" fmla="*/ 168 w 400"/>
                    <a:gd name="T103" fmla="*/ 174 h 233"/>
                    <a:gd name="T104" fmla="*/ 171 w 400"/>
                    <a:gd name="T105" fmla="*/ 181 h 233"/>
                    <a:gd name="T106" fmla="*/ 185 w 400"/>
                    <a:gd name="T107" fmla="*/ 173 h 233"/>
                    <a:gd name="T108" fmla="*/ 195 w 400"/>
                    <a:gd name="T109" fmla="*/ 180 h 233"/>
                    <a:gd name="T110" fmla="*/ 203 w 400"/>
                    <a:gd name="T111" fmla="*/ 166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00" h="233">
                      <a:moveTo>
                        <a:pt x="203" y="166"/>
                      </a:moveTo>
                      <a:cubicBezTo>
                        <a:pt x="212" y="171"/>
                        <a:pt x="213" y="179"/>
                        <a:pt x="213" y="179"/>
                      </a:cubicBezTo>
                      <a:cubicBezTo>
                        <a:pt x="227" y="176"/>
                        <a:pt x="227" y="176"/>
                        <a:pt x="227" y="176"/>
                      </a:cubicBezTo>
                      <a:cubicBezTo>
                        <a:pt x="227" y="176"/>
                        <a:pt x="235" y="186"/>
                        <a:pt x="244" y="194"/>
                      </a:cubicBezTo>
                      <a:cubicBezTo>
                        <a:pt x="253" y="202"/>
                        <a:pt x="262" y="213"/>
                        <a:pt x="262" y="213"/>
                      </a:cubicBezTo>
                      <a:cubicBezTo>
                        <a:pt x="274" y="204"/>
                        <a:pt x="274" y="204"/>
                        <a:pt x="274" y="204"/>
                      </a:cubicBezTo>
                      <a:cubicBezTo>
                        <a:pt x="296" y="218"/>
                        <a:pt x="296" y="218"/>
                        <a:pt x="296" y="218"/>
                      </a:cubicBezTo>
                      <a:cubicBezTo>
                        <a:pt x="296" y="218"/>
                        <a:pt x="300" y="209"/>
                        <a:pt x="313" y="213"/>
                      </a:cubicBezTo>
                      <a:cubicBezTo>
                        <a:pt x="326" y="217"/>
                        <a:pt x="337" y="230"/>
                        <a:pt x="337" y="230"/>
                      </a:cubicBezTo>
                      <a:cubicBezTo>
                        <a:pt x="337" y="230"/>
                        <a:pt x="345" y="219"/>
                        <a:pt x="351" y="219"/>
                      </a:cubicBezTo>
                      <a:cubicBezTo>
                        <a:pt x="357" y="219"/>
                        <a:pt x="352" y="229"/>
                        <a:pt x="361" y="229"/>
                      </a:cubicBezTo>
                      <a:cubicBezTo>
                        <a:pt x="370" y="229"/>
                        <a:pt x="377" y="230"/>
                        <a:pt x="377" y="230"/>
                      </a:cubicBezTo>
                      <a:cubicBezTo>
                        <a:pt x="377" y="230"/>
                        <a:pt x="398" y="233"/>
                        <a:pt x="399" y="224"/>
                      </a:cubicBezTo>
                      <a:cubicBezTo>
                        <a:pt x="400" y="215"/>
                        <a:pt x="400" y="206"/>
                        <a:pt x="400" y="206"/>
                      </a:cubicBezTo>
                      <a:cubicBezTo>
                        <a:pt x="390" y="191"/>
                        <a:pt x="390" y="191"/>
                        <a:pt x="390" y="191"/>
                      </a:cubicBezTo>
                      <a:cubicBezTo>
                        <a:pt x="390" y="159"/>
                        <a:pt x="390" y="159"/>
                        <a:pt x="390" y="159"/>
                      </a:cubicBezTo>
                      <a:cubicBezTo>
                        <a:pt x="384" y="144"/>
                        <a:pt x="384" y="144"/>
                        <a:pt x="384" y="144"/>
                      </a:cubicBezTo>
                      <a:cubicBezTo>
                        <a:pt x="376" y="148"/>
                        <a:pt x="369" y="152"/>
                        <a:pt x="363" y="153"/>
                      </a:cubicBezTo>
                      <a:cubicBezTo>
                        <a:pt x="349" y="154"/>
                        <a:pt x="316" y="134"/>
                        <a:pt x="316" y="134"/>
                      </a:cubicBezTo>
                      <a:cubicBezTo>
                        <a:pt x="316" y="134"/>
                        <a:pt x="314" y="142"/>
                        <a:pt x="304" y="143"/>
                      </a:cubicBezTo>
                      <a:cubicBezTo>
                        <a:pt x="294" y="144"/>
                        <a:pt x="295" y="130"/>
                        <a:pt x="295" y="130"/>
                      </a:cubicBezTo>
                      <a:cubicBezTo>
                        <a:pt x="295" y="130"/>
                        <a:pt x="293" y="144"/>
                        <a:pt x="284" y="143"/>
                      </a:cubicBezTo>
                      <a:cubicBezTo>
                        <a:pt x="275" y="142"/>
                        <a:pt x="275" y="124"/>
                        <a:pt x="275" y="124"/>
                      </a:cubicBezTo>
                      <a:cubicBezTo>
                        <a:pt x="275" y="124"/>
                        <a:pt x="263" y="133"/>
                        <a:pt x="247" y="126"/>
                      </a:cubicBezTo>
                      <a:cubicBezTo>
                        <a:pt x="231" y="119"/>
                        <a:pt x="248" y="116"/>
                        <a:pt x="243" y="109"/>
                      </a:cubicBezTo>
                      <a:cubicBezTo>
                        <a:pt x="238" y="102"/>
                        <a:pt x="223" y="113"/>
                        <a:pt x="223" y="113"/>
                      </a:cubicBezTo>
                      <a:cubicBezTo>
                        <a:pt x="223" y="113"/>
                        <a:pt x="209" y="101"/>
                        <a:pt x="201" y="95"/>
                      </a:cubicBezTo>
                      <a:cubicBezTo>
                        <a:pt x="193" y="89"/>
                        <a:pt x="198" y="73"/>
                        <a:pt x="187" y="66"/>
                      </a:cubicBezTo>
                      <a:cubicBezTo>
                        <a:pt x="176" y="59"/>
                        <a:pt x="172" y="84"/>
                        <a:pt x="168" y="83"/>
                      </a:cubicBezTo>
                      <a:cubicBezTo>
                        <a:pt x="164" y="82"/>
                        <a:pt x="149" y="50"/>
                        <a:pt x="149" y="50"/>
                      </a:cubicBezTo>
                      <a:cubicBezTo>
                        <a:pt x="118" y="44"/>
                        <a:pt x="118" y="44"/>
                        <a:pt x="118" y="44"/>
                      </a:cubicBezTo>
                      <a:cubicBezTo>
                        <a:pt x="118" y="44"/>
                        <a:pt x="100" y="30"/>
                        <a:pt x="86" y="15"/>
                      </a:cubicBezTo>
                      <a:cubicBezTo>
                        <a:pt x="72" y="0"/>
                        <a:pt x="59" y="17"/>
                        <a:pt x="59" y="17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32" y="19"/>
                        <a:pt x="32" y="19"/>
                        <a:pt x="32" y="19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17" y="59"/>
                        <a:pt x="17" y="59"/>
                        <a:pt x="17" y="59"/>
                      </a:cubicBezTo>
                      <a:cubicBezTo>
                        <a:pt x="17" y="59"/>
                        <a:pt x="6" y="61"/>
                        <a:pt x="10" y="67"/>
                      </a:cubicBezTo>
                      <a:cubicBezTo>
                        <a:pt x="14" y="73"/>
                        <a:pt x="19" y="73"/>
                        <a:pt x="19" y="73"/>
                      </a:cubicBezTo>
                      <a:cubicBezTo>
                        <a:pt x="19" y="73"/>
                        <a:pt x="0" y="83"/>
                        <a:pt x="7" y="91"/>
                      </a:cubicBezTo>
                      <a:cubicBezTo>
                        <a:pt x="14" y="99"/>
                        <a:pt x="26" y="110"/>
                        <a:pt x="26" y="110"/>
                      </a:cubicBezTo>
                      <a:cubicBezTo>
                        <a:pt x="36" y="104"/>
                        <a:pt x="36" y="104"/>
                        <a:pt x="36" y="104"/>
                      </a:cubicBezTo>
                      <a:cubicBezTo>
                        <a:pt x="47" y="122"/>
                        <a:pt x="47" y="122"/>
                        <a:pt x="47" y="122"/>
                      </a:cubicBezTo>
                      <a:cubicBezTo>
                        <a:pt x="65" y="122"/>
                        <a:pt x="65" y="122"/>
                        <a:pt x="65" y="122"/>
                      </a:cubicBezTo>
                      <a:cubicBezTo>
                        <a:pt x="72" y="132"/>
                        <a:pt x="72" y="132"/>
                        <a:pt x="72" y="132"/>
                      </a:cubicBezTo>
                      <a:cubicBezTo>
                        <a:pt x="100" y="147"/>
                        <a:pt x="100" y="147"/>
                        <a:pt x="100" y="147"/>
                      </a:cubicBezTo>
                      <a:cubicBezTo>
                        <a:pt x="109" y="146"/>
                        <a:pt x="109" y="146"/>
                        <a:pt x="109" y="146"/>
                      </a:cubicBezTo>
                      <a:cubicBezTo>
                        <a:pt x="109" y="146"/>
                        <a:pt x="116" y="160"/>
                        <a:pt x="124" y="160"/>
                      </a:cubicBezTo>
                      <a:cubicBezTo>
                        <a:pt x="132" y="160"/>
                        <a:pt x="137" y="157"/>
                        <a:pt x="142" y="159"/>
                      </a:cubicBezTo>
                      <a:cubicBezTo>
                        <a:pt x="147" y="161"/>
                        <a:pt x="135" y="166"/>
                        <a:pt x="148" y="168"/>
                      </a:cubicBezTo>
                      <a:cubicBezTo>
                        <a:pt x="161" y="170"/>
                        <a:pt x="168" y="174"/>
                        <a:pt x="168" y="174"/>
                      </a:cubicBezTo>
                      <a:cubicBezTo>
                        <a:pt x="171" y="181"/>
                        <a:pt x="171" y="181"/>
                        <a:pt x="171" y="181"/>
                      </a:cubicBezTo>
                      <a:cubicBezTo>
                        <a:pt x="171" y="181"/>
                        <a:pt x="176" y="173"/>
                        <a:pt x="185" y="173"/>
                      </a:cubicBezTo>
                      <a:cubicBezTo>
                        <a:pt x="194" y="173"/>
                        <a:pt x="195" y="180"/>
                        <a:pt x="195" y="180"/>
                      </a:cubicBezTo>
                      <a:cubicBezTo>
                        <a:pt x="195" y="180"/>
                        <a:pt x="194" y="161"/>
                        <a:pt x="203" y="166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2" name="Myanmar (Burma)">
                  <a:extLst>
                    <a:ext uri="{FF2B5EF4-FFF2-40B4-BE49-F238E27FC236}">
                      <a16:creationId xmlns:a16="http://schemas.microsoft.com/office/drawing/2014/main" id="{27C8A47E-E6FC-CB8E-AA30-9D6423F92F1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18502" y="3225112"/>
                  <a:ext cx="238166" cy="560129"/>
                </a:xfrm>
                <a:custGeom>
                  <a:avLst/>
                  <a:gdLst>
                    <a:gd name="T0" fmla="*/ 9 w 426"/>
                    <a:gd name="T1" fmla="*/ 422 h 1001"/>
                    <a:gd name="T2" fmla="*/ 81 w 426"/>
                    <a:gd name="T3" fmla="*/ 465 h 1001"/>
                    <a:gd name="T4" fmla="*/ 132 w 426"/>
                    <a:gd name="T5" fmla="*/ 562 h 1001"/>
                    <a:gd name="T6" fmla="*/ 145 w 426"/>
                    <a:gd name="T7" fmla="*/ 654 h 1001"/>
                    <a:gd name="T8" fmla="*/ 168 w 426"/>
                    <a:gd name="T9" fmla="*/ 671 h 1001"/>
                    <a:gd name="T10" fmla="*/ 240 w 426"/>
                    <a:gd name="T11" fmla="*/ 641 h 1001"/>
                    <a:gd name="T12" fmla="*/ 267 w 426"/>
                    <a:gd name="T13" fmla="*/ 638 h 1001"/>
                    <a:gd name="T14" fmla="*/ 303 w 426"/>
                    <a:gd name="T15" fmla="*/ 745 h 1001"/>
                    <a:gd name="T16" fmla="*/ 350 w 426"/>
                    <a:gd name="T17" fmla="*/ 849 h 1001"/>
                    <a:gd name="T18" fmla="*/ 337 w 426"/>
                    <a:gd name="T19" fmla="*/ 918 h 1001"/>
                    <a:gd name="T20" fmla="*/ 355 w 426"/>
                    <a:gd name="T21" fmla="*/ 970 h 1001"/>
                    <a:gd name="T22" fmla="*/ 375 w 426"/>
                    <a:gd name="T23" fmla="*/ 956 h 1001"/>
                    <a:gd name="T24" fmla="*/ 396 w 426"/>
                    <a:gd name="T25" fmla="*/ 861 h 1001"/>
                    <a:gd name="T26" fmla="*/ 344 w 426"/>
                    <a:gd name="T27" fmla="*/ 760 h 1001"/>
                    <a:gd name="T28" fmla="*/ 341 w 426"/>
                    <a:gd name="T29" fmla="*/ 687 h 1001"/>
                    <a:gd name="T30" fmla="*/ 344 w 426"/>
                    <a:gd name="T31" fmla="*/ 653 h 1001"/>
                    <a:gd name="T32" fmla="*/ 295 w 426"/>
                    <a:gd name="T33" fmla="*/ 592 h 1001"/>
                    <a:gd name="T34" fmla="*/ 273 w 426"/>
                    <a:gd name="T35" fmla="*/ 554 h 1001"/>
                    <a:gd name="T36" fmla="*/ 272 w 426"/>
                    <a:gd name="T37" fmla="*/ 512 h 1001"/>
                    <a:gd name="T38" fmla="*/ 318 w 426"/>
                    <a:gd name="T39" fmla="*/ 477 h 1001"/>
                    <a:gd name="T40" fmla="*/ 352 w 426"/>
                    <a:gd name="T41" fmla="*/ 440 h 1001"/>
                    <a:gd name="T42" fmla="*/ 399 w 426"/>
                    <a:gd name="T43" fmla="*/ 414 h 1001"/>
                    <a:gd name="T44" fmla="*/ 399 w 426"/>
                    <a:gd name="T45" fmla="*/ 392 h 1001"/>
                    <a:gd name="T46" fmla="*/ 397 w 426"/>
                    <a:gd name="T47" fmla="*/ 380 h 1001"/>
                    <a:gd name="T48" fmla="*/ 361 w 426"/>
                    <a:gd name="T49" fmla="*/ 370 h 1001"/>
                    <a:gd name="T50" fmla="*/ 326 w 426"/>
                    <a:gd name="T51" fmla="*/ 329 h 1001"/>
                    <a:gd name="T52" fmla="*/ 301 w 426"/>
                    <a:gd name="T53" fmla="*/ 292 h 1001"/>
                    <a:gd name="T54" fmla="*/ 297 w 426"/>
                    <a:gd name="T55" fmla="*/ 237 h 1001"/>
                    <a:gd name="T56" fmla="*/ 242 w 426"/>
                    <a:gd name="T57" fmla="*/ 235 h 1001"/>
                    <a:gd name="T58" fmla="*/ 233 w 426"/>
                    <a:gd name="T59" fmla="*/ 203 h 1001"/>
                    <a:gd name="T60" fmla="*/ 243 w 426"/>
                    <a:gd name="T61" fmla="*/ 156 h 1001"/>
                    <a:gd name="T62" fmla="*/ 253 w 426"/>
                    <a:gd name="T63" fmla="*/ 133 h 1001"/>
                    <a:gd name="T64" fmla="*/ 255 w 426"/>
                    <a:gd name="T65" fmla="*/ 74 h 1001"/>
                    <a:gd name="T66" fmla="*/ 211 w 426"/>
                    <a:gd name="T67" fmla="*/ 15 h 1001"/>
                    <a:gd name="T68" fmla="*/ 187 w 426"/>
                    <a:gd name="T69" fmla="*/ 32 h 1001"/>
                    <a:gd name="T70" fmla="*/ 159 w 426"/>
                    <a:gd name="T71" fmla="*/ 69 h 1001"/>
                    <a:gd name="T72" fmla="*/ 98 w 426"/>
                    <a:gd name="T73" fmla="*/ 102 h 1001"/>
                    <a:gd name="T74" fmla="*/ 96 w 426"/>
                    <a:gd name="T75" fmla="*/ 158 h 1001"/>
                    <a:gd name="T76" fmla="*/ 80 w 426"/>
                    <a:gd name="T77" fmla="*/ 225 h 1001"/>
                    <a:gd name="T78" fmla="*/ 26 w 426"/>
                    <a:gd name="T79" fmla="*/ 244 h 1001"/>
                    <a:gd name="T80" fmla="*/ 32 w 426"/>
                    <a:gd name="T81" fmla="*/ 301 h 1001"/>
                    <a:gd name="T82" fmla="*/ 31 w 426"/>
                    <a:gd name="T83" fmla="*/ 342 h 1001"/>
                    <a:gd name="T84" fmla="*/ 25 w 426"/>
                    <a:gd name="T85" fmla="*/ 383 h 1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26" h="1001">
                      <a:moveTo>
                        <a:pt x="0" y="391"/>
                      </a:moveTo>
                      <a:cubicBezTo>
                        <a:pt x="5" y="391"/>
                        <a:pt x="9" y="391"/>
                        <a:pt x="9" y="391"/>
                      </a:cubicBezTo>
                      <a:cubicBezTo>
                        <a:pt x="9" y="422"/>
                        <a:pt x="9" y="422"/>
                        <a:pt x="9" y="422"/>
                      </a:cubicBezTo>
                      <a:cubicBezTo>
                        <a:pt x="9" y="422"/>
                        <a:pt x="32" y="428"/>
                        <a:pt x="41" y="438"/>
                      </a:cubicBezTo>
                      <a:cubicBezTo>
                        <a:pt x="51" y="448"/>
                        <a:pt x="59" y="470"/>
                        <a:pt x="59" y="470"/>
                      </a:cubicBezTo>
                      <a:cubicBezTo>
                        <a:pt x="81" y="465"/>
                        <a:pt x="81" y="465"/>
                        <a:pt x="81" y="465"/>
                      </a:cubicBezTo>
                      <a:cubicBezTo>
                        <a:pt x="67" y="494"/>
                        <a:pt x="67" y="494"/>
                        <a:pt x="67" y="494"/>
                      </a:cubicBezTo>
                      <a:cubicBezTo>
                        <a:pt x="67" y="494"/>
                        <a:pt x="98" y="501"/>
                        <a:pt x="110" y="510"/>
                      </a:cubicBezTo>
                      <a:cubicBezTo>
                        <a:pt x="122" y="519"/>
                        <a:pt x="130" y="555"/>
                        <a:pt x="132" y="562"/>
                      </a:cubicBezTo>
                      <a:cubicBezTo>
                        <a:pt x="134" y="568"/>
                        <a:pt x="148" y="581"/>
                        <a:pt x="148" y="581"/>
                      </a:cubicBezTo>
                      <a:cubicBezTo>
                        <a:pt x="137" y="593"/>
                        <a:pt x="137" y="593"/>
                        <a:pt x="137" y="593"/>
                      </a:cubicBezTo>
                      <a:cubicBezTo>
                        <a:pt x="145" y="654"/>
                        <a:pt x="145" y="654"/>
                        <a:pt x="145" y="654"/>
                      </a:cubicBezTo>
                      <a:cubicBezTo>
                        <a:pt x="134" y="662"/>
                        <a:pt x="134" y="662"/>
                        <a:pt x="134" y="662"/>
                      </a:cubicBezTo>
                      <a:cubicBezTo>
                        <a:pt x="134" y="662"/>
                        <a:pt x="140" y="681"/>
                        <a:pt x="149" y="680"/>
                      </a:cubicBezTo>
                      <a:cubicBezTo>
                        <a:pt x="158" y="679"/>
                        <a:pt x="168" y="671"/>
                        <a:pt x="168" y="671"/>
                      </a:cubicBezTo>
                      <a:cubicBezTo>
                        <a:pt x="168" y="671"/>
                        <a:pt x="172" y="686"/>
                        <a:pt x="183" y="681"/>
                      </a:cubicBezTo>
                      <a:cubicBezTo>
                        <a:pt x="195" y="677"/>
                        <a:pt x="206" y="654"/>
                        <a:pt x="206" y="654"/>
                      </a:cubicBezTo>
                      <a:cubicBezTo>
                        <a:pt x="206" y="654"/>
                        <a:pt x="228" y="650"/>
                        <a:pt x="240" y="641"/>
                      </a:cubicBezTo>
                      <a:cubicBezTo>
                        <a:pt x="252" y="631"/>
                        <a:pt x="238" y="602"/>
                        <a:pt x="245" y="596"/>
                      </a:cubicBezTo>
                      <a:cubicBezTo>
                        <a:pt x="253" y="590"/>
                        <a:pt x="268" y="617"/>
                        <a:pt x="268" y="617"/>
                      </a:cubicBezTo>
                      <a:cubicBezTo>
                        <a:pt x="267" y="638"/>
                        <a:pt x="267" y="638"/>
                        <a:pt x="267" y="638"/>
                      </a:cubicBezTo>
                      <a:cubicBezTo>
                        <a:pt x="267" y="638"/>
                        <a:pt x="288" y="639"/>
                        <a:pt x="289" y="656"/>
                      </a:cubicBezTo>
                      <a:cubicBezTo>
                        <a:pt x="289" y="673"/>
                        <a:pt x="296" y="685"/>
                        <a:pt x="298" y="698"/>
                      </a:cubicBezTo>
                      <a:cubicBezTo>
                        <a:pt x="300" y="712"/>
                        <a:pt x="303" y="745"/>
                        <a:pt x="303" y="745"/>
                      </a:cubicBezTo>
                      <a:cubicBezTo>
                        <a:pt x="303" y="745"/>
                        <a:pt x="304" y="757"/>
                        <a:pt x="311" y="766"/>
                      </a:cubicBezTo>
                      <a:cubicBezTo>
                        <a:pt x="319" y="775"/>
                        <a:pt x="322" y="788"/>
                        <a:pt x="322" y="788"/>
                      </a:cubicBezTo>
                      <a:cubicBezTo>
                        <a:pt x="350" y="849"/>
                        <a:pt x="350" y="849"/>
                        <a:pt x="350" y="849"/>
                      </a:cubicBezTo>
                      <a:cubicBezTo>
                        <a:pt x="360" y="879"/>
                        <a:pt x="360" y="879"/>
                        <a:pt x="360" y="879"/>
                      </a:cubicBezTo>
                      <a:cubicBezTo>
                        <a:pt x="360" y="879"/>
                        <a:pt x="346" y="876"/>
                        <a:pt x="345" y="884"/>
                      </a:cubicBezTo>
                      <a:cubicBezTo>
                        <a:pt x="343" y="893"/>
                        <a:pt x="337" y="918"/>
                        <a:pt x="337" y="918"/>
                      </a:cubicBezTo>
                      <a:cubicBezTo>
                        <a:pt x="366" y="908"/>
                        <a:pt x="366" y="908"/>
                        <a:pt x="366" y="908"/>
                      </a:cubicBezTo>
                      <a:cubicBezTo>
                        <a:pt x="358" y="945"/>
                        <a:pt x="358" y="945"/>
                        <a:pt x="358" y="945"/>
                      </a:cubicBezTo>
                      <a:cubicBezTo>
                        <a:pt x="358" y="945"/>
                        <a:pt x="354" y="957"/>
                        <a:pt x="355" y="970"/>
                      </a:cubicBezTo>
                      <a:cubicBezTo>
                        <a:pt x="356" y="982"/>
                        <a:pt x="363" y="1001"/>
                        <a:pt x="363" y="1001"/>
                      </a:cubicBezTo>
                      <a:cubicBezTo>
                        <a:pt x="363" y="1001"/>
                        <a:pt x="372" y="988"/>
                        <a:pt x="373" y="979"/>
                      </a:cubicBezTo>
                      <a:cubicBezTo>
                        <a:pt x="374" y="970"/>
                        <a:pt x="366" y="963"/>
                        <a:pt x="375" y="956"/>
                      </a:cubicBezTo>
                      <a:cubicBezTo>
                        <a:pt x="384" y="949"/>
                        <a:pt x="389" y="942"/>
                        <a:pt x="392" y="932"/>
                      </a:cubicBezTo>
                      <a:cubicBezTo>
                        <a:pt x="395" y="922"/>
                        <a:pt x="402" y="897"/>
                        <a:pt x="398" y="884"/>
                      </a:cubicBezTo>
                      <a:cubicBezTo>
                        <a:pt x="394" y="871"/>
                        <a:pt x="396" y="861"/>
                        <a:pt x="396" y="861"/>
                      </a:cubicBezTo>
                      <a:cubicBezTo>
                        <a:pt x="396" y="861"/>
                        <a:pt x="381" y="849"/>
                        <a:pt x="377" y="843"/>
                      </a:cubicBezTo>
                      <a:cubicBezTo>
                        <a:pt x="373" y="837"/>
                        <a:pt x="378" y="813"/>
                        <a:pt x="374" y="798"/>
                      </a:cubicBezTo>
                      <a:cubicBezTo>
                        <a:pt x="370" y="783"/>
                        <a:pt x="348" y="770"/>
                        <a:pt x="344" y="760"/>
                      </a:cubicBezTo>
                      <a:cubicBezTo>
                        <a:pt x="340" y="750"/>
                        <a:pt x="328" y="736"/>
                        <a:pt x="328" y="736"/>
                      </a:cubicBezTo>
                      <a:cubicBezTo>
                        <a:pt x="328" y="736"/>
                        <a:pt x="320" y="723"/>
                        <a:pt x="330" y="713"/>
                      </a:cubicBezTo>
                      <a:cubicBezTo>
                        <a:pt x="340" y="703"/>
                        <a:pt x="341" y="693"/>
                        <a:pt x="341" y="687"/>
                      </a:cubicBezTo>
                      <a:cubicBezTo>
                        <a:pt x="341" y="681"/>
                        <a:pt x="338" y="670"/>
                        <a:pt x="338" y="670"/>
                      </a:cubicBezTo>
                      <a:cubicBezTo>
                        <a:pt x="338" y="670"/>
                        <a:pt x="350" y="671"/>
                        <a:pt x="350" y="658"/>
                      </a:cubicBezTo>
                      <a:cubicBezTo>
                        <a:pt x="350" y="645"/>
                        <a:pt x="344" y="653"/>
                        <a:pt x="344" y="653"/>
                      </a:cubicBezTo>
                      <a:cubicBezTo>
                        <a:pt x="344" y="653"/>
                        <a:pt x="336" y="652"/>
                        <a:pt x="331" y="640"/>
                      </a:cubicBezTo>
                      <a:cubicBezTo>
                        <a:pt x="326" y="628"/>
                        <a:pt x="340" y="633"/>
                        <a:pt x="332" y="622"/>
                      </a:cubicBezTo>
                      <a:cubicBezTo>
                        <a:pt x="324" y="611"/>
                        <a:pt x="298" y="602"/>
                        <a:pt x="295" y="592"/>
                      </a:cubicBezTo>
                      <a:cubicBezTo>
                        <a:pt x="292" y="582"/>
                        <a:pt x="287" y="579"/>
                        <a:pt x="287" y="579"/>
                      </a:cubicBezTo>
                      <a:cubicBezTo>
                        <a:pt x="291" y="564"/>
                        <a:pt x="291" y="564"/>
                        <a:pt x="291" y="564"/>
                      </a:cubicBezTo>
                      <a:cubicBezTo>
                        <a:pt x="291" y="564"/>
                        <a:pt x="278" y="558"/>
                        <a:pt x="273" y="554"/>
                      </a:cubicBezTo>
                      <a:cubicBezTo>
                        <a:pt x="268" y="550"/>
                        <a:pt x="265" y="545"/>
                        <a:pt x="268" y="542"/>
                      </a:cubicBezTo>
                      <a:cubicBezTo>
                        <a:pt x="271" y="539"/>
                        <a:pt x="282" y="545"/>
                        <a:pt x="282" y="536"/>
                      </a:cubicBezTo>
                      <a:cubicBezTo>
                        <a:pt x="282" y="527"/>
                        <a:pt x="271" y="516"/>
                        <a:pt x="272" y="512"/>
                      </a:cubicBezTo>
                      <a:cubicBezTo>
                        <a:pt x="273" y="508"/>
                        <a:pt x="283" y="507"/>
                        <a:pt x="284" y="498"/>
                      </a:cubicBezTo>
                      <a:cubicBezTo>
                        <a:pt x="285" y="489"/>
                        <a:pt x="277" y="473"/>
                        <a:pt x="288" y="471"/>
                      </a:cubicBezTo>
                      <a:cubicBezTo>
                        <a:pt x="299" y="469"/>
                        <a:pt x="308" y="480"/>
                        <a:pt x="318" y="477"/>
                      </a:cubicBezTo>
                      <a:cubicBezTo>
                        <a:pt x="328" y="474"/>
                        <a:pt x="330" y="456"/>
                        <a:pt x="330" y="456"/>
                      </a:cubicBezTo>
                      <a:cubicBezTo>
                        <a:pt x="347" y="455"/>
                        <a:pt x="347" y="455"/>
                        <a:pt x="347" y="455"/>
                      </a:cubicBezTo>
                      <a:cubicBezTo>
                        <a:pt x="352" y="440"/>
                        <a:pt x="352" y="440"/>
                        <a:pt x="352" y="440"/>
                      </a:cubicBezTo>
                      <a:cubicBezTo>
                        <a:pt x="352" y="440"/>
                        <a:pt x="371" y="434"/>
                        <a:pt x="375" y="435"/>
                      </a:cubicBezTo>
                      <a:cubicBezTo>
                        <a:pt x="375" y="435"/>
                        <a:pt x="373" y="423"/>
                        <a:pt x="382" y="420"/>
                      </a:cubicBezTo>
                      <a:cubicBezTo>
                        <a:pt x="391" y="417"/>
                        <a:pt x="399" y="414"/>
                        <a:pt x="399" y="414"/>
                      </a:cubicBezTo>
                      <a:cubicBezTo>
                        <a:pt x="394" y="407"/>
                        <a:pt x="394" y="407"/>
                        <a:pt x="394" y="407"/>
                      </a:cubicBezTo>
                      <a:cubicBezTo>
                        <a:pt x="399" y="399"/>
                        <a:pt x="399" y="399"/>
                        <a:pt x="399" y="399"/>
                      </a:cubicBezTo>
                      <a:cubicBezTo>
                        <a:pt x="399" y="392"/>
                        <a:pt x="399" y="392"/>
                        <a:pt x="399" y="392"/>
                      </a:cubicBezTo>
                      <a:cubicBezTo>
                        <a:pt x="421" y="382"/>
                        <a:pt x="421" y="382"/>
                        <a:pt x="421" y="382"/>
                      </a:cubicBezTo>
                      <a:cubicBezTo>
                        <a:pt x="421" y="382"/>
                        <a:pt x="426" y="364"/>
                        <a:pt x="416" y="363"/>
                      </a:cubicBezTo>
                      <a:cubicBezTo>
                        <a:pt x="406" y="362"/>
                        <a:pt x="397" y="380"/>
                        <a:pt x="397" y="380"/>
                      </a:cubicBezTo>
                      <a:cubicBezTo>
                        <a:pt x="397" y="380"/>
                        <a:pt x="378" y="381"/>
                        <a:pt x="375" y="381"/>
                      </a:cubicBezTo>
                      <a:cubicBezTo>
                        <a:pt x="372" y="381"/>
                        <a:pt x="372" y="369"/>
                        <a:pt x="372" y="369"/>
                      </a:cubicBezTo>
                      <a:cubicBezTo>
                        <a:pt x="361" y="370"/>
                        <a:pt x="361" y="370"/>
                        <a:pt x="361" y="370"/>
                      </a:cubicBezTo>
                      <a:cubicBezTo>
                        <a:pt x="356" y="350"/>
                        <a:pt x="356" y="350"/>
                        <a:pt x="356" y="350"/>
                      </a:cubicBezTo>
                      <a:cubicBezTo>
                        <a:pt x="317" y="346"/>
                        <a:pt x="317" y="346"/>
                        <a:pt x="317" y="346"/>
                      </a:cubicBezTo>
                      <a:cubicBezTo>
                        <a:pt x="317" y="346"/>
                        <a:pt x="323" y="332"/>
                        <a:pt x="326" y="329"/>
                      </a:cubicBezTo>
                      <a:cubicBezTo>
                        <a:pt x="329" y="326"/>
                        <a:pt x="320" y="314"/>
                        <a:pt x="320" y="314"/>
                      </a:cubicBezTo>
                      <a:cubicBezTo>
                        <a:pt x="320" y="314"/>
                        <a:pt x="343" y="305"/>
                        <a:pt x="336" y="299"/>
                      </a:cubicBezTo>
                      <a:cubicBezTo>
                        <a:pt x="329" y="293"/>
                        <a:pt x="301" y="292"/>
                        <a:pt x="301" y="292"/>
                      </a:cubicBezTo>
                      <a:cubicBezTo>
                        <a:pt x="296" y="265"/>
                        <a:pt x="296" y="265"/>
                        <a:pt x="296" y="265"/>
                      </a:cubicBezTo>
                      <a:cubicBezTo>
                        <a:pt x="280" y="252"/>
                        <a:pt x="280" y="252"/>
                        <a:pt x="280" y="252"/>
                      </a:cubicBezTo>
                      <a:cubicBezTo>
                        <a:pt x="297" y="237"/>
                        <a:pt x="297" y="237"/>
                        <a:pt x="297" y="237"/>
                      </a:cubicBezTo>
                      <a:cubicBezTo>
                        <a:pt x="297" y="237"/>
                        <a:pt x="268" y="237"/>
                        <a:pt x="260" y="238"/>
                      </a:cubicBezTo>
                      <a:cubicBezTo>
                        <a:pt x="252" y="239"/>
                        <a:pt x="236" y="249"/>
                        <a:pt x="236" y="249"/>
                      </a:cubicBezTo>
                      <a:cubicBezTo>
                        <a:pt x="242" y="235"/>
                        <a:pt x="242" y="235"/>
                        <a:pt x="242" y="235"/>
                      </a:cubicBezTo>
                      <a:cubicBezTo>
                        <a:pt x="242" y="235"/>
                        <a:pt x="237" y="225"/>
                        <a:pt x="232" y="220"/>
                      </a:cubicBezTo>
                      <a:cubicBezTo>
                        <a:pt x="227" y="215"/>
                        <a:pt x="226" y="206"/>
                        <a:pt x="226" y="206"/>
                      </a:cubicBezTo>
                      <a:cubicBezTo>
                        <a:pt x="233" y="203"/>
                        <a:pt x="233" y="203"/>
                        <a:pt x="233" y="203"/>
                      </a:cubicBezTo>
                      <a:cubicBezTo>
                        <a:pt x="231" y="183"/>
                        <a:pt x="231" y="183"/>
                        <a:pt x="231" y="183"/>
                      </a:cubicBezTo>
                      <a:cubicBezTo>
                        <a:pt x="231" y="183"/>
                        <a:pt x="242" y="187"/>
                        <a:pt x="243" y="176"/>
                      </a:cubicBezTo>
                      <a:cubicBezTo>
                        <a:pt x="244" y="165"/>
                        <a:pt x="243" y="156"/>
                        <a:pt x="243" y="156"/>
                      </a:cubicBezTo>
                      <a:cubicBezTo>
                        <a:pt x="243" y="156"/>
                        <a:pt x="255" y="164"/>
                        <a:pt x="258" y="157"/>
                      </a:cubicBezTo>
                      <a:cubicBezTo>
                        <a:pt x="261" y="150"/>
                        <a:pt x="262" y="144"/>
                        <a:pt x="262" y="144"/>
                      </a:cubicBezTo>
                      <a:cubicBezTo>
                        <a:pt x="262" y="144"/>
                        <a:pt x="246" y="133"/>
                        <a:pt x="253" y="133"/>
                      </a:cubicBezTo>
                      <a:cubicBezTo>
                        <a:pt x="260" y="133"/>
                        <a:pt x="270" y="127"/>
                        <a:pt x="270" y="127"/>
                      </a:cubicBezTo>
                      <a:cubicBezTo>
                        <a:pt x="263" y="90"/>
                        <a:pt x="263" y="90"/>
                        <a:pt x="263" y="90"/>
                      </a:cubicBezTo>
                      <a:cubicBezTo>
                        <a:pt x="255" y="74"/>
                        <a:pt x="255" y="74"/>
                        <a:pt x="255" y="74"/>
                      </a:cubicBezTo>
                      <a:cubicBezTo>
                        <a:pt x="255" y="74"/>
                        <a:pt x="257" y="52"/>
                        <a:pt x="250" y="50"/>
                      </a:cubicBezTo>
                      <a:cubicBezTo>
                        <a:pt x="243" y="48"/>
                        <a:pt x="228" y="50"/>
                        <a:pt x="228" y="50"/>
                      </a:cubicBezTo>
                      <a:cubicBezTo>
                        <a:pt x="228" y="50"/>
                        <a:pt x="219" y="23"/>
                        <a:pt x="211" y="15"/>
                      </a:cubicBezTo>
                      <a:cubicBezTo>
                        <a:pt x="203" y="7"/>
                        <a:pt x="189" y="0"/>
                        <a:pt x="189" y="0"/>
                      </a:cubicBezTo>
                      <a:cubicBezTo>
                        <a:pt x="185" y="13"/>
                        <a:pt x="185" y="13"/>
                        <a:pt x="185" y="13"/>
                      </a:cubicBezTo>
                      <a:cubicBezTo>
                        <a:pt x="187" y="32"/>
                        <a:pt x="187" y="32"/>
                        <a:pt x="187" y="32"/>
                      </a:cubicBezTo>
                      <a:cubicBezTo>
                        <a:pt x="187" y="32"/>
                        <a:pt x="163" y="41"/>
                        <a:pt x="163" y="50"/>
                      </a:cubicBezTo>
                      <a:cubicBezTo>
                        <a:pt x="163" y="59"/>
                        <a:pt x="186" y="69"/>
                        <a:pt x="184" y="73"/>
                      </a:cubicBezTo>
                      <a:cubicBezTo>
                        <a:pt x="182" y="77"/>
                        <a:pt x="159" y="69"/>
                        <a:pt x="159" y="69"/>
                      </a:cubicBezTo>
                      <a:cubicBezTo>
                        <a:pt x="159" y="69"/>
                        <a:pt x="144" y="70"/>
                        <a:pt x="136" y="72"/>
                      </a:cubicBezTo>
                      <a:cubicBezTo>
                        <a:pt x="128" y="74"/>
                        <a:pt x="133" y="89"/>
                        <a:pt x="121" y="93"/>
                      </a:cubicBezTo>
                      <a:cubicBezTo>
                        <a:pt x="109" y="97"/>
                        <a:pt x="98" y="102"/>
                        <a:pt x="98" y="102"/>
                      </a:cubicBezTo>
                      <a:cubicBezTo>
                        <a:pt x="98" y="102"/>
                        <a:pt x="100" y="116"/>
                        <a:pt x="101" y="121"/>
                      </a:cubicBezTo>
                      <a:cubicBezTo>
                        <a:pt x="102" y="126"/>
                        <a:pt x="108" y="137"/>
                        <a:pt x="108" y="137"/>
                      </a:cubicBezTo>
                      <a:cubicBezTo>
                        <a:pt x="96" y="158"/>
                        <a:pt x="96" y="158"/>
                        <a:pt x="96" y="158"/>
                      </a:cubicBezTo>
                      <a:cubicBezTo>
                        <a:pt x="96" y="158"/>
                        <a:pt x="82" y="162"/>
                        <a:pt x="82" y="172"/>
                      </a:cubicBezTo>
                      <a:cubicBezTo>
                        <a:pt x="82" y="182"/>
                        <a:pt x="92" y="190"/>
                        <a:pt x="92" y="190"/>
                      </a:cubicBezTo>
                      <a:cubicBezTo>
                        <a:pt x="80" y="225"/>
                        <a:pt x="80" y="225"/>
                        <a:pt x="80" y="225"/>
                      </a:cubicBezTo>
                      <a:cubicBezTo>
                        <a:pt x="80" y="249"/>
                        <a:pt x="80" y="249"/>
                        <a:pt x="80" y="249"/>
                      </a:cubicBezTo>
                      <a:cubicBezTo>
                        <a:pt x="80" y="249"/>
                        <a:pt x="55" y="245"/>
                        <a:pt x="51" y="244"/>
                      </a:cubicBezTo>
                      <a:cubicBezTo>
                        <a:pt x="47" y="243"/>
                        <a:pt x="22" y="242"/>
                        <a:pt x="26" y="244"/>
                      </a:cubicBezTo>
                      <a:cubicBezTo>
                        <a:pt x="30" y="246"/>
                        <a:pt x="44" y="257"/>
                        <a:pt x="44" y="257"/>
                      </a:cubicBezTo>
                      <a:cubicBezTo>
                        <a:pt x="46" y="290"/>
                        <a:pt x="46" y="290"/>
                        <a:pt x="46" y="290"/>
                      </a:cubicBezTo>
                      <a:cubicBezTo>
                        <a:pt x="46" y="290"/>
                        <a:pt x="29" y="292"/>
                        <a:pt x="32" y="301"/>
                      </a:cubicBezTo>
                      <a:cubicBezTo>
                        <a:pt x="35" y="310"/>
                        <a:pt x="35" y="324"/>
                        <a:pt x="39" y="328"/>
                      </a:cubicBezTo>
                      <a:cubicBezTo>
                        <a:pt x="43" y="332"/>
                        <a:pt x="53" y="344"/>
                        <a:pt x="44" y="346"/>
                      </a:cubicBezTo>
                      <a:cubicBezTo>
                        <a:pt x="35" y="348"/>
                        <a:pt x="31" y="336"/>
                        <a:pt x="31" y="342"/>
                      </a:cubicBezTo>
                      <a:cubicBezTo>
                        <a:pt x="31" y="348"/>
                        <a:pt x="32" y="356"/>
                        <a:pt x="32" y="356"/>
                      </a:cubicBezTo>
                      <a:cubicBezTo>
                        <a:pt x="18" y="344"/>
                        <a:pt x="18" y="344"/>
                        <a:pt x="18" y="344"/>
                      </a:cubicBezTo>
                      <a:cubicBezTo>
                        <a:pt x="25" y="383"/>
                        <a:pt x="25" y="383"/>
                        <a:pt x="25" y="383"/>
                      </a:cubicBezTo>
                      <a:cubicBezTo>
                        <a:pt x="4" y="380"/>
                        <a:pt x="4" y="380"/>
                        <a:pt x="4" y="380"/>
                      </a:cubicBezTo>
                      <a:cubicBezTo>
                        <a:pt x="4" y="380"/>
                        <a:pt x="2" y="384"/>
                        <a:pt x="0" y="39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3" name="Mongolia">
                  <a:extLst>
                    <a:ext uri="{FF2B5EF4-FFF2-40B4-BE49-F238E27FC236}">
                      <a16:creationId xmlns:a16="http://schemas.microsoft.com/office/drawing/2014/main" id="{5975C408-0A56-901A-C63E-5B0ECCB29C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685070" y="2522175"/>
                  <a:ext cx="787537" cy="312593"/>
                </a:xfrm>
                <a:custGeom>
                  <a:avLst/>
                  <a:gdLst>
                    <a:gd name="T0" fmla="*/ 1353 w 1406"/>
                    <a:gd name="T1" fmla="*/ 245 h 558"/>
                    <a:gd name="T2" fmla="*/ 1312 w 1406"/>
                    <a:gd name="T3" fmla="*/ 214 h 558"/>
                    <a:gd name="T4" fmla="*/ 1247 w 1406"/>
                    <a:gd name="T5" fmla="*/ 225 h 558"/>
                    <a:gd name="T6" fmla="*/ 1182 w 1406"/>
                    <a:gd name="T7" fmla="*/ 215 h 558"/>
                    <a:gd name="T8" fmla="*/ 1179 w 1406"/>
                    <a:gd name="T9" fmla="*/ 178 h 558"/>
                    <a:gd name="T10" fmla="*/ 1162 w 1406"/>
                    <a:gd name="T11" fmla="*/ 114 h 558"/>
                    <a:gd name="T12" fmla="*/ 1091 w 1406"/>
                    <a:gd name="T13" fmla="*/ 102 h 558"/>
                    <a:gd name="T14" fmla="*/ 1025 w 1406"/>
                    <a:gd name="T15" fmla="*/ 136 h 558"/>
                    <a:gd name="T16" fmla="*/ 967 w 1406"/>
                    <a:gd name="T17" fmla="*/ 143 h 558"/>
                    <a:gd name="T18" fmla="*/ 922 w 1406"/>
                    <a:gd name="T19" fmla="*/ 156 h 558"/>
                    <a:gd name="T20" fmla="*/ 855 w 1406"/>
                    <a:gd name="T21" fmla="*/ 148 h 558"/>
                    <a:gd name="T22" fmla="*/ 812 w 1406"/>
                    <a:gd name="T23" fmla="*/ 114 h 558"/>
                    <a:gd name="T24" fmla="*/ 728 w 1406"/>
                    <a:gd name="T25" fmla="*/ 97 h 558"/>
                    <a:gd name="T26" fmla="*/ 607 w 1406"/>
                    <a:gd name="T27" fmla="*/ 95 h 558"/>
                    <a:gd name="T28" fmla="*/ 563 w 1406"/>
                    <a:gd name="T29" fmla="*/ 83 h 558"/>
                    <a:gd name="T30" fmla="*/ 472 w 1406"/>
                    <a:gd name="T31" fmla="*/ 22 h 558"/>
                    <a:gd name="T32" fmla="*/ 384 w 1406"/>
                    <a:gd name="T33" fmla="*/ 0 h 558"/>
                    <a:gd name="T34" fmla="*/ 373 w 1406"/>
                    <a:gd name="T35" fmla="*/ 33 h 558"/>
                    <a:gd name="T36" fmla="*/ 372 w 1406"/>
                    <a:gd name="T37" fmla="*/ 60 h 558"/>
                    <a:gd name="T38" fmla="*/ 391 w 1406"/>
                    <a:gd name="T39" fmla="*/ 110 h 558"/>
                    <a:gd name="T40" fmla="*/ 335 w 1406"/>
                    <a:gd name="T41" fmla="*/ 119 h 558"/>
                    <a:gd name="T42" fmla="*/ 301 w 1406"/>
                    <a:gd name="T43" fmla="*/ 118 h 558"/>
                    <a:gd name="T44" fmla="*/ 278 w 1406"/>
                    <a:gd name="T45" fmla="*/ 107 h 558"/>
                    <a:gd name="T46" fmla="*/ 182 w 1406"/>
                    <a:gd name="T47" fmla="*/ 86 h 558"/>
                    <a:gd name="T48" fmla="*/ 155 w 1406"/>
                    <a:gd name="T49" fmla="*/ 70 h 558"/>
                    <a:gd name="T50" fmla="*/ 119 w 1406"/>
                    <a:gd name="T51" fmla="*/ 88 h 558"/>
                    <a:gd name="T52" fmla="*/ 83 w 1406"/>
                    <a:gd name="T53" fmla="*/ 100 h 558"/>
                    <a:gd name="T54" fmla="*/ 47 w 1406"/>
                    <a:gd name="T55" fmla="*/ 130 h 558"/>
                    <a:gd name="T56" fmla="*/ 9 w 1406"/>
                    <a:gd name="T57" fmla="*/ 151 h 558"/>
                    <a:gd name="T58" fmla="*/ 18 w 1406"/>
                    <a:gd name="T59" fmla="*/ 174 h 558"/>
                    <a:gd name="T60" fmla="*/ 54 w 1406"/>
                    <a:gd name="T61" fmla="*/ 203 h 558"/>
                    <a:gd name="T62" fmla="*/ 107 w 1406"/>
                    <a:gd name="T63" fmla="*/ 221 h 558"/>
                    <a:gd name="T64" fmla="*/ 179 w 1406"/>
                    <a:gd name="T65" fmla="*/ 276 h 558"/>
                    <a:gd name="T66" fmla="*/ 192 w 1406"/>
                    <a:gd name="T67" fmla="*/ 326 h 558"/>
                    <a:gd name="T68" fmla="*/ 274 w 1406"/>
                    <a:gd name="T69" fmla="*/ 374 h 558"/>
                    <a:gd name="T70" fmla="*/ 361 w 1406"/>
                    <a:gd name="T71" fmla="*/ 397 h 558"/>
                    <a:gd name="T72" fmla="*/ 430 w 1406"/>
                    <a:gd name="T73" fmla="*/ 429 h 558"/>
                    <a:gd name="T74" fmla="*/ 502 w 1406"/>
                    <a:gd name="T75" fmla="*/ 498 h 558"/>
                    <a:gd name="T76" fmla="*/ 610 w 1406"/>
                    <a:gd name="T77" fmla="*/ 499 h 558"/>
                    <a:gd name="T78" fmla="*/ 679 w 1406"/>
                    <a:gd name="T79" fmla="*/ 501 h 558"/>
                    <a:gd name="T80" fmla="*/ 795 w 1406"/>
                    <a:gd name="T81" fmla="*/ 531 h 558"/>
                    <a:gd name="T82" fmla="*/ 873 w 1406"/>
                    <a:gd name="T83" fmla="*/ 550 h 558"/>
                    <a:gd name="T84" fmla="*/ 1066 w 1406"/>
                    <a:gd name="T85" fmla="*/ 510 h 558"/>
                    <a:gd name="T86" fmla="*/ 1112 w 1406"/>
                    <a:gd name="T87" fmla="*/ 463 h 558"/>
                    <a:gd name="T88" fmla="*/ 1108 w 1406"/>
                    <a:gd name="T89" fmla="*/ 407 h 558"/>
                    <a:gd name="T90" fmla="*/ 1160 w 1406"/>
                    <a:gd name="T91" fmla="*/ 388 h 558"/>
                    <a:gd name="T92" fmla="*/ 1213 w 1406"/>
                    <a:gd name="T93" fmla="*/ 350 h 558"/>
                    <a:gd name="T94" fmla="*/ 1270 w 1406"/>
                    <a:gd name="T95" fmla="*/ 314 h 558"/>
                    <a:gd name="T96" fmla="*/ 1320 w 1406"/>
                    <a:gd name="T97" fmla="*/ 294 h 558"/>
                    <a:gd name="T98" fmla="*/ 1355 w 1406"/>
                    <a:gd name="T99" fmla="*/ 279 h 558"/>
                    <a:gd name="T100" fmla="*/ 1394 w 1406"/>
                    <a:gd name="T101" fmla="*/ 273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406" h="558">
                      <a:moveTo>
                        <a:pt x="1394" y="273"/>
                      </a:moveTo>
                      <a:cubicBezTo>
                        <a:pt x="1385" y="267"/>
                        <a:pt x="1380" y="256"/>
                        <a:pt x="1380" y="256"/>
                      </a:cubicBezTo>
                      <a:cubicBezTo>
                        <a:pt x="1380" y="256"/>
                        <a:pt x="1362" y="252"/>
                        <a:pt x="1353" y="245"/>
                      </a:cubicBezTo>
                      <a:cubicBezTo>
                        <a:pt x="1344" y="238"/>
                        <a:pt x="1336" y="231"/>
                        <a:pt x="1336" y="231"/>
                      </a:cubicBezTo>
                      <a:cubicBezTo>
                        <a:pt x="1336" y="231"/>
                        <a:pt x="1333" y="231"/>
                        <a:pt x="1324" y="230"/>
                      </a:cubicBezTo>
                      <a:cubicBezTo>
                        <a:pt x="1315" y="229"/>
                        <a:pt x="1312" y="214"/>
                        <a:pt x="1312" y="214"/>
                      </a:cubicBezTo>
                      <a:cubicBezTo>
                        <a:pt x="1271" y="214"/>
                        <a:pt x="1271" y="214"/>
                        <a:pt x="1271" y="214"/>
                      </a:cubicBezTo>
                      <a:cubicBezTo>
                        <a:pt x="1271" y="214"/>
                        <a:pt x="1270" y="232"/>
                        <a:pt x="1264" y="234"/>
                      </a:cubicBezTo>
                      <a:cubicBezTo>
                        <a:pt x="1258" y="236"/>
                        <a:pt x="1247" y="225"/>
                        <a:pt x="1247" y="225"/>
                      </a:cubicBezTo>
                      <a:cubicBezTo>
                        <a:pt x="1247" y="225"/>
                        <a:pt x="1237" y="221"/>
                        <a:pt x="1218" y="222"/>
                      </a:cubicBezTo>
                      <a:cubicBezTo>
                        <a:pt x="1199" y="223"/>
                        <a:pt x="1215" y="230"/>
                        <a:pt x="1206" y="233"/>
                      </a:cubicBezTo>
                      <a:cubicBezTo>
                        <a:pt x="1197" y="236"/>
                        <a:pt x="1185" y="225"/>
                        <a:pt x="1182" y="215"/>
                      </a:cubicBezTo>
                      <a:cubicBezTo>
                        <a:pt x="1179" y="205"/>
                        <a:pt x="1184" y="202"/>
                        <a:pt x="1184" y="202"/>
                      </a:cubicBezTo>
                      <a:cubicBezTo>
                        <a:pt x="1180" y="196"/>
                        <a:pt x="1180" y="196"/>
                        <a:pt x="1180" y="196"/>
                      </a:cubicBezTo>
                      <a:cubicBezTo>
                        <a:pt x="1179" y="178"/>
                        <a:pt x="1179" y="178"/>
                        <a:pt x="1179" y="178"/>
                      </a:cubicBezTo>
                      <a:cubicBezTo>
                        <a:pt x="1174" y="172"/>
                        <a:pt x="1174" y="172"/>
                        <a:pt x="1174" y="172"/>
                      </a:cubicBezTo>
                      <a:cubicBezTo>
                        <a:pt x="1173" y="117"/>
                        <a:pt x="1173" y="117"/>
                        <a:pt x="1173" y="117"/>
                      </a:cubicBezTo>
                      <a:cubicBezTo>
                        <a:pt x="1162" y="114"/>
                        <a:pt x="1162" y="114"/>
                        <a:pt x="1162" y="114"/>
                      </a:cubicBezTo>
                      <a:cubicBezTo>
                        <a:pt x="1144" y="111"/>
                        <a:pt x="1144" y="111"/>
                        <a:pt x="1144" y="111"/>
                      </a:cubicBezTo>
                      <a:cubicBezTo>
                        <a:pt x="1144" y="111"/>
                        <a:pt x="1138" y="118"/>
                        <a:pt x="1124" y="118"/>
                      </a:cubicBezTo>
                      <a:cubicBezTo>
                        <a:pt x="1110" y="118"/>
                        <a:pt x="1100" y="102"/>
                        <a:pt x="1091" y="102"/>
                      </a:cubicBezTo>
                      <a:cubicBezTo>
                        <a:pt x="1082" y="102"/>
                        <a:pt x="1055" y="98"/>
                        <a:pt x="1055" y="98"/>
                      </a:cubicBezTo>
                      <a:cubicBezTo>
                        <a:pt x="1032" y="121"/>
                        <a:pt x="1032" y="121"/>
                        <a:pt x="1032" y="121"/>
                      </a:cubicBezTo>
                      <a:cubicBezTo>
                        <a:pt x="1032" y="121"/>
                        <a:pt x="1035" y="132"/>
                        <a:pt x="1025" y="136"/>
                      </a:cubicBezTo>
                      <a:cubicBezTo>
                        <a:pt x="1015" y="140"/>
                        <a:pt x="1003" y="137"/>
                        <a:pt x="1003" y="137"/>
                      </a:cubicBezTo>
                      <a:cubicBezTo>
                        <a:pt x="993" y="142"/>
                        <a:pt x="993" y="142"/>
                        <a:pt x="993" y="142"/>
                      </a:cubicBezTo>
                      <a:cubicBezTo>
                        <a:pt x="993" y="142"/>
                        <a:pt x="976" y="141"/>
                        <a:pt x="967" y="143"/>
                      </a:cubicBezTo>
                      <a:cubicBezTo>
                        <a:pt x="958" y="145"/>
                        <a:pt x="960" y="150"/>
                        <a:pt x="955" y="156"/>
                      </a:cubicBezTo>
                      <a:cubicBezTo>
                        <a:pt x="950" y="162"/>
                        <a:pt x="942" y="153"/>
                        <a:pt x="938" y="151"/>
                      </a:cubicBezTo>
                      <a:cubicBezTo>
                        <a:pt x="934" y="149"/>
                        <a:pt x="922" y="156"/>
                        <a:pt x="922" y="156"/>
                      </a:cubicBezTo>
                      <a:cubicBezTo>
                        <a:pt x="922" y="156"/>
                        <a:pt x="898" y="156"/>
                        <a:pt x="895" y="153"/>
                      </a:cubicBezTo>
                      <a:cubicBezTo>
                        <a:pt x="892" y="150"/>
                        <a:pt x="885" y="147"/>
                        <a:pt x="885" y="147"/>
                      </a:cubicBezTo>
                      <a:cubicBezTo>
                        <a:pt x="885" y="147"/>
                        <a:pt x="875" y="150"/>
                        <a:pt x="855" y="148"/>
                      </a:cubicBezTo>
                      <a:cubicBezTo>
                        <a:pt x="835" y="146"/>
                        <a:pt x="840" y="135"/>
                        <a:pt x="840" y="135"/>
                      </a:cubicBezTo>
                      <a:cubicBezTo>
                        <a:pt x="840" y="135"/>
                        <a:pt x="829" y="132"/>
                        <a:pt x="826" y="133"/>
                      </a:cubicBezTo>
                      <a:cubicBezTo>
                        <a:pt x="823" y="134"/>
                        <a:pt x="815" y="115"/>
                        <a:pt x="812" y="114"/>
                      </a:cubicBezTo>
                      <a:cubicBezTo>
                        <a:pt x="809" y="113"/>
                        <a:pt x="790" y="113"/>
                        <a:pt x="778" y="113"/>
                      </a:cubicBezTo>
                      <a:cubicBezTo>
                        <a:pt x="766" y="113"/>
                        <a:pt x="755" y="94"/>
                        <a:pt x="755" y="94"/>
                      </a:cubicBezTo>
                      <a:cubicBezTo>
                        <a:pt x="728" y="97"/>
                        <a:pt x="728" y="97"/>
                        <a:pt x="728" y="97"/>
                      </a:cubicBezTo>
                      <a:cubicBezTo>
                        <a:pt x="728" y="97"/>
                        <a:pt x="726" y="89"/>
                        <a:pt x="697" y="87"/>
                      </a:cubicBezTo>
                      <a:cubicBezTo>
                        <a:pt x="668" y="85"/>
                        <a:pt x="650" y="103"/>
                        <a:pt x="637" y="104"/>
                      </a:cubicBezTo>
                      <a:cubicBezTo>
                        <a:pt x="624" y="105"/>
                        <a:pt x="607" y="95"/>
                        <a:pt x="607" y="95"/>
                      </a:cubicBezTo>
                      <a:cubicBezTo>
                        <a:pt x="607" y="95"/>
                        <a:pt x="600" y="96"/>
                        <a:pt x="590" y="96"/>
                      </a:cubicBezTo>
                      <a:cubicBezTo>
                        <a:pt x="580" y="96"/>
                        <a:pt x="578" y="80"/>
                        <a:pt x="578" y="80"/>
                      </a:cubicBezTo>
                      <a:cubicBezTo>
                        <a:pt x="563" y="83"/>
                        <a:pt x="563" y="83"/>
                        <a:pt x="563" y="83"/>
                      </a:cubicBezTo>
                      <a:cubicBezTo>
                        <a:pt x="563" y="83"/>
                        <a:pt x="541" y="49"/>
                        <a:pt x="532" y="38"/>
                      </a:cubicBezTo>
                      <a:cubicBezTo>
                        <a:pt x="523" y="27"/>
                        <a:pt x="511" y="40"/>
                        <a:pt x="501" y="38"/>
                      </a:cubicBezTo>
                      <a:cubicBezTo>
                        <a:pt x="491" y="36"/>
                        <a:pt x="472" y="22"/>
                        <a:pt x="472" y="22"/>
                      </a:cubicBezTo>
                      <a:cubicBezTo>
                        <a:pt x="472" y="22"/>
                        <a:pt x="452" y="23"/>
                        <a:pt x="434" y="21"/>
                      </a:cubicBezTo>
                      <a:cubicBezTo>
                        <a:pt x="416" y="19"/>
                        <a:pt x="393" y="2"/>
                        <a:pt x="393" y="2"/>
                      </a:cubicBezTo>
                      <a:cubicBezTo>
                        <a:pt x="384" y="0"/>
                        <a:pt x="384" y="0"/>
                        <a:pt x="384" y="0"/>
                      </a:cubicBezTo>
                      <a:cubicBezTo>
                        <a:pt x="384" y="0"/>
                        <a:pt x="385" y="12"/>
                        <a:pt x="380" y="18"/>
                      </a:cubicBezTo>
                      <a:cubicBezTo>
                        <a:pt x="375" y="24"/>
                        <a:pt x="371" y="22"/>
                        <a:pt x="371" y="22"/>
                      </a:cubicBezTo>
                      <a:cubicBezTo>
                        <a:pt x="373" y="33"/>
                        <a:pt x="373" y="33"/>
                        <a:pt x="373" y="33"/>
                      </a:cubicBezTo>
                      <a:cubicBezTo>
                        <a:pt x="373" y="33"/>
                        <a:pt x="362" y="31"/>
                        <a:pt x="362" y="37"/>
                      </a:cubicBezTo>
                      <a:cubicBezTo>
                        <a:pt x="362" y="43"/>
                        <a:pt x="368" y="46"/>
                        <a:pt x="368" y="46"/>
                      </a:cubicBezTo>
                      <a:cubicBezTo>
                        <a:pt x="372" y="60"/>
                        <a:pt x="372" y="60"/>
                        <a:pt x="372" y="60"/>
                      </a:cubicBezTo>
                      <a:cubicBezTo>
                        <a:pt x="388" y="84"/>
                        <a:pt x="388" y="84"/>
                        <a:pt x="388" y="84"/>
                      </a:cubicBezTo>
                      <a:cubicBezTo>
                        <a:pt x="388" y="84"/>
                        <a:pt x="403" y="84"/>
                        <a:pt x="403" y="102"/>
                      </a:cubicBezTo>
                      <a:cubicBezTo>
                        <a:pt x="403" y="120"/>
                        <a:pt x="391" y="110"/>
                        <a:pt x="391" y="110"/>
                      </a:cubicBezTo>
                      <a:cubicBezTo>
                        <a:pt x="391" y="110"/>
                        <a:pt x="393" y="117"/>
                        <a:pt x="376" y="125"/>
                      </a:cubicBezTo>
                      <a:cubicBezTo>
                        <a:pt x="359" y="133"/>
                        <a:pt x="365" y="117"/>
                        <a:pt x="365" y="117"/>
                      </a:cubicBezTo>
                      <a:cubicBezTo>
                        <a:pt x="335" y="119"/>
                        <a:pt x="335" y="119"/>
                        <a:pt x="335" y="119"/>
                      </a:cubicBezTo>
                      <a:cubicBezTo>
                        <a:pt x="334" y="111"/>
                        <a:pt x="334" y="111"/>
                        <a:pt x="334" y="111"/>
                      </a:cubicBezTo>
                      <a:cubicBezTo>
                        <a:pt x="334" y="111"/>
                        <a:pt x="325" y="110"/>
                        <a:pt x="314" y="111"/>
                      </a:cubicBezTo>
                      <a:cubicBezTo>
                        <a:pt x="303" y="112"/>
                        <a:pt x="301" y="118"/>
                        <a:pt x="301" y="118"/>
                      </a:cubicBezTo>
                      <a:cubicBezTo>
                        <a:pt x="299" y="113"/>
                        <a:pt x="299" y="113"/>
                        <a:pt x="299" y="113"/>
                      </a:cubicBezTo>
                      <a:cubicBezTo>
                        <a:pt x="280" y="116"/>
                        <a:pt x="280" y="116"/>
                        <a:pt x="280" y="116"/>
                      </a:cubicBezTo>
                      <a:cubicBezTo>
                        <a:pt x="278" y="107"/>
                        <a:pt x="278" y="107"/>
                        <a:pt x="278" y="107"/>
                      </a:cubicBezTo>
                      <a:cubicBezTo>
                        <a:pt x="278" y="107"/>
                        <a:pt x="256" y="109"/>
                        <a:pt x="247" y="102"/>
                      </a:cubicBezTo>
                      <a:cubicBezTo>
                        <a:pt x="238" y="95"/>
                        <a:pt x="240" y="82"/>
                        <a:pt x="233" y="82"/>
                      </a:cubicBezTo>
                      <a:cubicBezTo>
                        <a:pt x="226" y="82"/>
                        <a:pt x="182" y="86"/>
                        <a:pt x="182" y="86"/>
                      </a:cubicBezTo>
                      <a:cubicBezTo>
                        <a:pt x="177" y="75"/>
                        <a:pt x="177" y="75"/>
                        <a:pt x="177" y="75"/>
                      </a:cubicBezTo>
                      <a:cubicBezTo>
                        <a:pt x="177" y="75"/>
                        <a:pt x="161" y="75"/>
                        <a:pt x="158" y="75"/>
                      </a:cubicBezTo>
                      <a:cubicBezTo>
                        <a:pt x="155" y="75"/>
                        <a:pt x="155" y="70"/>
                        <a:pt x="155" y="70"/>
                      </a:cubicBezTo>
                      <a:cubicBezTo>
                        <a:pt x="143" y="77"/>
                        <a:pt x="143" y="77"/>
                        <a:pt x="143" y="77"/>
                      </a:cubicBezTo>
                      <a:cubicBezTo>
                        <a:pt x="143" y="77"/>
                        <a:pt x="134" y="71"/>
                        <a:pt x="127" y="71"/>
                      </a:cubicBezTo>
                      <a:cubicBezTo>
                        <a:pt x="120" y="71"/>
                        <a:pt x="119" y="88"/>
                        <a:pt x="119" y="88"/>
                      </a:cubicBezTo>
                      <a:cubicBezTo>
                        <a:pt x="103" y="88"/>
                        <a:pt x="103" y="88"/>
                        <a:pt x="103" y="88"/>
                      </a:cubicBezTo>
                      <a:cubicBezTo>
                        <a:pt x="92" y="101"/>
                        <a:pt x="92" y="101"/>
                        <a:pt x="92" y="101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0"/>
                        <a:pt x="72" y="108"/>
                        <a:pt x="63" y="118"/>
                      </a:cubicBezTo>
                      <a:cubicBezTo>
                        <a:pt x="54" y="128"/>
                        <a:pt x="63" y="130"/>
                        <a:pt x="63" y="130"/>
                      </a:cubicBezTo>
                      <a:cubicBezTo>
                        <a:pt x="47" y="130"/>
                        <a:pt x="47" y="130"/>
                        <a:pt x="47" y="130"/>
                      </a:cubicBezTo>
                      <a:cubicBezTo>
                        <a:pt x="49" y="139"/>
                        <a:pt x="49" y="139"/>
                        <a:pt x="49" y="139"/>
                      </a:cubicBezTo>
                      <a:cubicBezTo>
                        <a:pt x="8" y="139"/>
                        <a:pt x="8" y="139"/>
                        <a:pt x="8" y="139"/>
                      </a:cubicBezTo>
                      <a:cubicBezTo>
                        <a:pt x="9" y="151"/>
                        <a:pt x="9" y="151"/>
                        <a:pt x="9" y="151"/>
                      </a:cubicBezTo>
                      <a:cubicBezTo>
                        <a:pt x="2" y="158"/>
                        <a:pt x="2" y="158"/>
                        <a:pt x="2" y="158"/>
                      </a:cubicBezTo>
                      <a:cubicBezTo>
                        <a:pt x="10" y="162"/>
                        <a:pt x="0" y="174"/>
                        <a:pt x="0" y="174"/>
                      </a:cubicBezTo>
                      <a:cubicBezTo>
                        <a:pt x="18" y="174"/>
                        <a:pt x="18" y="174"/>
                        <a:pt x="18" y="174"/>
                      </a:cubicBezTo>
                      <a:cubicBezTo>
                        <a:pt x="18" y="174"/>
                        <a:pt x="14" y="182"/>
                        <a:pt x="19" y="187"/>
                      </a:cubicBezTo>
                      <a:cubicBezTo>
                        <a:pt x="24" y="192"/>
                        <a:pt x="48" y="195"/>
                        <a:pt x="48" y="195"/>
                      </a:cubicBezTo>
                      <a:cubicBezTo>
                        <a:pt x="54" y="203"/>
                        <a:pt x="54" y="203"/>
                        <a:pt x="54" y="203"/>
                      </a:cubicBezTo>
                      <a:cubicBezTo>
                        <a:pt x="71" y="219"/>
                        <a:pt x="71" y="219"/>
                        <a:pt x="71" y="219"/>
                      </a:cubicBezTo>
                      <a:cubicBezTo>
                        <a:pt x="92" y="213"/>
                        <a:pt x="92" y="213"/>
                        <a:pt x="92" y="213"/>
                      </a:cubicBezTo>
                      <a:cubicBezTo>
                        <a:pt x="107" y="221"/>
                        <a:pt x="107" y="221"/>
                        <a:pt x="107" y="221"/>
                      </a:cubicBezTo>
                      <a:cubicBezTo>
                        <a:pt x="107" y="221"/>
                        <a:pt x="113" y="223"/>
                        <a:pt x="127" y="227"/>
                      </a:cubicBezTo>
                      <a:cubicBezTo>
                        <a:pt x="141" y="231"/>
                        <a:pt x="148" y="245"/>
                        <a:pt x="153" y="252"/>
                      </a:cubicBezTo>
                      <a:cubicBezTo>
                        <a:pt x="158" y="259"/>
                        <a:pt x="167" y="268"/>
                        <a:pt x="179" y="276"/>
                      </a:cubicBezTo>
                      <a:cubicBezTo>
                        <a:pt x="191" y="284"/>
                        <a:pt x="188" y="300"/>
                        <a:pt x="188" y="300"/>
                      </a:cubicBezTo>
                      <a:cubicBezTo>
                        <a:pt x="188" y="300"/>
                        <a:pt x="198" y="308"/>
                        <a:pt x="200" y="315"/>
                      </a:cubicBezTo>
                      <a:cubicBezTo>
                        <a:pt x="202" y="322"/>
                        <a:pt x="192" y="326"/>
                        <a:pt x="192" y="326"/>
                      </a:cubicBezTo>
                      <a:cubicBezTo>
                        <a:pt x="192" y="326"/>
                        <a:pt x="193" y="336"/>
                        <a:pt x="198" y="349"/>
                      </a:cubicBezTo>
                      <a:cubicBezTo>
                        <a:pt x="203" y="362"/>
                        <a:pt x="224" y="364"/>
                        <a:pt x="235" y="368"/>
                      </a:cubicBezTo>
                      <a:cubicBezTo>
                        <a:pt x="246" y="372"/>
                        <a:pt x="260" y="375"/>
                        <a:pt x="274" y="374"/>
                      </a:cubicBezTo>
                      <a:cubicBezTo>
                        <a:pt x="288" y="373"/>
                        <a:pt x="322" y="375"/>
                        <a:pt x="322" y="375"/>
                      </a:cubicBezTo>
                      <a:cubicBezTo>
                        <a:pt x="322" y="375"/>
                        <a:pt x="333" y="380"/>
                        <a:pt x="342" y="382"/>
                      </a:cubicBezTo>
                      <a:cubicBezTo>
                        <a:pt x="351" y="384"/>
                        <a:pt x="358" y="396"/>
                        <a:pt x="361" y="397"/>
                      </a:cubicBezTo>
                      <a:cubicBezTo>
                        <a:pt x="364" y="398"/>
                        <a:pt x="401" y="410"/>
                        <a:pt x="401" y="410"/>
                      </a:cubicBezTo>
                      <a:cubicBezTo>
                        <a:pt x="423" y="413"/>
                        <a:pt x="423" y="413"/>
                        <a:pt x="423" y="413"/>
                      </a:cubicBezTo>
                      <a:cubicBezTo>
                        <a:pt x="430" y="429"/>
                        <a:pt x="430" y="429"/>
                        <a:pt x="430" y="429"/>
                      </a:cubicBezTo>
                      <a:cubicBezTo>
                        <a:pt x="430" y="429"/>
                        <a:pt x="439" y="434"/>
                        <a:pt x="443" y="438"/>
                      </a:cubicBezTo>
                      <a:cubicBezTo>
                        <a:pt x="447" y="442"/>
                        <a:pt x="461" y="461"/>
                        <a:pt x="465" y="467"/>
                      </a:cubicBezTo>
                      <a:cubicBezTo>
                        <a:pt x="469" y="473"/>
                        <a:pt x="502" y="498"/>
                        <a:pt x="502" y="498"/>
                      </a:cubicBezTo>
                      <a:cubicBezTo>
                        <a:pt x="540" y="494"/>
                        <a:pt x="540" y="494"/>
                        <a:pt x="540" y="494"/>
                      </a:cubicBezTo>
                      <a:cubicBezTo>
                        <a:pt x="579" y="499"/>
                        <a:pt x="579" y="499"/>
                        <a:pt x="579" y="499"/>
                      </a:cubicBezTo>
                      <a:cubicBezTo>
                        <a:pt x="610" y="499"/>
                        <a:pt x="610" y="499"/>
                        <a:pt x="610" y="499"/>
                      </a:cubicBezTo>
                      <a:cubicBezTo>
                        <a:pt x="635" y="504"/>
                        <a:pt x="635" y="504"/>
                        <a:pt x="635" y="504"/>
                      </a:cubicBezTo>
                      <a:cubicBezTo>
                        <a:pt x="635" y="504"/>
                        <a:pt x="649" y="493"/>
                        <a:pt x="654" y="493"/>
                      </a:cubicBezTo>
                      <a:cubicBezTo>
                        <a:pt x="659" y="493"/>
                        <a:pt x="679" y="501"/>
                        <a:pt x="679" y="501"/>
                      </a:cubicBezTo>
                      <a:cubicBezTo>
                        <a:pt x="679" y="501"/>
                        <a:pt x="718" y="501"/>
                        <a:pt x="728" y="504"/>
                      </a:cubicBezTo>
                      <a:cubicBezTo>
                        <a:pt x="738" y="507"/>
                        <a:pt x="740" y="522"/>
                        <a:pt x="755" y="527"/>
                      </a:cubicBezTo>
                      <a:cubicBezTo>
                        <a:pt x="770" y="532"/>
                        <a:pt x="781" y="530"/>
                        <a:pt x="795" y="531"/>
                      </a:cubicBezTo>
                      <a:cubicBezTo>
                        <a:pt x="809" y="532"/>
                        <a:pt x="837" y="547"/>
                        <a:pt x="837" y="547"/>
                      </a:cubicBezTo>
                      <a:cubicBezTo>
                        <a:pt x="837" y="547"/>
                        <a:pt x="858" y="538"/>
                        <a:pt x="864" y="538"/>
                      </a:cubicBezTo>
                      <a:cubicBezTo>
                        <a:pt x="870" y="538"/>
                        <a:pt x="873" y="550"/>
                        <a:pt x="873" y="550"/>
                      </a:cubicBezTo>
                      <a:cubicBezTo>
                        <a:pt x="873" y="550"/>
                        <a:pt x="893" y="558"/>
                        <a:pt x="899" y="553"/>
                      </a:cubicBezTo>
                      <a:cubicBezTo>
                        <a:pt x="905" y="548"/>
                        <a:pt x="948" y="519"/>
                        <a:pt x="962" y="513"/>
                      </a:cubicBezTo>
                      <a:cubicBezTo>
                        <a:pt x="976" y="507"/>
                        <a:pt x="1066" y="510"/>
                        <a:pt x="1066" y="510"/>
                      </a:cubicBezTo>
                      <a:cubicBezTo>
                        <a:pt x="1078" y="497"/>
                        <a:pt x="1078" y="497"/>
                        <a:pt x="1078" y="497"/>
                      </a:cubicBezTo>
                      <a:cubicBezTo>
                        <a:pt x="1078" y="497"/>
                        <a:pt x="1095" y="499"/>
                        <a:pt x="1103" y="492"/>
                      </a:cubicBezTo>
                      <a:cubicBezTo>
                        <a:pt x="1111" y="485"/>
                        <a:pt x="1109" y="470"/>
                        <a:pt x="1112" y="463"/>
                      </a:cubicBezTo>
                      <a:cubicBezTo>
                        <a:pt x="1115" y="456"/>
                        <a:pt x="1125" y="459"/>
                        <a:pt x="1129" y="459"/>
                      </a:cubicBezTo>
                      <a:cubicBezTo>
                        <a:pt x="1133" y="459"/>
                        <a:pt x="1143" y="444"/>
                        <a:pt x="1144" y="439"/>
                      </a:cubicBezTo>
                      <a:cubicBezTo>
                        <a:pt x="1145" y="434"/>
                        <a:pt x="1114" y="411"/>
                        <a:pt x="1108" y="407"/>
                      </a:cubicBezTo>
                      <a:cubicBezTo>
                        <a:pt x="1102" y="403"/>
                        <a:pt x="1100" y="383"/>
                        <a:pt x="1106" y="373"/>
                      </a:cubicBezTo>
                      <a:cubicBezTo>
                        <a:pt x="1112" y="363"/>
                        <a:pt x="1130" y="369"/>
                        <a:pt x="1134" y="370"/>
                      </a:cubicBezTo>
                      <a:cubicBezTo>
                        <a:pt x="1138" y="371"/>
                        <a:pt x="1160" y="388"/>
                        <a:pt x="1160" y="388"/>
                      </a:cubicBezTo>
                      <a:cubicBezTo>
                        <a:pt x="1160" y="388"/>
                        <a:pt x="1187" y="387"/>
                        <a:pt x="1194" y="385"/>
                      </a:cubicBezTo>
                      <a:cubicBezTo>
                        <a:pt x="1201" y="383"/>
                        <a:pt x="1212" y="369"/>
                        <a:pt x="1212" y="369"/>
                      </a:cubicBezTo>
                      <a:cubicBezTo>
                        <a:pt x="1212" y="369"/>
                        <a:pt x="1210" y="353"/>
                        <a:pt x="1213" y="350"/>
                      </a:cubicBezTo>
                      <a:cubicBezTo>
                        <a:pt x="1216" y="347"/>
                        <a:pt x="1262" y="350"/>
                        <a:pt x="1262" y="350"/>
                      </a:cubicBezTo>
                      <a:cubicBezTo>
                        <a:pt x="1278" y="336"/>
                        <a:pt x="1278" y="336"/>
                        <a:pt x="1278" y="336"/>
                      </a:cubicBezTo>
                      <a:cubicBezTo>
                        <a:pt x="1278" y="336"/>
                        <a:pt x="1263" y="325"/>
                        <a:pt x="1270" y="314"/>
                      </a:cubicBezTo>
                      <a:cubicBezTo>
                        <a:pt x="1277" y="303"/>
                        <a:pt x="1302" y="302"/>
                        <a:pt x="1302" y="302"/>
                      </a:cubicBezTo>
                      <a:cubicBezTo>
                        <a:pt x="1302" y="291"/>
                        <a:pt x="1302" y="291"/>
                        <a:pt x="1302" y="291"/>
                      </a:cubicBezTo>
                      <a:cubicBezTo>
                        <a:pt x="1320" y="294"/>
                        <a:pt x="1320" y="294"/>
                        <a:pt x="1320" y="294"/>
                      </a:cubicBezTo>
                      <a:cubicBezTo>
                        <a:pt x="1326" y="291"/>
                        <a:pt x="1326" y="291"/>
                        <a:pt x="1326" y="291"/>
                      </a:cubicBezTo>
                      <a:cubicBezTo>
                        <a:pt x="1335" y="282"/>
                        <a:pt x="1335" y="282"/>
                        <a:pt x="1335" y="282"/>
                      </a:cubicBezTo>
                      <a:cubicBezTo>
                        <a:pt x="1335" y="282"/>
                        <a:pt x="1346" y="279"/>
                        <a:pt x="1355" y="279"/>
                      </a:cubicBezTo>
                      <a:cubicBezTo>
                        <a:pt x="1364" y="279"/>
                        <a:pt x="1372" y="288"/>
                        <a:pt x="1372" y="288"/>
                      </a:cubicBezTo>
                      <a:cubicBezTo>
                        <a:pt x="1372" y="288"/>
                        <a:pt x="1390" y="287"/>
                        <a:pt x="1398" y="286"/>
                      </a:cubicBezTo>
                      <a:cubicBezTo>
                        <a:pt x="1406" y="285"/>
                        <a:pt x="1403" y="279"/>
                        <a:pt x="1394" y="273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4" name="Malaysia">
                  <a:extLst>
                    <a:ext uri="{FF2B5EF4-FFF2-40B4-BE49-F238E27FC236}">
                      <a16:creationId xmlns:a16="http://schemas.microsoft.com/office/drawing/2014/main" id="{6695B107-6DE0-1516-56E2-1C0C15EEB0F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31356" y="3859818"/>
                  <a:ext cx="258807" cy="198346"/>
                </a:xfrm>
                <a:custGeom>
                  <a:avLst/>
                  <a:gdLst>
                    <a:gd name="T0" fmla="*/ 9 w 461"/>
                    <a:gd name="T1" fmla="*/ 338 h 355"/>
                    <a:gd name="T2" fmla="*/ 43 w 461"/>
                    <a:gd name="T3" fmla="*/ 352 h 355"/>
                    <a:gd name="T4" fmla="*/ 61 w 461"/>
                    <a:gd name="T5" fmla="*/ 342 h 355"/>
                    <a:gd name="T6" fmla="*/ 98 w 461"/>
                    <a:gd name="T7" fmla="*/ 345 h 355"/>
                    <a:gd name="T8" fmla="*/ 121 w 461"/>
                    <a:gd name="T9" fmla="*/ 318 h 355"/>
                    <a:gd name="T10" fmla="*/ 150 w 461"/>
                    <a:gd name="T11" fmla="*/ 318 h 355"/>
                    <a:gd name="T12" fmla="*/ 182 w 461"/>
                    <a:gd name="T13" fmla="*/ 335 h 355"/>
                    <a:gd name="T14" fmla="*/ 203 w 461"/>
                    <a:gd name="T15" fmla="*/ 322 h 355"/>
                    <a:gd name="T16" fmla="*/ 219 w 461"/>
                    <a:gd name="T17" fmla="*/ 322 h 355"/>
                    <a:gd name="T18" fmla="*/ 236 w 461"/>
                    <a:gd name="T19" fmla="*/ 299 h 355"/>
                    <a:gd name="T20" fmla="*/ 235 w 461"/>
                    <a:gd name="T21" fmla="*/ 287 h 355"/>
                    <a:gd name="T22" fmla="*/ 257 w 461"/>
                    <a:gd name="T23" fmla="*/ 268 h 355"/>
                    <a:gd name="T24" fmla="*/ 252 w 461"/>
                    <a:gd name="T25" fmla="*/ 243 h 355"/>
                    <a:gd name="T26" fmla="*/ 265 w 461"/>
                    <a:gd name="T27" fmla="*/ 235 h 355"/>
                    <a:gd name="T28" fmla="*/ 275 w 461"/>
                    <a:gd name="T29" fmla="*/ 204 h 355"/>
                    <a:gd name="T30" fmla="*/ 284 w 461"/>
                    <a:gd name="T31" fmla="*/ 165 h 355"/>
                    <a:gd name="T32" fmla="*/ 344 w 461"/>
                    <a:gd name="T33" fmla="*/ 166 h 355"/>
                    <a:gd name="T34" fmla="*/ 375 w 461"/>
                    <a:gd name="T35" fmla="*/ 190 h 355"/>
                    <a:gd name="T36" fmla="*/ 374 w 461"/>
                    <a:gd name="T37" fmla="*/ 189 h 355"/>
                    <a:gd name="T38" fmla="*/ 387 w 461"/>
                    <a:gd name="T39" fmla="*/ 186 h 355"/>
                    <a:gd name="T40" fmla="*/ 378 w 461"/>
                    <a:gd name="T41" fmla="*/ 144 h 355"/>
                    <a:gd name="T42" fmla="*/ 402 w 461"/>
                    <a:gd name="T43" fmla="*/ 162 h 355"/>
                    <a:gd name="T44" fmla="*/ 427 w 461"/>
                    <a:gd name="T45" fmla="*/ 160 h 355"/>
                    <a:gd name="T46" fmla="*/ 408 w 461"/>
                    <a:gd name="T47" fmla="*/ 126 h 355"/>
                    <a:gd name="T48" fmla="*/ 444 w 461"/>
                    <a:gd name="T49" fmla="*/ 131 h 355"/>
                    <a:gd name="T50" fmla="*/ 461 w 461"/>
                    <a:gd name="T51" fmla="*/ 111 h 355"/>
                    <a:gd name="T52" fmla="*/ 444 w 461"/>
                    <a:gd name="T53" fmla="*/ 105 h 355"/>
                    <a:gd name="T54" fmla="*/ 433 w 461"/>
                    <a:gd name="T55" fmla="*/ 88 h 355"/>
                    <a:gd name="T56" fmla="*/ 393 w 461"/>
                    <a:gd name="T57" fmla="*/ 77 h 355"/>
                    <a:gd name="T58" fmla="*/ 380 w 461"/>
                    <a:gd name="T59" fmla="*/ 46 h 355"/>
                    <a:gd name="T60" fmla="*/ 354 w 461"/>
                    <a:gd name="T61" fmla="*/ 42 h 355"/>
                    <a:gd name="T62" fmla="*/ 343 w 461"/>
                    <a:gd name="T63" fmla="*/ 1 h 355"/>
                    <a:gd name="T64" fmla="*/ 339 w 461"/>
                    <a:gd name="T65" fmla="*/ 14 h 355"/>
                    <a:gd name="T66" fmla="*/ 329 w 461"/>
                    <a:gd name="T67" fmla="*/ 0 h 355"/>
                    <a:gd name="T68" fmla="*/ 323 w 461"/>
                    <a:gd name="T69" fmla="*/ 41 h 355"/>
                    <a:gd name="T70" fmla="*/ 301 w 461"/>
                    <a:gd name="T71" fmla="*/ 50 h 355"/>
                    <a:gd name="T72" fmla="*/ 293 w 461"/>
                    <a:gd name="T73" fmla="*/ 77 h 355"/>
                    <a:gd name="T74" fmla="*/ 276 w 461"/>
                    <a:gd name="T75" fmla="*/ 83 h 355"/>
                    <a:gd name="T76" fmla="*/ 283 w 461"/>
                    <a:gd name="T77" fmla="*/ 107 h 355"/>
                    <a:gd name="T78" fmla="*/ 243 w 461"/>
                    <a:gd name="T79" fmla="*/ 101 h 355"/>
                    <a:gd name="T80" fmla="*/ 227 w 461"/>
                    <a:gd name="T81" fmla="*/ 136 h 355"/>
                    <a:gd name="T82" fmla="*/ 200 w 461"/>
                    <a:gd name="T83" fmla="*/ 166 h 355"/>
                    <a:gd name="T84" fmla="*/ 176 w 461"/>
                    <a:gd name="T85" fmla="*/ 213 h 355"/>
                    <a:gd name="T86" fmla="*/ 110 w 461"/>
                    <a:gd name="T87" fmla="*/ 235 h 355"/>
                    <a:gd name="T88" fmla="*/ 69 w 461"/>
                    <a:gd name="T89" fmla="*/ 262 h 355"/>
                    <a:gd name="T90" fmla="*/ 60 w 461"/>
                    <a:gd name="T91" fmla="*/ 285 h 355"/>
                    <a:gd name="T92" fmla="*/ 65 w 461"/>
                    <a:gd name="T93" fmla="*/ 317 h 355"/>
                    <a:gd name="T94" fmla="*/ 23 w 461"/>
                    <a:gd name="T95" fmla="*/ 305 h 355"/>
                    <a:gd name="T96" fmla="*/ 0 w 461"/>
                    <a:gd name="T97" fmla="*/ 322 h 355"/>
                    <a:gd name="T98" fmla="*/ 0 w 461"/>
                    <a:gd name="T99" fmla="*/ 322 h 355"/>
                    <a:gd name="T100" fmla="*/ 9 w 461"/>
                    <a:gd name="T101" fmla="*/ 338 h 3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61" h="355">
                      <a:moveTo>
                        <a:pt x="9" y="338"/>
                      </a:moveTo>
                      <a:cubicBezTo>
                        <a:pt x="17" y="347"/>
                        <a:pt x="39" y="355"/>
                        <a:pt x="43" y="352"/>
                      </a:cubicBezTo>
                      <a:cubicBezTo>
                        <a:pt x="47" y="350"/>
                        <a:pt x="46" y="342"/>
                        <a:pt x="61" y="342"/>
                      </a:cubicBezTo>
                      <a:cubicBezTo>
                        <a:pt x="75" y="342"/>
                        <a:pt x="88" y="351"/>
                        <a:pt x="98" y="345"/>
                      </a:cubicBezTo>
                      <a:cubicBezTo>
                        <a:pt x="108" y="339"/>
                        <a:pt x="121" y="318"/>
                        <a:pt x="121" y="318"/>
                      </a:cubicBezTo>
                      <a:cubicBezTo>
                        <a:pt x="121" y="318"/>
                        <a:pt x="146" y="315"/>
                        <a:pt x="150" y="318"/>
                      </a:cubicBezTo>
                      <a:cubicBezTo>
                        <a:pt x="154" y="320"/>
                        <a:pt x="179" y="336"/>
                        <a:pt x="182" y="335"/>
                      </a:cubicBezTo>
                      <a:cubicBezTo>
                        <a:pt x="185" y="335"/>
                        <a:pt x="203" y="322"/>
                        <a:pt x="203" y="322"/>
                      </a:cubicBezTo>
                      <a:cubicBezTo>
                        <a:pt x="219" y="322"/>
                        <a:pt x="219" y="322"/>
                        <a:pt x="219" y="322"/>
                      </a:cubicBezTo>
                      <a:cubicBezTo>
                        <a:pt x="236" y="299"/>
                        <a:pt x="236" y="299"/>
                        <a:pt x="236" y="299"/>
                      </a:cubicBezTo>
                      <a:cubicBezTo>
                        <a:pt x="235" y="287"/>
                        <a:pt x="235" y="287"/>
                        <a:pt x="235" y="287"/>
                      </a:cubicBezTo>
                      <a:cubicBezTo>
                        <a:pt x="257" y="268"/>
                        <a:pt x="257" y="268"/>
                        <a:pt x="257" y="268"/>
                      </a:cubicBezTo>
                      <a:cubicBezTo>
                        <a:pt x="257" y="268"/>
                        <a:pt x="245" y="252"/>
                        <a:pt x="252" y="243"/>
                      </a:cubicBezTo>
                      <a:cubicBezTo>
                        <a:pt x="258" y="234"/>
                        <a:pt x="265" y="235"/>
                        <a:pt x="265" y="235"/>
                      </a:cubicBezTo>
                      <a:cubicBezTo>
                        <a:pt x="265" y="235"/>
                        <a:pt x="274" y="220"/>
                        <a:pt x="275" y="204"/>
                      </a:cubicBezTo>
                      <a:cubicBezTo>
                        <a:pt x="277" y="188"/>
                        <a:pt x="270" y="166"/>
                        <a:pt x="284" y="165"/>
                      </a:cubicBezTo>
                      <a:cubicBezTo>
                        <a:pt x="299" y="164"/>
                        <a:pt x="340" y="165"/>
                        <a:pt x="344" y="166"/>
                      </a:cubicBezTo>
                      <a:cubicBezTo>
                        <a:pt x="348" y="166"/>
                        <a:pt x="367" y="183"/>
                        <a:pt x="375" y="190"/>
                      </a:cubicBezTo>
                      <a:cubicBezTo>
                        <a:pt x="374" y="189"/>
                        <a:pt x="374" y="189"/>
                        <a:pt x="374" y="189"/>
                      </a:cubicBezTo>
                      <a:cubicBezTo>
                        <a:pt x="387" y="186"/>
                        <a:pt x="387" y="186"/>
                        <a:pt x="387" y="186"/>
                      </a:cubicBezTo>
                      <a:cubicBezTo>
                        <a:pt x="378" y="144"/>
                        <a:pt x="378" y="144"/>
                        <a:pt x="378" y="144"/>
                      </a:cubicBezTo>
                      <a:cubicBezTo>
                        <a:pt x="378" y="144"/>
                        <a:pt x="393" y="160"/>
                        <a:pt x="402" y="162"/>
                      </a:cubicBezTo>
                      <a:cubicBezTo>
                        <a:pt x="412" y="163"/>
                        <a:pt x="427" y="160"/>
                        <a:pt x="427" y="160"/>
                      </a:cubicBezTo>
                      <a:cubicBezTo>
                        <a:pt x="427" y="160"/>
                        <a:pt x="402" y="136"/>
                        <a:pt x="408" y="126"/>
                      </a:cubicBezTo>
                      <a:cubicBezTo>
                        <a:pt x="413" y="115"/>
                        <a:pt x="444" y="131"/>
                        <a:pt x="444" y="131"/>
                      </a:cubicBezTo>
                      <a:cubicBezTo>
                        <a:pt x="461" y="111"/>
                        <a:pt x="461" y="111"/>
                        <a:pt x="461" y="111"/>
                      </a:cubicBezTo>
                      <a:cubicBezTo>
                        <a:pt x="444" y="105"/>
                        <a:pt x="444" y="105"/>
                        <a:pt x="444" y="105"/>
                      </a:cubicBezTo>
                      <a:cubicBezTo>
                        <a:pt x="444" y="105"/>
                        <a:pt x="441" y="93"/>
                        <a:pt x="433" y="88"/>
                      </a:cubicBezTo>
                      <a:cubicBezTo>
                        <a:pt x="425" y="82"/>
                        <a:pt x="393" y="77"/>
                        <a:pt x="393" y="77"/>
                      </a:cubicBezTo>
                      <a:cubicBezTo>
                        <a:pt x="393" y="77"/>
                        <a:pt x="392" y="58"/>
                        <a:pt x="380" y="46"/>
                      </a:cubicBezTo>
                      <a:cubicBezTo>
                        <a:pt x="367" y="33"/>
                        <a:pt x="354" y="42"/>
                        <a:pt x="354" y="42"/>
                      </a:cubicBezTo>
                      <a:cubicBezTo>
                        <a:pt x="343" y="1"/>
                        <a:pt x="343" y="1"/>
                        <a:pt x="343" y="1"/>
                      </a:cubicBezTo>
                      <a:cubicBezTo>
                        <a:pt x="339" y="14"/>
                        <a:pt x="339" y="14"/>
                        <a:pt x="339" y="14"/>
                      </a:cubicBezTo>
                      <a:cubicBezTo>
                        <a:pt x="329" y="0"/>
                        <a:pt x="329" y="0"/>
                        <a:pt x="329" y="0"/>
                      </a:cubicBezTo>
                      <a:cubicBezTo>
                        <a:pt x="323" y="41"/>
                        <a:pt x="323" y="41"/>
                        <a:pt x="323" y="41"/>
                      </a:cubicBezTo>
                      <a:cubicBezTo>
                        <a:pt x="323" y="41"/>
                        <a:pt x="308" y="45"/>
                        <a:pt x="301" y="50"/>
                      </a:cubicBezTo>
                      <a:cubicBezTo>
                        <a:pt x="294" y="55"/>
                        <a:pt x="293" y="77"/>
                        <a:pt x="293" y="77"/>
                      </a:cubicBezTo>
                      <a:cubicBezTo>
                        <a:pt x="276" y="83"/>
                        <a:pt x="276" y="83"/>
                        <a:pt x="276" y="83"/>
                      </a:cubicBezTo>
                      <a:cubicBezTo>
                        <a:pt x="283" y="107"/>
                        <a:pt x="283" y="107"/>
                        <a:pt x="283" y="107"/>
                      </a:cubicBezTo>
                      <a:cubicBezTo>
                        <a:pt x="283" y="107"/>
                        <a:pt x="259" y="104"/>
                        <a:pt x="243" y="101"/>
                      </a:cubicBezTo>
                      <a:cubicBezTo>
                        <a:pt x="228" y="97"/>
                        <a:pt x="227" y="136"/>
                        <a:pt x="227" y="136"/>
                      </a:cubicBezTo>
                      <a:cubicBezTo>
                        <a:pt x="200" y="166"/>
                        <a:pt x="200" y="166"/>
                        <a:pt x="200" y="166"/>
                      </a:cubicBezTo>
                      <a:cubicBezTo>
                        <a:pt x="200" y="166"/>
                        <a:pt x="192" y="201"/>
                        <a:pt x="176" y="213"/>
                      </a:cubicBezTo>
                      <a:cubicBezTo>
                        <a:pt x="160" y="224"/>
                        <a:pt x="119" y="232"/>
                        <a:pt x="110" y="235"/>
                      </a:cubicBezTo>
                      <a:cubicBezTo>
                        <a:pt x="101" y="237"/>
                        <a:pt x="69" y="262"/>
                        <a:pt x="69" y="262"/>
                      </a:cubicBezTo>
                      <a:cubicBezTo>
                        <a:pt x="60" y="285"/>
                        <a:pt x="60" y="285"/>
                        <a:pt x="60" y="285"/>
                      </a:cubicBezTo>
                      <a:cubicBezTo>
                        <a:pt x="60" y="285"/>
                        <a:pt x="84" y="303"/>
                        <a:pt x="65" y="317"/>
                      </a:cubicBezTo>
                      <a:cubicBezTo>
                        <a:pt x="47" y="331"/>
                        <a:pt x="34" y="308"/>
                        <a:pt x="23" y="305"/>
                      </a:cubicBezTo>
                      <a:cubicBezTo>
                        <a:pt x="13" y="303"/>
                        <a:pt x="0" y="322"/>
                        <a:pt x="0" y="322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3" y="328"/>
                        <a:pt x="5" y="334"/>
                        <a:pt x="9" y="338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5" name="Malaysia">
                  <a:extLst>
                    <a:ext uri="{FF2B5EF4-FFF2-40B4-BE49-F238E27FC236}">
                      <a16:creationId xmlns:a16="http://schemas.microsoft.com/office/drawing/2014/main" id="{95FA80FA-1EA7-3FB1-F772-DB9C2D1B73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66196" y="3880447"/>
                  <a:ext cx="115907" cy="163437"/>
                </a:xfrm>
                <a:custGeom>
                  <a:avLst/>
                  <a:gdLst>
                    <a:gd name="T0" fmla="*/ 1 w 207"/>
                    <a:gd name="T1" fmla="*/ 30 h 293"/>
                    <a:gd name="T2" fmla="*/ 6 w 207"/>
                    <a:gd name="T3" fmla="*/ 91 h 293"/>
                    <a:gd name="T4" fmla="*/ 38 w 207"/>
                    <a:gd name="T5" fmla="*/ 99 h 293"/>
                    <a:gd name="T6" fmla="*/ 39 w 207"/>
                    <a:gd name="T7" fmla="*/ 153 h 293"/>
                    <a:gd name="T8" fmla="*/ 62 w 207"/>
                    <a:gd name="T9" fmla="*/ 153 h 293"/>
                    <a:gd name="T10" fmla="*/ 65 w 207"/>
                    <a:gd name="T11" fmla="*/ 203 h 293"/>
                    <a:gd name="T12" fmla="*/ 114 w 207"/>
                    <a:gd name="T13" fmla="*/ 236 h 293"/>
                    <a:gd name="T14" fmla="*/ 121 w 207"/>
                    <a:gd name="T15" fmla="*/ 258 h 293"/>
                    <a:gd name="T16" fmla="*/ 153 w 207"/>
                    <a:gd name="T17" fmla="*/ 271 h 293"/>
                    <a:gd name="T18" fmla="*/ 169 w 207"/>
                    <a:gd name="T19" fmla="*/ 293 h 293"/>
                    <a:gd name="T20" fmla="*/ 202 w 207"/>
                    <a:gd name="T21" fmla="*/ 290 h 293"/>
                    <a:gd name="T22" fmla="*/ 205 w 207"/>
                    <a:gd name="T23" fmla="*/ 252 h 293"/>
                    <a:gd name="T24" fmla="*/ 172 w 207"/>
                    <a:gd name="T25" fmla="*/ 210 h 293"/>
                    <a:gd name="T26" fmla="*/ 170 w 207"/>
                    <a:gd name="T27" fmla="*/ 184 h 293"/>
                    <a:gd name="T28" fmla="*/ 168 w 207"/>
                    <a:gd name="T29" fmla="*/ 160 h 293"/>
                    <a:gd name="T30" fmla="*/ 167 w 207"/>
                    <a:gd name="T31" fmla="*/ 87 h 293"/>
                    <a:gd name="T32" fmla="*/ 115 w 207"/>
                    <a:gd name="T33" fmla="*/ 41 h 293"/>
                    <a:gd name="T34" fmla="*/ 103 w 207"/>
                    <a:gd name="T35" fmla="*/ 31 h 293"/>
                    <a:gd name="T36" fmla="*/ 91 w 207"/>
                    <a:gd name="T37" fmla="*/ 55 h 293"/>
                    <a:gd name="T38" fmla="*/ 72 w 207"/>
                    <a:gd name="T39" fmla="*/ 47 h 293"/>
                    <a:gd name="T40" fmla="*/ 49 w 207"/>
                    <a:gd name="T41" fmla="*/ 54 h 293"/>
                    <a:gd name="T42" fmla="*/ 52 w 207"/>
                    <a:gd name="T43" fmla="*/ 32 h 293"/>
                    <a:gd name="T44" fmla="*/ 45 w 207"/>
                    <a:gd name="T45" fmla="*/ 28 h 293"/>
                    <a:gd name="T46" fmla="*/ 39 w 207"/>
                    <a:gd name="T47" fmla="*/ 16 h 293"/>
                    <a:gd name="T48" fmla="*/ 21 w 207"/>
                    <a:gd name="T49" fmla="*/ 12 h 293"/>
                    <a:gd name="T50" fmla="*/ 12 w 207"/>
                    <a:gd name="T51" fmla="*/ 1 h 293"/>
                    <a:gd name="T52" fmla="*/ 7 w 207"/>
                    <a:gd name="T53" fmla="*/ 17 h 293"/>
                    <a:gd name="T54" fmla="*/ 0 w 207"/>
                    <a:gd name="T55" fmla="*/ 29 h 293"/>
                    <a:gd name="T56" fmla="*/ 1 w 207"/>
                    <a:gd name="T57" fmla="*/ 30 h 2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07" h="293">
                      <a:moveTo>
                        <a:pt x="1" y="30"/>
                      </a:moveTo>
                      <a:cubicBezTo>
                        <a:pt x="6" y="91"/>
                        <a:pt x="6" y="91"/>
                        <a:pt x="6" y="91"/>
                      </a:cubicBezTo>
                      <a:cubicBezTo>
                        <a:pt x="6" y="91"/>
                        <a:pt x="38" y="79"/>
                        <a:pt x="38" y="99"/>
                      </a:cubicBezTo>
                      <a:cubicBezTo>
                        <a:pt x="37" y="119"/>
                        <a:pt x="28" y="141"/>
                        <a:pt x="39" y="153"/>
                      </a:cubicBezTo>
                      <a:cubicBezTo>
                        <a:pt x="50" y="166"/>
                        <a:pt x="62" y="153"/>
                        <a:pt x="62" y="153"/>
                      </a:cubicBezTo>
                      <a:cubicBezTo>
                        <a:pt x="62" y="153"/>
                        <a:pt x="55" y="194"/>
                        <a:pt x="65" y="203"/>
                      </a:cubicBezTo>
                      <a:cubicBezTo>
                        <a:pt x="75" y="212"/>
                        <a:pt x="114" y="236"/>
                        <a:pt x="114" y="236"/>
                      </a:cubicBezTo>
                      <a:cubicBezTo>
                        <a:pt x="114" y="236"/>
                        <a:pt x="116" y="256"/>
                        <a:pt x="121" y="258"/>
                      </a:cubicBezTo>
                      <a:cubicBezTo>
                        <a:pt x="126" y="259"/>
                        <a:pt x="153" y="271"/>
                        <a:pt x="153" y="271"/>
                      </a:cubicBezTo>
                      <a:cubicBezTo>
                        <a:pt x="169" y="293"/>
                        <a:pt x="169" y="293"/>
                        <a:pt x="169" y="293"/>
                      </a:cubicBezTo>
                      <a:cubicBezTo>
                        <a:pt x="202" y="290"/>
                        <a:pt x="202" y="290"/>
                        <a:pt x="202" y="290"/>
                      </a:cubicBezTo>
                      <a:cubicBezTo>
                        <a:pt x="202" y="290"/>
                        <a:pt x="207" y="270"/>
                        <a:pt x="205" y="252"/>
                      </a:cubicBezTo>
                      <a:cubicBezTo>
                        <a:pt x="203" y="235"/>
                        <a:pt x="173" y="215"/>
                        <a:pt x="172" y="210"/>
                      </a:cubicBezTo>
                      <a:cubicBezTo>
                        <a:pt x="171" y="205"/>
                        <a:pt x="177" y="193"/>
                        <a:pt x="170" y="184"/>
                      </a:cubicBezTo>
                      <a:cubicBezTo>
                        <a:pt x="162" y="175"/>
                        <a:pt x="168" y="173"/>
                        <a:pt x="168" y="160"/>
                      </a:cubicBezTo>
                      <a:cubicBezTo>
                        <a:pt x="169" y="148"/>
                        <a:pt x="172" y="109"/>
                        <a:pt x="167" y="87"/>
                      </a:cubicBezTo>
                      <a:cubicBezTo>
                        <a:pt x="163" y="65"/>
                        <a:pt x="121" y="50"/>
                        <a:pt x="115" y="41"/>
                      </a:cubicBezTo>
                      <a:cubicBezTo>
                        <a:pt x="113" y="38"/>
                        <a:pt x="108" y="34"/>
                        <a:pt x="103" y="31"/>
                      </a:cubicBezTo>
                      <a:cubicBezTo>
                        <a:pt x="100" y="39"/>
                        <a:pt x="95" y="50"/>
                        <a:pt x="91" y="55"/>
                      </a:cubicBezTo>
                      <a:cubicBezTo>
                        <a:pt x="85" y="63"/>
                        <a:pt x="83" y="46"/>
                        <a:pt x="72" y="47"/>
                      </a:cubicBezTo>
                      <a:cubicBezTo>
                        <a:pt x="61" y="48"/>
                        <a:pt x="62" y="58"/>
                        <a:pt x="49" y="54"/>
                      </a:cubicBezTo>
                      <a:cubicBezTo>
                        <a:pt x="36" y="50"/>
                        <a:pt x="52" y="38"/>
                        <a:pt x="52" y="32"/>
                      </a:cubicBezTo>
                      <a:cubicBezTo>
                        <a:pt x="52" y="26"/>
                        <a:pt x="45" y="28"/>
                        <a:pt x="45" y="28"/>
                      </a:cubicBezTo>
                      <a:cubicBezTo>
                        <a:pt x="45" y="28"/>
                        <a:pt x="46" y="20"/>
                        <a:pt x="39" y="16"/>
                      </a:cubicBezTo>
                      <a:cubicBezTo>
                        <a:pt x="32" y="12"/>
                        <a:pt x="21" y="12"/>
                        <a:pt x="21" y="12"/>
                      </a:cubicBezTo>
                      <a:cubicBezTo>
                        <a:pt x="21" y="12"/>
                        <a:pt x="19" y="0"/>
                        <a:pt x="12" y="1"/>
                      </a:cubicBezTo>
                      <a:cubicBezTo>
                        <a:pt x="5" y="2"/>
                        <a:pt x="6" y="8"/>
                        <a:pt x="7" y="17"/>
                      </a:cubicBezTo>
                      <a:cubicBezTo>
                        <a:pt x="7" y="21"/>
                        <a:pt x="4" y="25"/>
                        <a:pt x="0" y="29"/>
                      </a:cubicBezTo>
                      <a:cubicBezTo>
                        <a:pt x="1" y="29"/>
                        <a:pt x="1" y="30"/>
                        <a:pt x="1" y="30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6" name="Lebanon">
                  <a:extLst>
                    <a:ext uri="{FF2B5EF4-FFF2-40B4-BE49-F238E27FC236}">
                      <a16:creationId xmlns:a16="http://schemas.microsoft.com/office/drawing/2014/main" id="{C7F6D074-631D-7163-5A60-9BEDCA7E932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06940" y="3041047"/>
                  <a:ext cx="42869" cy="58711"/>
                </a:xfrm>
                <a:custGeom>
                  <a:avLst/>
                  <a:gdLst>
                    <a:gd name="T0" fmla="*/ 46 w 76"/>
                    <a:gd name="T1" fmla="*/ 66 h 105"/>
                    <a:gd name="T2" fmla="*/ 50 w 76"/>
                    <a:gd name="T3" fmla="*/ 46 h 105"/>
                    <a:gd name="T4" fmla="*/ 71 w 76"/>
                    <a:gd name="T5" fmla="*/ 34 h 105"/>
                    <a:gd name="T6" fmla="*/ 64 w 76"/>
                    <a:gd name="T7" fmla="*/ 10 h 105"/>
                    <a:gd name="T8" fmla="*/ 65 w 76"/>
                    <a:gd name="T9" fmla="*/ 0 h 105"/>
                    <a:gd name="T10" fmla="*/ 40 w 76"/>
                    <a:gd name="T11" fmla="*/ 0 h 105"/>
                    <a:gd name="T12" fmla="*/ 37 w 76"/>
                    <a:gd name="T13" fmla="*/ 0 h 105"/>
                    <a:gd name="T14" fmla="*/ 36 w 76"/>
                    <a:gd name="T15" fmla="*/ 5 h 105"/>
                    <a:gd name="T16" fmla="*/ 20 w 76"/>
                    <a:gd name="T17" fmla="*/ 21 h 105"/>
                    <a:gd name="T18" fmla="*/ 11 w 76"/>
                    <a:gd name="T19" fmla="*/ 45 h 105"/>
                    <a:gd name="T20" fmla="*/ 0 w 76"/>
                    <a:gd name="T21" fmla="*/ 89 h 105"/>
                    <a:gd name="T22" fmla="*/ 1 w 76"/>
                    <a:gd name="T23" fmla="*/ 105 h 105"/>
                    <a:gd name="T24" fmla="*/ 6 w 76"/>
                    <a:gd name="T25" fmla="*/ 100 h 105"/>
                    <a:gd name="T26" fmla="*/ 13 w 76"/>
                    <a:gd name="T27" fmla="*/ 87 h 105"/>
                    <a:gd name="T28" fmla="*/ 27 w 76"/>
                    <a:gd name="T29" fmla="*/ 86 h 105"/>
                    <a:gd name="T30" fmla="*/ 31 w 76"/>
                    <a:gd name="T31" fmla="*/ 69 h 105"/>
                    <a:gd name="T32" fmla="*/ 46 w 76"/>
                    <a:gd name="T33" fmla="*/ 66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76" h="105">
                      <a:moveTo>
                        <a:pt x="46" y="66"/>
                      </a:moveTo>
                      <a:cubicBezTo>
                        <a:pt x="46" y="66"/>
                        <a:pt x="41" y="49"/>
                        <a:pt x="50" y="46"/>
                      </a:cubicBezTo>
                      <a:cubicBezTo>
                        <a:pt x="59" y="43"/>
                        <a:pt x="66" y="46"/>
                        <a:pt x="71" y="34"/>
                      </a:cubicBezTo>
                      <a:cubicBezTo>
                        <a:pt x="76" y="22"/>
                        <a:pt x="64" y="10"/>
                        <a:pt x="64" y="1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7" y="2"/>
                        <a:pt x="37" y="4"/>
                        <a:pt x="36" y="5"/>
                      </a:cubicBezTo>
                      <a:cubicBezTo>
                        <a:pt x="29" y="15"/>
                        <a:pt x="20" y="21"/>
                        <a:pt x="20" y="21"/>
                      </a:cubicBezTo>
                      <a:cubicBezTo>
                        <a:pt x="11" y="45"/>
                        <a:pt x="11" y="45"/>
                        <a:pt x="11" y="45"/>
                      </a:cubicBezTo>
                      <a:cubicBezTo>
                        <a:pt x="11" y="45"/>
                        <a:pt x="1" y="69"/>
                        <a:pt x="0" y="89"/>
                      </a:cubicBezTo>
                      <a:cubicBezTo>
                        <a:pt x="0" y="94"/>
                        <a:pt x="0" y="100"/>
                        <a:pt x="1" y="105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3" y="87"/>
                        <a:pt x="13" y="87"/>
                        <a:pt x="13" y="87"/>
                      </a:cubicBezTo>
                      <a:cubicBezTo>
                        <a:pt x="13" y="87"/>
                        <a:pt x="22" y="93"/>
                        <a:pt x="27" y="86"/>
                      </a:cubicBezTo>
                      <a:cubicBezTo>
                        <a:pt x="32" y="79"/>
                        <a:pt x="31" y="69"/>
                        <a:pt x="31" y="69"/>
                      </a:cubicBezTo>
                      <a:cubicBezTo>
                        <a:pt x="46" y="66"/>
                        <a:pt x="46" y="66"/>
                        <a:pt x="46" y="66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7" name="Laos">
                  <a:extLst>
                    <a:ext uri="{FF2B5EF4-FFF2-40B4-BE49-F238E27FC236}">
                      <a16:creationId xmlns:a16="http://schemas.microsoft.com/office/drawing/2014/main" id="{B2C993D0-DEF8-B59F-D7C9-B38FF91ED47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26503" y="3406003"/>
                  <a:ext cx="227051" cy="263403"/>
                </a:xfrm>
                <a:custGeom>
                  <a:avLst/>
                  <a:gdLst>
                    <a:gd name="T0" fmla="*/ 28 w 404"/>
                    <a:gd name="T1" fmla="*/ 124 h 470"/>
                    <a:gd name="T2" fmla="*/ 47 w 404"/>
                    <a:gd name="T3" fmla="*/ 163 h 470"/>
                    <a:gd name="T4" fmla="*/ 68 w 404"/>
                    <a:gd name="T5" fmla="*/ 160 h 470"/>
                    <a:gd name="T6" fmla="*/ 74 w 404"/>
                    <a:gd name="T7" fmla="*/ 196 h 470"/>
                    <a:gd name="T8" fmla="*/ 73 w 404"/>
                    <a:gd name="T9" fmla="*/ 224 h 470"/>
                    <a:gd name="T10" fmla="*/ 88 w 404"/>
                    <a:gd name="T11" fmla="*/ 254 h 470"/>
                    <a:gd name="T12" fmla="*/ 143 w 404"/>
                    <a:gd name="T13" fmla="*/ 245 h 470"/>
                    <a:gd name="T14" fmla="*/ 187 w 404"/>
                    <a:gd name="T15" fmla="*/ 228 h 470"/>
                    <a:gd name="T16" fmla="*/ 215 w 404"/>
                    <a:gd name="T17" fmla="*/ 247 h 470"/>
                    <a:gd name="T18" fmla="*/ 248 w 404"/>
                    <a:gd name="T19" fmla="*/ 298 h 470"/>
                    <a:gd name="T20" fmla="*/ 283 w 404"/>
                    <a:gd name="T21" fmla="*/ 347 h 470"/>
                    <a:gd name="T22" fmla="*/ 294 w 404"/>
                    <a:gd name="T23" fmla="*/ 367 h 470"/>
                    <a:gd name="T24" fmla="*/ 302 w 404"/>
                    <a:gd name="T25" fmla="*/ 425 h 470"/>
                    <a:gd name="T26" fmla="*/ 290 w 404"/>
                    <a:gd name="T27" fmla="*/ 448 h 470"/>
                    <a:gd name="T28" fmla="*/ 327 w 404"/>
                    <a:gd name="T29" fmla="*/ 462 h 470"/>
                    <a:gd name="T30" fmla="*/ 334 w 404"/>
                    <a:gd name="T31" fmla="*/ 434 h 470"/>
                    <a:gd name="T32" fmla="*/ 365 w 404"/>
                    <a:gd name="T33" fmla="*/ 435 h 470"/>
                    <a:gd name="T34" fmla="*/ 390 w 404"/>
                    <a:gd name="T35" fmla="*/ 430 h 470"/>
                    <a:gd name="T36" fmla="*/ 391 w 404"/>
                    <a:gd name="T37" fmla="*/ 410 h 470"/>
                    <a:gd name="T38" fmla="*/ 369 w 404"/>
                    <a:gd name="T39" fmla="*/ 369 h 470"/>
                    <a:gd name="T40" fmla="*/ 361 w 404"/>
                    <a:gd name="T41" fmla="*/ 331 h 470"/>
                    <a:gd name="T42" fmla="*/ 334 w 404"/>
                    <a:gd name="T43" fmla="*/ 299 h 470"/>
                    <a:gd name="T44" fmla="*/ 319 w 404"/>
                    <a:gd name="T45" fmla="*/ 289 h 470"/>
                    <a:gd name="T46" fmla="*/ 285 w 404"/>
                    <a:gd name="T47" fmla="*/ 236 h 470"/>
                    <a:gd name="T48" fmla="*/ 256 w 404"/>
                    <a:gd name="T49" fmla="*/ 203 h 470"/>
                    <a:gd name="T50" fmla="*/ 193 w 404"/>
                    <a:gd name="T51" fmla="*/ 168 h 470"/>
                    <a:gd name="T52" fmla="*/ 218 w 404"/>
                    <a:gd name="T53" fmla="*/ 156 h 470"/>
                    <a:gd name="T54" fmla="*/ 212 w 404"/>
                    <a:gd name="T55" fmla="*/ 112 h 470"/>
                    <a:gd name="T56" fmla="*/ 184 w 404"/>
                    <a:gd name="T57" fmla="*/ 79 h 470"/>
                    <a:gd name="T58" fmla="*/ 160 w 404"/>
                    <a:gd name="T59" fmla="*/ 90 h 470"/>
                    <a:gd name="T60" fmla="*/ 128 w 404"/>
                    <a:gd name="T61" fmla="*/ 63 h 470"/>
                    <a:gd name="T62" fmla="*/ 118 w 404"/>
                    <a:gd name="T63" fmla="*/ 40 h 470"/>
                    <a:gd name="T64" fmla="*/ 91 w 404"/>
                    <a:gd name="T65" fmla="*/ 2 h 470"/>
                    <a:gd name="T66" fmla="*/ 60 w 404"/>
                    <a:gd name="T67" fmla="*/ 22 h 470"/>
                    <a:gd name="T68" fmla="*/ 79 w 404"/>
                    <a:gd name="T69" fmla="*/ 72 h 470"/>
                    <a:gd name="T70" fmla="*/ 48 w 404"/>
                    <a:gd name="T71" fmla="*/ 57 h 470"/>
                    <a:gd name="T72" fmla="*/ 26 w 404"/>
                    <a:gd name="T73" fmla="*/ 74 h 470"/>
                    <a:gd name="T74" fmla="*/ 26 w 404"/>
                    <a:gd name="T75" fmla="*/ 89 h 470"/>
                    <a:gd name="T76" fmla="*/ 2 w 404"/>
                    <a:gd name="T77" fmla="*/ 110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04" h="470">
                      <a:moveTo>
                        <a:pt x="17" y="121"/>
                      </a:moveTo>
                      <a:cubicBezTo>
                        <a:pt x="17" y="121"/>
                        <a:pt x="27" y="116"/>
                        <a:pt x="28" y="124"/>
                      </a:cubicBezTo>
                      <a:cubicBezTo>
                        <a:pt x="29" y="132"/>
                        <a:pt x="22" y="153"/>
                        <a:pt x="28" y="158"/>
                      </a:cubicBezTo>
                      <a:cubicBezTo>
                        <a:pt x="34" y="163"/>
                        <a:pt x="47" y="163"/>
                        <a:pt x="47" y="163"/>
                      </a:cubicBezTo>
                      <a:cubicBezTo>
                        <a:pt x="45" y="155"/>
                        <a:pt x="45" y="155"/>
                        <a:pt x="45" y="155"/>
                      </a:cubicBezTo>
                      <a:cubicBezTo>
                        <a:pt x="45" y="155"/>
                        <a:pt x="68" y="146"/>
                        <a:pt x="68" y="160"/>
                      </a:cubicBezTo>
                      <a:cubicBezTo>
                        <a:pt x="68" y="174"/>
                        <a:pt x="66" y="180"/>
                        <a:pt x="66" y="180"/>
                      </a:cubicBezTo>
                      <a:cubicBezTo>
                        <a:pt x="66" y="180"/>
                        <a:pt x="74" y="187"/>
                        <a:pt x="74" y="196"/>
                      </a:cubicBezTo>
                      <a:cubicBezTo>
                        <a:pt x="74" y="205"/>
                        <a:pt x="60" y="216"/>
                        <a:pt x="60" y="216"/>
                      </a:cubicBezTo>
                      <a:cubicBezTo>
                        <a:pt x="60" y="216"/>
                        <a:pt x="73" y="215"/>
                        <a:pt x="73" y="224"/>
                      </a:cubicBezTo>
                      <a:cubicBezTo>
                        <a:pt x="73" y="233"/>
                        <a:pt x="49" y="264"/>
                        <a:pt x="59" y="267"/>
                      </a:cubicBezTo>
                      <a:cubicBezTo>
                        <a:pt x="69" y="270"/>
                        <a:pt x="88" y="254"/>
                        <a:pt x="88" y="254"/>
                      </a:cubicBezTo>
                      <a:cubicBezTo>
                        <a:pt x="88" y="254"/>
                        <a:pt x="101" y="229"/>
                        <a:pt x="108" y="231"/>
                      </a:cubicBezTo>
                      <a:cubicBezTo>
                        <a:pt x="115" y="233"/>
                        <a:pt x="129" y="244"/>
                        <a:pt x="143" y="245"/>
                      </a:cubicBezTo>
                      <a:cubicBezTo>
                        <a:pt x="157" y="246"/>
                        <a:pt x="154" y="221"/>
                        <a:pt x="164" y="220"/>
                      </a:cubicBezTo>
                      <a:cubicBezTo>
                        <a:pt x="174" y="219"/>
                        <a:pt x="187" y="228"/>
                        <a:pt x="187" y="228"/>
                      </a:cubicBezTo>
                      <a:cubicBezTo>
                        <a:pt x="187" y="228"/>
                        <a:pt x="194" y="226"/>
                        <a:pt x="202" y="228"/>
                      </a:cubicBezTo>
                      <a:cubicBezTo>
                        <a:pt x="210" y="230"/>
                        <a:pt x="197" y="236"/>
                        <a:pt x="215" y="247"/>
                      </a:cubicBezTo>
                      <a:cubicBezTo>
                        <a:pt x="233" y="258"/>
                        <a:pt x="247" y="270"/>
                        <a:pt x="247" y="270"/>
                      </a:cubicBezTo>
                      <a:cubicBezTo>
                        <a:pt x="248" y="298"/>
                        <a:pt x="248" y="298"/>
                        <a:pt x="248" y="298"/>
                      </a:cubicBezTo>
                      <a:cubicBezTo>
                        <a:pt x="248" y="298"/>
                        <a:pt x="255" y="318"/>
                        <a:pt x="260" y="327"/>
                      </a:cubicBezTo>
                      <a:cubicBezTo>
                        <a:pt x="265" y="336"/>
                        <a:pt x="283" y="343"/>
                        <a:pt x="283" y="347"/>
                      </a:cubicBezTo>
                      <a:cubicBezTo>
                        <a:pt x="283" y="351"/>
                        <a:pt x="285" y="364"/>
                        <a:pt x="285" y="364"/>
                      </a:cubicBezTo>
                      <a:cubicBezTo>
                        <a:pt x="285" y="364"/>
                        <a:pt x="288" y="357"/>
                        <a:pt x="294" y="367"/>
                      </a:cubicBezTo>
                      <a:cubicBezTo>
                        <a:pt x="300" y="377"/>
                        <a:pt x="285" y="390"/>
                        <a:pt x="287" y="394"/>
                      </a:cubicBezTo>
                      <a:cubicBezTo>
                        <a:pt x="289" y="398"/>
                        <a:pt x="312" y="413"/>
                        <a:pt x="302" y="425"/>
                      </a:cubicBezTo>
                      <a:cubicBezTo>
                        <a:pt x="296" y="432"/>
                        <a:pt x="291" y="436"/>
                        <a:pt x="287" y="439"/>
                      </a:cubicBezTo>
                      <a:cubicBezTo>
                        <a:pt x="287" y="442"/>
                        <a:pt x="287" y="447"/>
                        <a:pt x="290" y="448"/>
                      </a:cubicBezTo>
                      <a:cubicBezTo>
                        <a:pt x="294" y="449"/>
                        <a:pt x="310" y="450"/>
                        <a:pt x="310" y="450"/>
                      </a:cubicBezTo>
                      <a:cubicBezTo>
                        <a:pt x="310" y="450"/>
                        <a:pt x="319" y="470"/>
                        <a:pt x="327" y="462"/>
                      </a:cubicBezTo>
                      <a:cubicBezTo>
                        <a:pt x="335" y="454"/>
                        <a:pt x="323" y="442"/>
                        <a:pt x="323" y="442"/>
                      </a:cubicBezTo>
                      <a:cubicBezTo>
                        <a:pt x="334" y="434"/>
                        <a:pt x="334" y="434"/>
                        <a:pt x="334" y="434"/>
                      </a:cubicBezTo>
                      <a:cubicBezTo>
                        <a:pt x="343" y="426"/>
                        <a:pt x="343" y="426"/>
                        <a:pt x="343" y="426"/>
                      </a:cubicBezTo>
                      <a:cubicBezTo>
                        <a:pt x="365" y="435"/>
                        <a:pt x="365" y="435"/>
                        <a:pt x="365" y="435"/>
                      </a:cubicBezTo>
                      <a:cubicBezTo>
                        <a:pt x="373" y="426"/>
                        <a:pt x="373" y="426"/>
                        <a:pt x="373" y="426"/>
                      </a:cubicBezTo>
                      <a:cubicBezTo>
                        <a:pt x="390" y="430"/>
                        <a:pt x="390" y="430"/>
                        <a:pt x="390" y="430"/>
                      </a:cubicBezTo>
                      <a:cubicBezTo>
                        <a:pt x="390" y="430"/>
                        <a:pt x="396" y="431"/>
                        <a:pt x="400" y="423"/>
                      </a:cubicBezTo>
                      <a:cubicBezTo>
                        <a:pt x="404" y="415"/>
                        <a:pt x="391" y="410"/>
                        <a:pt x="391" y="410"/>
                      </a:cubicBezTo>
                      <a:cubicBezTo>
                        <a:pt x="402" y="389"/>
                        <a:pt x="402" y="389"/>
                        <a:pt x="402" y="389"/>
                      </a:cubicBezTo>
                      <a:cubicBezTo>
                        <a:pt x="402" y="389"/>
                        <a:pt x="383" y="380"/>
                        <a:pt x="369" y="369"/>
                      </a:cubicBezTo>
                      <a:cubicBezTo>
                        <a:pt x="355" y="358"/>
                        <a:pt x="369" y="355"/>
                        <a:pt x="377" y="350"/>
                      </a:cubicBezTo>
                      <a:cubicBezTo>
                        <a:pt x="385" y="345"/>
                        <a:pt x="361" y="331"/>
                        <a:pt x="361" y="331"/>
                      </a:cubicBezTo>
                      <a:cubicBezTo>
                        <a:pt x="361" y="331"/>
                        <a:pt x="351" y="330"/>
                        <a:pt x="344" y="323"/>
                      </a:cubicBezTo>
                      <a:cubicBezTo>
                        <a:pt x="337" y="316"/>
                        <a:pt x="334" y="299"/>
                        <a:pt x="334" y="299"/>
                      </a:cubicBezTo>
                      <a:cubicBezTo>
                        <a:pt x="320" y="300"/>
                        <a:pt x="320" y="300"/>
                        <a:pt x="320" y="300"/>
                      </a:cubicBezTo>
                      <a:cubicBezTo>
                        <a:pt x="319" y="289"/>
                        <a:pt x="319" y="289"/>
                        <a:pt x="319" y="289"/>
                      </a:cubicBezTo>
                      <a:cubicBezTo>
                        <a:pt x="319" y="289"/>
                        <a:pt x="308" y="278"/>
                        <a:pt x="295" y="267"/>
                      </a:cubicBezTo>
                      <a:cubicBezTo>
                        <a:pt x="282" y="256"/>
                        <a:pt x="285" y="236"/>
                        <a:pt x="285" y="236"/>
                      </a:cubicBezTo>
                      <a:cubicBezTo>
                        <a:pt x="285" y="236"/>
                        <a:pt x="263" y="228"/>
                        <a:pt x="259" y="224"/>
                      </a:cubicBezTo>
                      <a:cubicBezTo>
                        <a:pt x="255" y="220"/>
                        <a:pt x="256" y="203"/>
                        <a:pt x="256" y="203"/>
                      </a:cubicBezTo>
                      <a:cubicBezTo>
                        <a:pt x="256" y="203"/>
                        <a:pt x="238" y="198"/>
                        <a:pt x="232" y="193"/>
                      </a:cubicBezTo>
                      <a:cubicBezTo>
                        <a:pt x="226" y="188"/>
                        <a:pt x="193" y="168"/>
                        <a:pt x="193" y="168"/>
                      </a:cubicBezTo>
                      <a:cubicBezTo>
                        <a:pt x="193" y="168"/>
                        <a:pt x="193" y="156"/>
                        <a:pt x="191" y="152"/>
                      </a:cubicBezTo>
                      <a:cubicBezTo>
                        <a:pt x="189" y="148"/>
                        <a:pt x="218" y="156"/>
                        <a:pt x="218" y="156"/>
                      </a:cubicBezTo>
                      <a:cubicBezTo>
                        <a:pt x="218" y="156"/>
                        <a:pt x="237" y="142"/>
                        <a:pt x="243" y="132"/>
                      </a:cubicBezTo>
                      <a:cubicBezTo>
                        <a:pt x="249" y="122"/>
                        <a:pt x="230" y="120"/>
                        <a:pt x="212" y="112"/>
                      </a:cubicBezTo>
                      <a:cubicBezTo>
                        <a:pt x="194" y="104"/>
                        <a:pt x="214" y="98"/>
                        <a:pt x="214" y="98"/>
                      </a:cubicBezTo>
                      <a:cubicBezTo>
                        <a:pt x="214" y="98"/>
                        <a:pt x="192" y="80"/>
                        <a:pt x="184" y="79"/>
                      </a:cubicBezTo>
                      <a:cubicBezTo>
                        <a:pt x="176" y="78"/>
                        <a:pt x="179" y="90"/>
                        <a:pt x="172" y="98"/>
                      </a:cubicBezTo>
                      <a:cubicBezTo>
                        <a:pt x="165" y="106"/>
                        <a:pt x="160" y="90"/>
                        <a:pt x="160" y="90"/>
                      </a:cubicBezTo>
                      <a:cubicBezTo>
                        <a:pt x="151" y="90"/>
                        <a:pt x="151" y="90"/>
                        <a:pt x="151" y="90"/>
                      </a:cubicBezTo>
                      <a:cubicBezTo>
                        <a:pt x="151" y="90"/>
                        <a:pt x="138" y="76"/>
                        <a:pt x="128" y="63"/>
                      </a:cubicBezTo>
                      <a:cubicBezTo>
                        <a:pt x="118" y="50"/>
                        <a:pt x="131" y="41"/>
                        <a:pt x="127" y="37"/>
                      </a:cubicBezTo>
                      <a:cubicBezTo>
                        <a:pt x="123" y="33"/>
                        <a:pt x="118" y="40"/>
                        <a:pt x="118" y="40"/>
                      </a:cubicBezTo>
                      <a:cubicBezTo>
                        <a:pt x="118" y="40"/>
                        <a:pt x="102" y="22"/>
                        <a:pt x="96" y="15"/>
                      </a:cubicBezTo>
                      <a:cubicBezTo>
                        <a:pt x="93" y="12"/>
                        <a:pt x="92" y="7"/>
                        <a:pt x="91" y="2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59" y="9"/>
                        <a:pt x="60" y="22"/>
                      </a:cubicBezTo>
                      <a:cubicBezTo>
                        <a:pt x="61" y="35"/>
                        <a:pt x="79" y="47"/>
                        <a:pt x="79" y="47"/>
                      </a:cubicBezTo>
                      <a:cubicBezTo>
                        <a:pt x="79" y="72"/>
                        <a:pt x="79" y="72"/>
                        <a:pt x="79" y="72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26" y="67"/>
                        <a:pt x="26" y="67"/>
                        <a:pt x="26" y="67"/>
                      </a:cubicBezTo>
                      <a:cubicBezTo>
                        <a:pt x="26" y="74"/>
                        <a:pt x="26" y="74"/>
                        <a:pt x="26" y="74"/>
                      </a:cubicBezTo>
                      <a:cubicBezTo>
                        <a:pt x="21" y="82"/>
                        <a:pt x="21" y="82"/>
                        <a:pt x="21" y="82"/>
                      </a:cubicBezTo>
                      <a:cubicBezTo>
                        <a:pt x="26" y="89"/>
                        <a:pt x="26" y="89"/>
                        <a:pt x="26" y="89"/>
                      </a:cubicBezTo>
                      <a:cubicBezTo>
                        <a:pt x="26" y="89"/>
                        <a:pt x="18" y="92"/>
                        <a:pt x="9" y="95"/>
                      </a:cubicBezTo>
                      <a:cubicBezTo>
                        <a:pt x="0" y="98"/>
                        <a:pt x="2" y="110"/>
                        <a:pt x="2" y="110"/>
                      </a:cubicBezTo>
                      <a:cubicBezTo>
                        <a:pt x="6" y="111"/>
                        <a:pt x="17" y="121"/>
                        <a:pt x="17" y="12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8" name="Kyrgyzstan">
                  <a:extLst>
                    <a:ext uri="{FF2B5EF4-FFF2-40B4-BE49-F238E27FC236}">
                      <a16:creationId xmlns:a16="http://schemas.microsoft.com/office/drawing/2014/main" id="{FB01590C-88A3-6924-15B3-6A153D0E17C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332583" y="2785579"/>
                  <a:ext cx="250869" cy="117421"/>
                </a:xfrm>
                <a:custGeom>
                  <a:avLst/>
                  <a:gdLst>
                    <a:gd name="T0" fmla="*/ 46 w 449"/>
                    <a:gd name="T1" fmla="*/ 96 h 211"/>
                    <a:gd name="T2" fmla="*/ 76 w 449"/>
                    <a:gd name="T3" fmla="*/ 107 h 211"/>
                    <a:gd name="T4" fmla="*/ 84 w 449"/>
                    <a:gd name="T5" fmla="*/ 98 h 211"/>
                    <a:gd name="T6" fmla="*/ 95 w 449"/>
                    <a:gd name="T7" fmla="*/ 106 h 211"/>
                    <a:gd name="T8" fmla="*/ 114 w 449"/>
                    <a:gd name="T9" fmla="*/ 117 h 211"/>
                    <a:gd name="T10" fmla="*/ 132 w 449"/>
                    <a:gd name="T11" fmla="*/ 124 h 211"/>
                    <a:gd name="T12" fmla="*/ 129 w 449"/>
                    <a:gd name="T13" fmla="*/ 141 h 211"/>
                    <a:gd name="T14" fmla="*/ 115 w 449"/>
                    <a:gd name="T15" fmla="*/ 149 h 211"/>
                    <a:gd name="T16" fmla="*/ 84 w 449"/>
                    <a:gd name="T17" fmla="*/ 152 h 211"/>
                    <a:gd name="T18" fmla="*/ 65 w 449"/>
                    <a:gd name="T19" fmla="*/ 160 h 211"/>
                    <a:gd name="T20" fmla="*/ 25 w 449"/>
                    <a:gd name="T21" fmla="*/ 158 h 211"/>
                    <a:gd name="T22" fmla="*/ 0 w 449"/>
                    <a:gd name="T23" fmla="*/ 177 h 211"/>
                    <a:gd name="T24" fmla="*/ 32 w 449"/>
                    <a:gd name="T25" fmla="*/ 190 h 211"/>
                    <a:gd name="T26" fmla="*/ 66 w 449"/>
                    <a:gd name="T27" fmla="*/ 192 h 211"/>
                    <a:gd name="T28" fmla="*/ 100 w 449"/>
                    <a:gd name="T29" fmla="*/ 191 h 211"/>
                    <a:gd name="T30" fmla="*/ 134 w 449"/>
                    <a:gd name="T31" fmla="*/ 205 h 211"/>
                    <a:gd name="T32" fmla="*/ 154 w 449"/>
                    <a:gd name="T33" fmla="*/ 202 h 211"/>
                    <a:gd name="T34" fmla="*/ 190 w 449"/>
                    <a:gd name="T35" fmla="*/ 194 h 211"/>
                    <a:gd name="T36" fmla="*/ 211 w 449"/>
                    <a:gd name="T37" fmla="*/ 195 h 211"/>
                    <a:gd name="T38" fmla="*/ 231 w 449"/>
                    <a:gd name="T39" fmla="*/ 157 h 211"/>
                    <a:gd name="T40" fmla="*/ 250 w 449"/>
                    <a:gd name="T41" fmla="*/ 145 h 211"/>
                    <a:gd name="T42" fmla="*/ 278 w 449"/>
                    <a:gd name="T43" fmla="*/ 155 h 211"/>
                    <a:gd name="T44" fmla="*/ 304 w 449"/>
                    <a:gd name="T45" fmla="*/ 153 h 211"/>
                    <a:gd name="T46" fmla="*/ 327 w 449"/>
                    <a:gd name="T47" fmla="*/ 112 h 211"/>
                    <a:gd name="T48" fmla="*/ 378 w 449"/>
                    <a:gd name="T49" fmla="*/ 98 h 211"/>
                    <a:gd name="T50" fmla="*/ 429 w 449"/>
                    <a:gd name="T51" fmla="*/ 65 h 211"/>
                    <a:gd name="T52" fmla="*/ 443 w 449"/>
                    <a:gd name="T53" fmla="*/ 46 h 211"/>
                    <a:gd name="T54" fmla="*/ 401 w 449"/>
                    <a:gd name="T55" fmla="*/ 41 h 211"/>
                    <a:gd name="T56" fmla="*/ 372 w 449"/>
                    <a:gd name="T57" fmla="*/ 23 h 211"/>
                    <a:gd name="T58" fmla="*/ 332 w 449"/>
                    <a:gd name="T59" fmla="*/ 16 h 211"/>
                    <a:gd name="T60" fmla="*/ 238 w 449"/>
                    <a:gd name="T61" fmla="*/ 14 h 211"/>
                    <a:gd name="T62" fmla="*/ 194 w 449"/>
                    <a:gd name="T63" fmla="*/ 12 h 211"/>
                    <a:gd name="T64" fmla="*/ 144 w 449"/>
                    <a:gd name="T65" fmla="*/ 5 h 211"/>
                    <a:gd name="T66" fmla="*/ 138 w 449"/>
                    <a:gd name="T67" fmla="*/ 37 h 211"/>
                    <a:gd name="T68" fmla="*/ 61 w 449"/>
                    <a:gd name="T69" fmla="*/ 18 h 211"/>
                    <a:gd name="T70" fmla="*/ 57 w 449"/>
                    <a:gd name="T71" fmla="*/ 54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49" h="211">
                      <a:moveTo>
                        <a:pt x="23" y="88"/>
                      </a:moveTo>
                      <a:cubicBezTo>
                        <a:pt x="46" y="96"/>
                        <a:pt x="46" y="96"/>
                        <a:pt x="46" y="96"/>
                      </a:cubicBezTo>
                      <a:cubicBezTo>
                        <a:pt x="46" y="96"/>
                        <a:pt x="47" y="101"/>
                        <a:pt x="52" y="105"/>
                      </a:cubicBezTo>
                      <a:cubicBezTo>
                        <a:pt x="57" y="109"/>
                        <a:pt x="76" y="107"/>
                        <a:pt x="76" y="107"/>
                      </a:cubicBezTo>
                      <a:cubicBezTo>
                        <a:pt x="75" y="98"/>
                        <a:pt x="75" y="98"/>
                        <a:pt x="75" y="98"/>
                      </a:cubicBezTo>
                      <a:cubicBezTo>
                        <a:pt x="84" y="98"/>
                        <a:pt x="84" y="98"/>
                        <a:pt x="84" y="98"/>
                      </a:cubicBezTo>
                      <a:cubicBezTo>
                        <a:pt x="84" y="88"/>
                        <a:pt x="84" y="88"/>
                        <a:pt x="84" y="88"/>
                      </a:cubicBezTo>
                      <a:cubicBezTo>
                        <a:pt x="95" y="106"/>
                        <a:pt x="95" y="106"/>
                        <a:pt x="95" y="106"/>
                      </a:cubicBezTo>
                      <a:cubicBezTo>
                        <a:pt x="108" y="106"/>
                        <a:pt x="108" y="106"/>
                        <a:pt x="108" y="106"/>
                      </a:cubicBezTo>
                      <a:cubicBezTo>
                        <a:pt x="114" y="117"/>
                        <a:pt x="114" y="117"/>
                        <a:pt x="114" y="117"/>
                      </a:cubicBezTo>
                      <a:cubicBezTo>
                        <a:pt x="127" y="119"/>
                        <a:pt x="127" y="119"/>
                        <a:pt x="127" y="119"/>
                      </a:cubicBezTo>
                      <a:cubicBezTo>
                        <a:pt x="132" y="124"/>
                        <a:pt x="132" y="124"/>
                        <a:pt x="132" y="124"/>
                      </a:cubicBezTo>
                      <a:cubicBezTo>
                        <a:pt x="132" y="124"/>
                        <a:pt x="161" y="118"/>
                        <a:pt x="151" y="130"/>
                      </a:cubicBezTo>
                      <a:cubicBezTo>
                        <a:pt x="141" y="142"/>
                        <a:pt x="129" y="141"/>
                        <a:pt x="129" y="141"/>
                      </a:cubicBezTo>
                      <a:cubicBezTo>
                        <a:pt x="129" y="147"/>
                        <a:pt x="129" y="147"/>
                        <a:pt x="129" y="147"/>
                      </a:cubicBezTo>
                      <a:cubicBezTo>
                        <a:pt x="115" y="149"/>
                        <a:pt x="115" y="149"/>
                        <a:pt x="115" y="149"/>
                      </a:cubicBezTo>
                      <a:cubicBezTo>
                        <a:pt x="115" y="149"/>
                        <a:pt x="113" y="158"/>
                        <a:pt x="104" y="162"/>
                      </a:cubicBezTo>
                      <a:cubicBezTo>
                        <a:pt x="95" y="166"/>
                        <a:pt x="91" y="150"/>
                        <a:pt x="84" y="152"/>
                      </a:cubicBezTo>
                      <a:cubicBezTo>
                        <a:pt x="80" y="153"/>
                        <a:pt x="71" y="156"/>
                        <a:pt x="64" y="159"/>
                      </a:cubicBezTo>
                      <a:cubicBezTo>
                        <a:pt x="65" y="159"/>
                        <a:pt x="65" y="159"/>
                        <a:pt x="65" y="160"/>
                      </a:cubicBezTo>
                      <a:cubicBezTo>
                        <a:pt x="64" y="164"/>
                        <a:pt x="62" y="175"/>
                        <a:pt x="55" y="171"/>
                      </a:cubicBezTo>
                      <a:cubicBezTo>
                        <a:pt x="48" y="167"/>
                        <a:pt x="38" y="157"/>
                        <a:pt x="25" y="158"/>
                      </a:cubicBezTo>
                      <a:cubicBezTo>
                        <a:pt x="12" y="159"/>
                        <a:pt x="9" y="174"/>
                        <a:pt x="9" y="174"/>
                      </a:cubicBezTo>
                      <a:cubicBezTo>
                        <a:pt x="0" y="177"/>
                        <a:pt x="0" y="177"/>
                        <a:pt x="0" y="177"/>
                      </a:cubicBezTo>
                      <a:cubicBezTo>
                        <a:pt x="0" y="177"/>
                        <a:pt x="3" y="197"/>
                        <a:pt x="10" y="196"/>
                      </a:cubicBezTo>
                      <a:cubicBezTo>
                        <a:pt x="17" y="195"/>
                        <a:pt x="32" y="190"/>
                        <a:pt x="32" y="190"/>
                      </a:cubicBezTo>
                      <a:cubicBezTo>
                        <a:pt x="32" y="190"/>
                        <a:pt x="49" y="195"/>
                        <a:pt x="54" y="193"/>
                      </a:cubicBezTo>
                      <a:cubicBezTo>
                        <a:pt x="59" y="191"/>
                        <a:pt x="66" y="192"/>
                        <a:pt x="66" y="192"/>
                      </a:cubicBezTo>
                      <a:cubicBezTo>
                        <a:pt x="66" y="192"/>
                        <a:pt x="72" y="202"/>
                        <a:pt x="78" y="201"/>
                      </a:cubicBezTo>
                      <a:cubicBezTo>
                        <a:pt x="84" y="200"/>
                        <a:pt x="95" y="192"/>
                        <a:pt x="100" y="191"/>
                      </a:cubicBezTo>
                      <a:cubicBezTo>
                        <a:pt x="105" y="190"/>
                        <a:pt x="116" y="208"/>
                        <a:pt x="119" y="208"/>
                      </a:cubicBezTo>
                      <a:cubicBezTo>
                        <a:pt x="122" y="208"/>
                        <a:pt x="134" y="205"/>
                        <a:pt x="134" y="205"/>
                      </a:cubicBezTo>
                      <a:cubicBezTo>
                        <a:pt x="134" y="205"/>
                        <a:pt x="130" y="211"/>
                        <a:pt x="140" y="208"/>
                      </a:cubicBezTo>
                      <a:cubicBezTo>
                        <a:pt x="150" y="205"/>
                        <a:pt x="154" y="202"/>
                        <a:pt x="154" y="202"/>
                      </a:cubicBezTo>
                      <a:cubicBezTo>
                        <a:pt x="182" y="203"/>
                        <a:pt x="182" y="203"/>
                        <a:pt x="182" y="203"/>
                      </a:cubicBezTo>
                      <a:cubicBezTo>
                        <a:pt x="190" y="194"/>
                        <a:pt x="190" y="194"/>
                        <a:pt x="190" y="194"/>
                      </a:cubicBezTo>
                      <a:cubicBezTo>
                        <a:pt x="199" y="197"/>
                        <a:pt x="199" y="197"/>
                        <a:pt x="199" y="197"/>
                      </a:cubicBezTo>
                      <a:cubicBezTo>
                        <a:pt x="199" y="197"/>
                        <a:pt x="211" y="199"/>
                        <a:pt x="211" y="195"/>
                      </a:cubicBezTo>
                      <a:cubicBezTo>
                        <a:pt x="211" y="191"/>
                        <a:pt x="200" y="178"/>
                        <a:pt x="199" y="175"/>
                      </a:cubicBezTo>
                      <a:cubicBezTo>
                        <a:pt x="198" y="172"/>
                        <a:pt x="231" y="157"/>
                        <a:pt x="231" y="157"/>
                      </a:cubicBezTo>
                      <a:cubicBezTo>
                        <a:pt x="231" y="147"/>
                        <a:pt x="231" y="147"/>
                        <a:pt x="231" y="147"/>
                      </a:cubicBezTo>
                      <a:cubicBezTo>
                        <a:pt x="250" y="145"/>
                        <a:pt x="250" y="145"/>
                        <a:pt x="250" y="145"/>
                      </a:cubicBezTo>
                      <a:cubicBezTo>
                        <a:pt x="250" y="145"/>
                        <a:pt x="255" y="136"/>
                        <a:pt x="261" y="136"/>
                      </a:cubicBezTo>
                      <a:cubicBezTo>
                        <a:pt x="267" y="136"/>
                        <a:pt x="278" y="155"/>
                        <a:pt x="278" y="155"/>
                      </a:cubicBezTo>
                      <a:cubicBezTo>
                        <a:pt x="285" y="148"/>
                        <a:pt x="285" y="148"/>
                        <a:pt x="285" y="148"/>
                      </a:cubicBezTo>
                      <a:cubicBezTo>
                        <a:pt x="304" y="153"/>
                        <a:pt x="304" y="153"/>
                        <a:pt x="304" y="153"/>
                      </a:cubicBezTo>
                      <a:cubicBezTo>
                        <a:pt x="304" y="153"/>
                        <a:pt x="309" y="144"/>
                        <a:pt x="310" y="135"/>
                      </a:cubicBezTo>
                      <a:cubicBezTo>
                        <a:pt x="311" y="126"/>
                        <a:pt x="319" y="113"/>
                        <a:pt x="327" y="112"/>
                      </a:cubicBezTo>
                      <a:cubicBezTo>
                        <a:pt x="335" y="111"/>
                        <a:pt x="354" y="119"/>
                        <a:pt x="366" y="119"/>
                      </a:cubicBezTo>
                      <a:cubicBezTo>
                        <a:pt x="378" y="119"/>
                        <a:pt x="378" y="101"/>
                        <a:pt x="378" y="98"/>
                      </a:cubicBezTo>
                      <a:cubicBezTo>
                        <a:pt x="378" y="95"/>
                        <a:pt x="397" y="78"/>
                        <a:pt x="397" y="78"/>
                      </a:cubicBezTo>
                      <a:cubicBezTo>
                        <a:pt x="429" y="65"/>
                        <a:pt x="429" y="65"/>
                        <a:pt x="429" y="65"/>
                      </a:cubicBezTo>
                      <a:cubicBezTo>
                        <a:pt x="429" y="65"/>
                        <a:pt x="443" y="65"/>
                        <a:pt x="446" y="64"/>
                      </a:cubicBezTo>
                      <a:cubicBezTo>
                        <a:pt x="449" y="63"/>
                        <a:pt x="447" y="51"/>
                        <a:pt x="443" y="46"/>
                      </a:cubicBezTo>
                      <a:cubicBezTo>
                        <a:pt x="429" y="41"/>
                        <a:pt x="429" y="41"/>
                        <a:pt x="429" y="41"/>
                      </a:cubicBezTo>
                      <a:cubicBezTo>
                        <a:pt x="401" y="41"/>
                        <a:pt x="401" y="41"/>
                        <a:pt x="401" y="41"/>
                      </a:cubicBezTo>
                      <a:cubicBezTo>
                        <a:pt x="384" y="23"/>
                        <a:pt x="384" y="23"/>
                        <a:pt x="384" y="23"/>
                      </a:cubicBezTo>
                      <a:cubicBezTo>
                        <a:pt x="372" y="23"/>
                        <a:pt x="372" y="23"/>
                        <a:pt x="372" y="23"/>
                      </a:cubicBezTo>
                      <a:cubicBezTo>
                        <a:pt x="364" y="15"/>
                        <a:pt x="364" y="15"/>
                        <a:pt x="364" y="15"/>
                      </a:cubicBezTo>
                      <a:cubicBezTo>
                        <a:pt x="332" y="16"/>
                        <a:pt x="332" y="16"/>
                        <a:pt x="332" y="16"/>
                      </a:cubicBezTo>
                      <a:cubicBezTo>
                        <a:pt x="332" y="16"/>
                        <a:pt x="302" y="12"/>
                        <a:pt x="294" y="13"/>
                      </a:cubicBezTo>
                      <a:cubicBezTo>
                        <a:pt x="286" y="14"/>
                        <a:pt x="238" y="14"/>
                        <a:pt x="238" y="14"/>
                      </a:cubicBezTo>
                      <a:cubicBezTo>
                        <a:pt x="226" y="18"/>
                        <a:pt x="226" y="18"/>
                        <a:pt x="226" y="18"/>
                      </a:cubicBezTo>
                      <a:cubicBezTo>
                        <a:pt x="226" y="18"/>
                        <a:pt x="198" y="12"/>
                        <a:pt x="194" y="12"/>
                      </a:cubicBezTo>
                      <a:cubicBezTo>
                        <a:pt x="190" y="12"/>
                        <a:pt x="180" y="0"/>
                        <a:pt x="170" y="0"/>
                      </a:cubicBezTo>
                      <a:cubicBezTo>
                        <a:pt x="160" y="0"/>
                        <a:pt x="147" y="2"/>
                        <a:pt x="144" y="5"/>
                      </a:cubicBezTo>
                      <a:cubicBezTo>
                        <a:pt x="141" y="8"/>
                        <a:pt x="149" y="43"/>
                        <a:pt x="149" y="43"/>
                      </a:cubicBezTo>
                      <a:cubicBezTo>
                        <a:pt x="138" y="37"/>
                        <a:pt x="138" y="37"/>
                        <a:pt x="138" y="37"/>
                      </a:cubicBezTo>
                      <a:cubicBezTo>
                        <a:pt x="115" y="37"/>
                        <a:pt x="115" y="37"/>
                        <a:pt x="115" y="37"/>
                      </a:cubicBezTo>
                      <a:cubicBezTo>
                        <a:pt x="115" y="37"/>
                        <a:pt x="84" y="17"/>
                        <a:pt x="61" y="18"/>
                      </a:cubicBezTo>
                      <a:cubicBezTo>
                        <a:pt x="38" y="19"/>
                        <a:pt x="37" y="48"/>
                        <a:pt x="37" y="48"/>
                      </a:cubicBezTo>
                      <a:cubicBezTo>
                        <a:pt x="37" y="48"/>
                        <a:pt x="55" y="49"/>
                        <a:pt x="57" y="54"/>
                      </a:cubicBezTo>
                      <a:cubicBezTo>
                        <a:pt x="59" y="59"/>
                        <a:pt x="23" y="88"/>
                        <a:pt x="23" y="88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99" name="Kuwait">
                  <a:extLst>
                    <a:ext uri="{FF2B5EF4-FFF2-40B4-BE49-F238E27FC236}">
                      <a16:creationId xmlns:a16="http://schemas.microsoft.com/office/drawing/2014/main" id="{C9EBBFE6-2CD7-BC24-09EF-D69B1AF9793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16557" y="3179097"/>
                  <a:ext cx="49221" cy="46017"/>
                </a:xfrm>
                <a:custGeom>
                  <a:avLst/>
                  <a:gdLst>
                    <a:gd name="T0" fmla="*/ 35 w 89"/>
                    <a:gd name="T1" fmla="*/ 0 h 81"/>
                    <a:gd name="T2" fmla="*/ 20 w 89"/>
                    <a:gd name="T3" fmla="*/ 2 h 81"/>
                    <a:gd name="T4" fmla="*/ 11 w 89"/>
                    <a:gd name="T5" fmla="*/ 29 h 81"/>
                    <a:gd name="T6" fmla="*/ 0 w 89"/>
                    <a:gd name="T7" fmla="*/ 49 h 81"/>
                    <a:gd name="T8" fmla="*/ 40 w 89"/>
                    <a:gd name="T9" fmla="*/ 55 h 81"/>
                    <a:gd name="T10" fmla="*/ 50 w 89"/>
                    <a:gd name="T11" fmla="*/ 81 h 81"/>
                    <a:gd name="T12" fmla="*/ 89 w 89"/>
                    <a:gd name="T13" fmla="*/ 80 h 81"/>
                    <a:gd name="T14" fmla="*/ 64 w 89"/>
                    <a:gd name="T15" fmla="*/ 47 h 81"/>
                    <a:gd name="T16" fmla="*/ 64 w 89"/>
                    <a:gd name="T17" fmla="*/ 46 h 81"/>
                    <a:gd name="T18" fmla="*/ 56 w 89"/>
                    <a:gd name="T19" fmla="*/ 41 h 81"/>
                    <a:gd name="T20" fmla="*/ 55 w 89"/>
                    <a:gd name="T21" fmla="*/ 27 h 81"/>
                    <a:gd name="T22" fmla="*/ 73 w 89"/>
                    <a:gd name="T23" fmla="*/ 25 h 81"/>
                    <a:gd name="T24" fmla="*/ 77 w 89"/>
                    <a:gd name="T25" fmla="*/ 16 h 81"/>
                    <a:gd name="T26" fmla="*/ 68 w 89"/>
                    <a:gd name="T27" fmla="*/ 8 h 81"/>
                    <a:gd name="T28" fmla="*/ 59 w 89"/>
                    <a:gd name="T29" fmla="*/ 13 h 81"/>
                    <a:gd name="T30" fmla="*/ 55 w 89"/>
                    <a:gd name="T31" fmla="*/ 0 h 81"/>
                    <a:gd name="T32" fmla="*/ 35 w 89"/>
                    <a:gd name="T33" fmla="*/ 0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9" h="81">
                      <a:moveTo>
                        <a:pt x="35" y="0"/>
                      </a:move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20" y="2"/>
                        <a:pt x="13" y="17"/>
                        <a:pt x="11" y="29"/>
                      </a:cubicBezTo>
                      <a:cubicBezTo>
                        <a:pt x="10" y="38"/>
                        <a:pt x="3" y="45"/>
                        <a:pt x="0" y="49"/>
                      </a:cubicBezTo>
                      <a:cubicBezTo>
                        <a:pt x="21" y="50"/>
                        <a:pt x="38" y="52"/>
                        <a:pt x="40" y="55"/>
                      </a:cubicBezTo>
                      <a:cubicBezTo>
                        <a:pt x="46" y="62"/>
                        <a:pt x="36" y="80"/>
                        <a:pt x="50" y="81"/>
                      </a:cubicBezTo>
                      <a:cubicBezTo>
                        <a:pt x="58" y="81"/>
                        <a:pt x="76" y="81"/>
                        <a:pt x="89" y="80"/>
                      </a:cubicBezTo>
                      <a:cubicBezTo>
                        <a:pt x="79" y="72"/>
                        <a:pt x="63" y="58"/>
                        <a:pt x="64" y="47"/>
                      </a:cubicBezTo>
                      <a:cubicBezTo>
                        <a:pt x="64" y="47"/>
                        <a:pt x="64" y="47"/>
                        <a:pt x="64" y="46"/>
                      </a:cubicBezTo>
                      <a:cubicBezTo>
                        <a:pt x="56" y="41"/>
                        <a:pt x="56" y="41"/>
                        <a:pt x="56" y="41"/>
                      </a:cubicBezTo>
                      <a:cubicBezTo>
                        <a:pt x="55" y="27"/>
                        <a:pt x="55" y="27"/>
                        <a:pt x="55" y="27"/>
                      </a:cubicBezTo>
                      <a:cubicBezTo>
                        <a:pt x="55" y="27"/>
                        <a:pt x="69" y="25"/>
                        <a:pt x="73" y="25"/>
                      </a:cubicBezTo>
                      <a:cubicBezTo>
                        <a:pt x="77" y="25"/>
                        <a:pt x="77" y="16"/>
                        <a:pt x="77" y="16"/>
                      </a:cubicBezTo>
                      <a:cubicBezTo>
                        <a:pt x="77" y="16"/>
                        <a:pt x="77" y="8"/>
                        <a:pt x="68" y="8"/>
                      </a:cubicBezTo>
                      <a:cubicBezTo>
                        <a:pt x="59" y="8"/>
                        <a:pt x="59" y="13"/>
                        <a:pt x="59" y="13"/>
                      </a:cubicBezTo>
                      <a:cubicBezTo>
                        <a:pt x="55" y="0"/>
                        <a:pt x="55" y="0"/>
                        <a:pt x="55" y="0"/>
                      </a:cubicBez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0" name="Kazakhstan">
                  <a:extLst>
                    <a:ext uri="{FF2B5EF4-FFF2-40B4-BE49-F238E27FC236}">
                      <a16:creationId xmlns:a16="http://schemas.microsoft.com/office/drawing/2014/main" id="{05A2F88B-05FD-4AF3-FA1F-A541EEB36B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732404" y="2430141"/>
                  <a:ext cx="936788" cy="434773"/>
                </a:xfrm>
                <a:custGeom>
                  <a:avLst/>
                  <a:gdLst>
                    <a:gd name="T0" fmla="*/ 545 w 1673"/>
                    <a:gd name="T1" fmla="*/ 518 h 778"/>
                    <a:gd name="T2" fmla="*/ 1655 w 1673"/>
                    <a:gd name="T3" fmla="*/ 327 h 778"/>
                    <a:gd name="T4" fmla="*/ 1625 w 1673"/>
                    <a:gd name="T5" fmla="*/ 304 h 778"/>
                    <a:gd name="T6" fmla="*/ 1481 w 1673"/>
                    <a:gd name="T7" fmla="*/ 226 h 778"/>
                    <a:gd name="T8" fmla="*/ 1372 w 1673"/>
                    <a:gd name="T9" fmla="*/ 207 h 778"/>
                    <a:gd name="T10" fmla="*/ 1126 w 1673"/>
                    <a:gd name="T11" fmla="*/ 70 h 778"/>
                    <a:gd name="T12" fmla="*/ 1085 w 1673"/>
                    <a:gd name="T13" fmla="*/ 76 h 778"/>
                    <a:gd name="T14" fmla="*/ 1016 w 1673"/>
                    <a:gd name="T15" fmla="*/ 98 h 778"/>
                    <a:gd name="T16" fmla="*/ 972 w 1673"/>
                    <a:gd name="T17" fmla="*/ 71 h 778"/>
                    <a:gd name="T18" fmla="*/ 909 w 1673"/>
                    <a:gd name="T19" fmla="*/ 36 h 778"/>
                    <a:gd name="T20" fmla="*/ 812 w 1673"/>
                    <a:gd name="T21" fmla="*/ 2 h 778"/>
                    <a:gd name="T22" fmla="*/ 674 w 1673"/>
                    <a:gd name="T23" fmla="*/ 52 h 778"/>
                    <a:gd name="T24" fmla="*/ 521 w 1673"/>
                    <a:gd name="T25" fmla="*/ 95 h 778"/>
                    <a:gd name="T26" fmla="*/ 534 w 1673"/>
                    <a:gd name="T27" fmla="*/ 123 h 778"/>
                    <a:gd name="T28" fmla="*/ 528 w 1673"/>
                    <a:gd name="T29" fmla="*/ 190 h 778"/>
                    <a:gd name="T30" fmla="*/ 486 w 1673"/>
                    <a:gd name="T31" fmla="*/ 244 h 778"/>
                    <a:gd name="T32" fmla="*/ 356 w 1673"/>
                    <a:gd name="T33" fmla="*/ 247 h 778"/>
                    <a:gd name="T34" fmla="*/ 282 w 1673"/>
                    <a:gd name="T35" fmla="*/ 216 h 778"/>
                    <a:gd name="T36" fmla="*/ 197 w 1673"/>
                    <a:gd name="T37" fmla="*/ 187 h 778"/>
                    <a:gd name="T38" fmla="*/ 86 w 1673"/>
                    <a:gd name="T39" fmla="*/ 224 h 778"/>
                    <a:gd name="T40" fmla="*/ 17 w 1673"/>
                    <a:gd name="T41" fmla="*/ 251 h 778"/>
                    <a:gd name="T42" fmla="*/ 8 w 1673"/>
                    <a:gd name="T43" fmla="*/ 322 h 778"/>
                    <a:gd name="T44" fmla="*/ 73 w 1673"/>
                    <a:gd name="T45" fmla="*/ 394 h 778"/>
                    <a:gd name="T46" fmla="*/ 136 w 1673"/>
                    <a:gd name="T47" fmla="*/ 460 h 778"/>
                    <a:gd name="T48" fmla="*/ 289 w 1673"/>
                    <a:gd name="T49" fmla="*/ 455 h 778"/>
                    <a:gd name="T50" fmla="*/ 352 w 1673"/>
                    <a:gd name="T51" fmla="*/ 524 h 778"/>
                    <a:gd name="T52" fmla="*/ 338 w 1673"/>
                    <a:gd name="T53" fmla="*/ 531 h 778"/>
                    <a:gd name="T54" fmla="*/ 218 w 1673"/>
                    <a:gd name="T55" fmla="*/ 544 h 778"/>
                    <a:gd name="T56" fmla="*/ 228 w 1673"/>
                    <a:gd name="T57" fmla="*/ 598 h 778"/>
                    <a:gd name="T58" fmla="*/ 274 w 1673"/>
                    <a:gd name="T59" fmla="*/ 654 h 778"/>
                    <a:gd name="T60" fmla="*/ 328 w 1673"/>
                    <a:gd name="T61" fmla="*/ 709 h 778"/>
                    <a:gd name="T62" fmla="*/ 408 w 1673"/>
                    <a:gd name="T63" fmla="*/ 690 h 778"/>
                    <a:gd name="T64" fmla="*/ 468 w 1673"/>
                    <a:gd name="T65" fmla="*/ 729 h 778"/>
                    <a:gd name="T66" fmla="*/ 536 w 1673"/>
                    <a:gd name="T67" fmla="*/ 513 h 778"/>
                    <a:gd name="T68" fmla="*/ 582 w 1673"/>
                    <a:gd name="T69" fmla="*/ 492 h 778"/>
                    <a:gd name="T70" fmla="*/ 604 w 1673"/>
                    <a:gd name="T71" fmla="*/ 479 h 778"/>
                    <a:gd name="T72" fmla="*/ 584 w 1673"/>
                    <a:gd name="T73" fmla="*/ 460 h 778"/>
                    <a:gd name="T74" fmla="*/ 636 w 1673"/>
                    <a:gd name="T75" fmla="*/ 455 h 778"/>
                    <a:gd name="T76" fmla="*/ 590 w 1673"/>
                    <a:gd name="T77" fmla="*/ 493 h 778"/>
                    <a:gd name="T78" fmla="*/ 610 w 1673"/>
                    <a:gd name="T79" fmla="*/ 549 h 778"/>
                    <a:gd name="T80" fmla="*/ 812 w 1673"/>
                    <a:gd name="T81" fmla="*/ 616 h 778"/>
                    <a:gd name="T82" fmla="*/ 902 w 1673"/>
                    <a:gd name="T83" fmla="*/ 699 h 778"/>
                    <a:gd name="T84" fmla="*/ 1006 w 1673"/>
                    <a:gd name="T85" fmla="*/ 770 h 778"/>
                    <a:gd name="T86" fmla="*/ 1056 w 1673"/>
                    <a:gd name="T87" fmla="*/ 719 h 778"/>
                    <a:gd name="T88" fmla="*/ 1123 w 1673"/>
                    <a:gd name="T89" fmla="*/ 686 h 778"/>
                    <a:gd name="T90" fmla="*/ 1208 w 1673"/>
                    <a:gd name="T91" fmla="*/ 672 h 778"/>
                    <a:gd name="T92" fmla="*/ 1264 w 1673"/>
                    <a:gd name="T93" fmla="*/ 647 h 778"/>
                    <a:gd name="T94" fmla="*/ 1402 w 1673"/>
                    <a:gd name="T95" fmla="*/ 651 h 778"/>
                    <a:gd name="T96" fmla="*/ 1471 w 1673"/>
                    <a:gd name="T97" fmla="*/ 676 h 778"/>
                    <a:gd name="T98" fmla="*/ 1503 w 1673"/>
                    <a:gd name="T99" fmla="*/ 659 h 778"/>
                    <a:gd name="T100" fmla="*/ 1484 w 1673"/>
                    <a:gd name="T101" fmla="*/ 587 h 778"/>
                    <a:gd name="T102" fmla="*/ 1516 w 1673"/>
                    <a:gd name="T103" fmla="*/ 518 h 778"/>
                    <a:gd name="T104" fmla="*/ 1541 w 1673"/>
                    <a:gd name="T105" fmla="*/ 513 h 778"/>
                    <a:gd name="T106" fmla="*/ 1614 w 1673"/>
                    <a:gd name="T107" fmla="*/ 434 h 778"/>
                    <a:gd name="T108" fmla="*/ 1641 w 1673"/>
                    <a:gd name="T109" fmla="*/ 397 h 778"/>
                    <a:gd name="T110" fmla="*/ 1385 w 1673"/>
                    <a:gd name="T111" fmla="*/ 465 h 778"/>
                    <a:gd name="T112" fmla="*/ 1320 w 1673"/>
                    <a:gd name="T113" fmla="*/ 467 h 778"/>
                    <a:gd name="T114" fmla="*/ 1246 w 1673"/>
                    <a:gd name="T115" fmla="*/ 460 h 778"/>
                    <a:gd name="T116" fmla="*/ 1195 w 1673"/>
                    <a:gd name="T117" fmla="*/ 489 h 778"/>
                    <a:gd name="T118" fmla="*/ 1200 w 1673"/>
                    <a:gd name="T119" fmla="*/ 542 h 778"/>
                    <a:gd name="T120" fmla="*/ 1193 w 1673"/>
                    <a:gd name="T121" fmla="*/ 448 h 778"/>
                    <a:gd name="T122" fmla="*/ 1306 w 1673"/>
                    <a:gd name="T123" fmla="*/ 458 h 778"/>
                    <a:gd name="T124" fmla="*/ 1385 w 1673"/>
                    <a:gd name="T125" fmla="*/ 465 h 7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73" h="778">
                      <a:moveTo>
                        <a:pt x="565" y="505"/>
                      </a:moveTo>
                      <a:cubicBezTo>
                        <a:pt x="558" y="500"/>
                        <a:pt x="557" y="497"/>
                        <a:pt x="557" y="497"/>
                      </a:cubicBezTo>
                      <a:cubicBezTo>
                        <a:pt x="548" y="511"/>
                        <a:pt x="548" y="511"/>
                        <a:pt x="548" y="511"/>
                      </a:cubicBezTo>
                      <a:cubicBezTo>
                        <a:pt x="545" y="518"/>
                        <a:pt x="545" y="518"/>
                        <a:pt x="545" y="518"/>
                      </a:cubicBezTo>
                      <a:cubicBezTo>
                        <a:pt x="578" y="534"/>
                        <a:pt x="578" y="534"/>
                        <a:pt x="578" y="534"/>
                      </a:cubicBezTo>
                      <a:cubicBezTo>
                        <a:pt x="580" y="525"/>
                        <a:pt x="580" y="525"/>
                        <a:pt x="580" y="525"/>
                      </a:cubicBezTo>
                      <a:cubicBezTo>
                        <a:pt x="580" y="525"/>
                        <a:pt x="572" y="510"/>
                        <a:pt x="565" y="505"/>
                      </a:cubicBezTo>
                      <a:close/>
                      <a:moveTo>
                        <a:pt x="1655" y="327"/>
                      </a:moveTo>
                      <a:cubicBezTo>
                        <a:pt x="1656" y="321"/>
                        <a:pt x="1666" y="322"/>
                        <a:pt x="1673" y="324"/>
                      </a:cubicBezTo>
                      <a:cubicBezTo>
                        <a:pt x="1649" y="298"/>
                        <a:pt x="1649" y="298"/>
                        <a:pt x="1649" y="298"/>
                      </a:cubicBezTo>
                      <a:cubicBezTo>
                        <a:pt x="1636" y="282"/>
                        <a:pt x="1636" y="282"/>
                        <a:pt x="1636" y="282"/>
                      </a:cubicBezTo>
                      <a:cubicBezTo>
                        <a:pt x="1625" y="304"/>
                        <a:pt x="1625" y="304"/>
                        <a:pt x="1625" y="304"/>
                      </a:cubicBezTo>
                      <a:cubicBezTo>
                        <a:pt x="1578" y="300"/>
                        <a:pt x="1578" y="300"/>
                        <a:pt x="1578" y="300"/>
                      </a:cubicBezTo>
                      <a:cubicBezTo>
                        <a:pt x="1578" y="300"/>
                        <a:pt x="1562" y="272"/>
                        <a:pt x="1561" y="268"/>
                      </a:cubicBezTo>
                      <a:cubicBezTo>
                        <a:pt x="1560" y="264"/>
                        <a:pt x="1525" y="259"/>
                        <a:pt x="1525" y="259"/>
                      </a:cubicBezTo>
                      <a:cubicBezTo>
                        <a:pt x="1525" y="259"/>
                        <a:pt x="1504" y="230"/>
                        <a:pt x="1481" y="226"/>
                      </a:cubicBezTo>
                      <a:cubicBezTo>
                        <a:pt x="1458" y="222"/>
                        <a:pt x="1442" y="243"/>
                        <a:pt x="1430" y="244"/>
                      </a:cubicBezTo>
                      <a:cubicBezTo>
                        <a:pt x="1418" y="246"/>
                        <a:pt x="1404" y="230"/>
                        <a:pt x="1404" y="230"/>
                      </a:cubicBezTo>
                      <a:cubicBezTo>
                        <a:pt x="1404" y="230"/>
                        <a:pt x="1386" y="228"/>
                        <a:pt x="1382" y="227"/>
                      </a:cubicBezTo>
                      <a:cubicBezTo>
                        <a:pt x="1378" y="226"/>
                        <a:pt x="1382" y="210"/>
                        <a:pt x="1372" y="207"/>
                      </a:cubicBezTo>
                      <a:cubicBezTo>
                        <a:pt x="1361" y="204"/>
                        <a:pt x="1365" y="234"/>
                        <a:pt x="1348" y="236"/>
                      </a:cubicBezTo>
                      <a:cubicBezTo>
                        <a:pt x="1330" y="239"/>
                        <a:pt x="1306" y="200"/>
                        <a:pt x="1292" y="187"/>
                      </a:cubicBezTo>
                      <a:cubicBezTo>
                        <a:pt x="1277" y="174"/>
                        <a:pt x="1205" y="107"/>
                        <a:pt x="1200" y="104"/>
                      </a:cubicBezTo>
                      <a:cubicBezTo>
                        <a:pt x="1194" y="102"/>
                        <a:pt x="1126" y="70"/>
                        <a:pt x="1126" y="70"/>
                      </a:cubicBezTo>
                      <a:cubicBezTo>
                        <a:pt x="1126" y="70"/>
                        <a:pt x="1146" y="58"/>
                        <a:pt x="1138" y="47"/>
                      </a:cubicBezTo>
                      <a:cubicBezTo>
                        <a:pt x="1130" y="36"/>
                        <a:pt x="1118" y="58"/>
                        <a:pt x="1118" y="58"/>
                      </a:cubicBezTo>
                      <a:cubicBezTo>
                        <a:pt x="1094" y="66"/>
                        <a:pt x="1094" y="66"/>
                        <a:pt x="1094" y="66"/>
                      </a:cubicBezTo>
                      <a:cubicBezTo>
                        <a:pt x="1085" y="76"/>
                        <a:pt x="1085" y="76"/>
                        <a:pt x="1085" y="76"/>
                      </a:cubicBezTo>
                      <a:cubicBezTo>
                        <a:pt x="1085" y="76"/>
                        <a:pt x="1077" y="78"/>
                        <a:pt x="1070" y="82"/>
                      </a:cubicBezTo>
                      <a:cubicBezTo>
                        <a:pt x="1064" y="86"/>
                        <a:pt x="1072" y="94"/>
                        <a:pt x="1064" y="100"/>
                      </a:cubicBezTo>
                      <a:cubicBezTo>
                        <a:pt x="1056" y="107"/>
                        <a:pt x="1041" y="91"/>
                        <a:pt x="1034" y="88"/>
                      </a:cubicBezTo>
                      <a:cubicBezTo>
                        <a:pt x="1028" y="86"/>
                        <a:pt x="1026" y="99"/>
                        <a:pt x="1016" y="98"/>
                      </a:cubicBezTo>
                      <a:cubicBezTo>
                        <a:pt x="1005" y="96"/>
                        <a:pt x="1026" y="80"/>
                        <a:pt x="1017" y="71"/>
                      </a:cubicBezTo>
                      <a:cubicBezTo>
                        <a:pt x="1008" y="62"/>
                        <a:pt x="1002" y="74"/>
                        <a:pt x="1002" y="74"/>
                      </a:cubicBezTo>
                      <a:cubicBezTo>
                        <a:pt x="985" y="63"/>
                        <a:pt x="985" y="63"/>
                        <a:pt x="985" y="63"/>
                      </a:cubicBezTo>
                      <a:cubicBezTo>
                        <a:pt x="972" y="71"/>
                        <a:pt x="972" y="71"/>
                        <a:pt x="972" y="71"/>
                      </a:cubicBezTo>
                      <a:cubicBezTo>
                        <a:pt x="953" y="50"/>
                        <a:pt x="953" y="50"/>
                        <a:pt x="953" y="50"/>
                      </a:cubicBezTo>
                      <a:cubicBezTo>
                        <a:pt x="946" y="60"/>
                        <a:pt x="946" y="60"/>
                        <a:pt x="946" y="60"/>
                      </a:cubicBezTo>
                      <a:cubicBezTo>
                        <a:pt x="946" y="60"/>
                        <a:pt x="918" y="64"/>
                        <a:pt x="913" y="64"/>
                      </a:cubicBezTo>
                      <a:cubicBezTo>
                        <a:pt x="908" y="64"/>
                        <a:pt x="909" y="43"/>
                        <a:pt x="909" y="36"/>
                      </a:cubicBezTo>
                      <a:cubicBezTo>
                        <a:pt x="909" y="30"/>
                        <a:pt x="897" y="30"/>
                        <a:pt x="897" y="30"/>
                      </a:cubicBezTo>
                      <a:cubicBezTo>
                        <a:pt x="897" y="30"/>
                        <a:pt x="892" y="12"/>
                        <a:pt x="884" y="7"/>
                      </a:cubicBezTo>
                      <a:cubicBezTo>
                        <a:pt x="876" y="2"/>
                        <a:pt x="869" y="11"/>
                        <a:pt x="864" y="11"/>
                      </a:cubicBezTo>
                      <a:cubicBezTo>
                        <a:pt x="858" y="11"/>
                        <a:pt x="845" y="0"/>
                        <a:pt x="812" y="2"/>
                      </a:cubicBezTo>
                      <a:cubicBezTo>
                        <a:pt x="778" y="3"/>
                        <a:pt x="781" y="23"/>
                        <a:pt x="781" y="23"/>
                      </a:cubicBezTo>
                      <a:cubicBezTo>
                        <a:pt x="781" y="23"/>
                        <a:pt x="761" y="30"/>
                        <a:pt x="740" y="35"/>
                      </a:cubicBezTo>
                      <a:cubicBezTo>
                        <a:pt x="718" y="40"/>
                        <a:pt x="690" y="36"/>
                        <a:pt x="682" y="36"/>
                      </a:cubicBezTo>
                      <a:cubicBezTo>
                        <a:pt x="674" y="36"/>
                        <a:pt x="674" y="52"/>
                        <a:pt x="674" y="52"/>
                      </a:cubicBezTo>
                      <a:cubicBezTo>
                        <a:pt x="632" y="52"/>
                        <a:pt x="632" y="52"/>
                        <a:pt x="632" y="52"/>
                      </a:cubicBezTo>
                      <a:cubicBezTo>
                        <a:pt x="628" y="64"/>
                        <a:pt x="628" y="64"/>
                        <a:pt x="628" y="64"/>
                      </a:cubicBezTo>
                      <a:cubicBezTo>
                        <a:pt x="628" y="64"/>
                        <a:pt x="596" y="63"/>
                        <a:pt x="550" y="70"/>
                      </a:cubicBezTo>
                      <a:cubicBezTo>
                        <a:pt x="505" y="76"/>
                        <a:pt x="521" y="95"/>
                        <a:pt x="521" y="95"/>
                      </a:cubicBezTo>
                      <a:cubicBezTo>
                        <a:pt x="540" y="96"/>
                        <a:pt x="540" y="96"/>
                        <a:pt x="540" y="96"/>
                      </a:cubicBezTo>
                      <a:cubicBezTo>
                        <a:pt x="529" y="108"/>
                        <a:pt x="529" y="108"/>
                        <a:pt x="529" y="108"/>
                      </a:cubicBezTo>
                      <a:cubicBezTo>
                        <a:pt x="529" y="108"/>
                        <a:pt x="572" y="116"/>
                        <a:pt x="572" y="123"/>
                      </a:cubicBezTo>
                      <a:cubicBezTo>
                        <a:pt x="572" y="130"/>
                        <a:pt x="534" y="123"/>
                        <a:pt x="534" y="123"/>
                      </a:cubicBezTo>
                      <a:cubicBezTo>
                        <a:pt x="528" y="134"/>
                        <a:pt x="528" y="134"/>
                        <a:pt x="528" y="134"/>
                      </a:cubicBezTo>
                      <a:cubicBezTo>
                        <a:pt x="528" y="134"/>
                        <a:pt x="541" y="151"/>
                        <a:pt x="540" y="158"/>
                      </a:cubicBezTo>
                      <a:cubicBezTo>
                        <a:pt x="538" y="164"/>
                        <a:pt x="505" y="170"/>
                        <a:pt x="505" y="170"/>
                      </a:cubicBezTo>
                      <a:cubicBezTo>
                        <a:pt x="528" y="190"/>
                        <a:pt x="528" y="190"/>
                        <a:pt x="528" y="190"/>
                      </a:cubicBezTo>
                      <a:cubicBezTo>
                        <a:pt x="528" y="190"/>
                        <a:pt x="578" y="187"/>
                        <a:pt x="582" y="226"/>
                      </a:cubicBezTo>
                      <a:cubicBezTo>
                        <a:pt x="586" y="264"/>
                        <a:pt x="526" y="234"/>
                        <a:pt x="526" y="234"/>
                      </a:cubicBezTo>
                      <a:cubicBezTo>
                        <a:pt x="520" y="250"/>
                        <a:pt x="520" y="250"/>
                        <a:pt x="520" y="250"/>
                      </a:cubicBezTo>
                      <a:cubicBezTo>
                        <a:pt x="520" y="250"/>
                        <a:pt x="497" y="246"/>
                        <a:pt x="486" y="244"/>
                      </a:cubicBezTo>
                      <a:cubicBezTo>
                        <a:pt x="476" y="243"/>
                        <a:pt x="464" y="222"/>
                        <a:pt x="456" y="220"/>
                      </a:cubicBezTo>
                      <a:cubicBezTo>
                        <a:pt x="448" y="219"/>
                        <a:pt x="437" y="228"/>
                        <a:pt x="421" y="232"/>
                      </a:cubicBezTo>
                      <a:cubicBezTo>
                        <a:pt x="405" y="236"/>
                        <a:pt x="394" y="220"/>
                        <a:pt x="385" y="222"/>
                      </a:cubicBezTo>
                      <a:cubicBezTo>
                        <a:pt x="376" y="223"/>
                        <a:pt x="358" y="243"/>
                        <a:pt x="356" y="247"/>
                      </a:cubicBezTo>
                      <a:cubicBezTo>
                        <a:pt x="353" y="251"/>
                        <a:pt x="312" y="220"/>
                        <a:pt x="301" y="223"/>
                      </a:cubicBezTo>
                      <a:cubicBezTo>
                        <a:pt x="290" y="226"/>
                        <a:pt x="313" y="243"/>
                        <a:pt x="305" y="250"/>
                      </a:cubicBezTo>
                      <a:cubicBezTo>
                        <a:pt x="297" y="256"/>
                        <a:pt x="289" y="236"/>
                        <a:pt x="289" y="236"/>
                      </a:cubicBezTo>
                      <a:cubicBezTo>
                        <a:pt x="282" y="216"/>
                        <a:pt x="282" y="216"/>
                        <a:pt x="282" y="216"/>
                      </a:cubicBezTo>
                      <a:cubicBezTo>
                        <a:pt x="258" y="218"/>
                        <a:pt x="258" y="218"/>
                        <a:pt x="258" y="218"/>
                      </a:cubicBezTo>
                      <a:cubicBezTo>
                        <a:pt x="258" y="218"/>
                        <a:pt x="256" y="206"/>
                        <a:pt x="252" y="202"/>
                      </a:cubicBezTo>
                      <a:cubicBezTo>
                        <a:pt x="248" y="198"/>
                        <a:pt x="224" y="203"/>
                        <a:pt x="214" y="202"/>
                      </a:cubicBezTo>
                      <a:cubicBezTo>
                        <a:pt x="205" y="200"/>
                        <a:pt x="204" y="187"/>
                        <a:pt x="197" y="187"/>
                      </a:cubicBezTo>
                      <a:cubicBezTo>
                        <a:pt x="190" y="187"/>
                        <a:pt x="177" y="200"/>
                        <a:pt x="161" y="200"/>
                      </a:cubicBezTo>
                      <a:cubicBezTo>
                        <a:pt x="145" y="200"/>
                        <a:pt x="153" y="187"/>
                        <a:pt x="130" y="188"/>
                      </a:cubicBezTo>
                      <a:cubicBezTo>
                        <a:pt x="108" y="190"/>
                        <a:pt x="130" y="198"/>
                        <a:pt x="122" y="208"/>
                      </a:cubicBezTo>
                      <a:cubicBezTo>
                        <a:pt x="114" y="219"/>
                        <a:pt x="86" y="224"/>
                        <a:pt x="86" y="224"/>
                      </a:cubicBezTo>
                      <a:cubicBezTo>
                        <a:pt x="86" y="239"/>
                        <a:pt x="86" y="239"/>
                        <a:pt x="86" y="239"/>
                      </a:cubicBezTo>
                      <a:cubicBezTo>
                        <a:pt x="68" y="248"/>
                        <a:pt x="68" y="248"/>
                        <a:pt x="68" y="248"/>
                      </a:cubicBezTo>
                      <a:cubicBezTo>
                        <a:pt x="68" y="248"/>
                        <a:pt x="86" y="263"/>
                        <a:pt x="72" y="278"/>
                      </a:cubicBezTo>
                      <a:cubicBezTo>
                        <a:pt x="57" y="292"/>
                        <a:pt x="29" y="250"/>
                        <a:pt x="17" y="251"/>
                      </a:cubicBezTo>
                      <a:cubicBezTo>
                        <a:pt x="5" y="252"/>
                        <a:pt x="13" y="271"/>
                        <a:pt x="13" y="279"/>
                      </a:cubicBezTo>
                      <a:cubicBezTo>
                        <a:pt x="13" y="287"/>
                        <a:pt x="0" y="284"/>
                        <a:pt x="0" y="284"/>
                      </a:cubicBezTo>
                      <a:cubicBezTo>
                        <a:pt x="2" y="308"/>
                        <a:pt x="2" y="308"/>
                        <a:pt x="2" y="308"/>
                      </a:cubicBezTo>
                      <a:cubicBezTo>
                        <a:pt x="2" y="308"/>
                        <a:pt x="8" y="314"/>
                        <a:pt x="8" y="322"/>
                      </a:cubicBezTo>
                      <a:cubicBezTo>
                        <a:pt x="8" y="330"/>
                        <a:pt x="0" y="342"/>
                        <a:pt x="0" y="358"/>
                      </a:cubicBezTo>
                      <a:cubicBezTo>
                        <a:pt x="0" y="374"/>
                        <a:pt x="10" y="364"/>
                        <a:pt x="22" y="370"/>
                      </a:cubicBezTo>
                      <a:cubicBezTo>
                        <a:pt x="34" y="375"/>
                        <a:pt x="20" y="390"/>
                        <a:pt x="32" y="395"/>
                      </a:cubicBezTo>
                      <a:cubicBezTo>
                        <a:pt x="44" y="400"/>
                        <a:pt x="68" y="391"/>
                        <a:pt x="73" y="394"/>
                      </a:cubicBezTo>
                      <a:cubicBezTo>
                        <a:pt x="78" y="396"/>
                        <a:pt x="117" y="436"/>
                        <a:pt x="117" y="444"/>
                      </a:cubicBezTo>
                      <a:cubicBezTo>
                        <a:pt x="117" y="452"/>
                        <a:pt x="94" y="443"/>
                        <a:pt x="94" y="451"/>
                      </a:cubicBezTo>
                      <a:cubicBezTo>
                        <a:pt x="94" y="459"/>
                        <a:pt x="129" y="470"/>
                        <a:pt x="129" y="470"/>
                      </a:cubicBezTo>
                      <a:cubicBezTo>
                        <a:pt x="136" y="460"/>
                        <a:pt x="136" y="460"/>
                        <a:pt x="136" y="460"/>
                      </a:cubicBezTo>
                      <a:cubicBezTo>
                        <a:pt x="136" y="460"/>
                        <a:pt x="145" y="462"/>
                        <a:pt x="152" y="455"/>
                      </a:cubicBezTo>
                      <a:cubicBezTo>
                        <a:pt x="158" y="448"/>
                        <a:pt x="208" y="427"/>
                        <a:pt x="214" y="430"/>
                      </a:cubicBezTo>
                      <a:cubicBezTo>
                        <a:pt x="221" y="432"/>
                        <a:pt x="242" y="448"/>
                        <a:pt x="252" y="448"/>
                      </a:cubicBezTo>
                      <a:cubicBezTo>
                        <a:pt x="261" y="448"/>
                        <a:pt x="269" y="430"/>
                        <a:pt x="289" y="455"/>
                      </a:cubicBezTo>
                      <a:cubicBezTo>
                        <a:pt x="309" y="480"/>
                        <a:pt x="293" y="488"/>
                        <a:pt x="290" y="496"/>
                      </a:cubicBezTo>
                      <a:cubicBezTo>
                        <a:pt x="288" y="504"/>
                        <a:pt x="309" y="520"/>
                        <a:pt x="316" y="523"/>
                      </a:cubicBezTo>
                      <a:cubicBezTo>
                        <a:pt x="322" y="526"/>
                        <a:pt x="333" y="511"/>
                        <a:pt x="341" y="507"/>
                      </a:cubicBezTo>
                      <a:cubicBezTo>
                        <a:pt x="349" y="503"/>
                        <a:pt x="352" y="516"/>
                        <a:pt x="352" y="524"/>
                      </a:cubicBezTo>
                      <a:cubicBezTo>
                        <a:pt x="352" y="532"/>
                        <a:pt x="364" y="542"/>
                        <a:pt x="364" y="542"/>
                      </a:cubicBezTo>
                      <a:cubicBezTo>
                        <a:pt x="337" y="543"/>
                        <a:pt x="337" y="543"/>
                        <a:pt x="337" y="543"/>
                      </a:cubicBezTo>
                      <a:cubicBezTo>
                        <a:pt x="337" y="543"/>
                        <a:pt x="338" y="563"/>
                        <a:pt x="325" y="554"/>
                      </a:cubicBezTo>
                      <a:cubicBezTo>
                        <a:pt x="312" y="544"/>
                        <a:pt x="338" y="531"/>
                        <a:pt x="338" y="531"/>
                      </a:cubicBezTo>
                      <a:cubicBezTo>
                        <a:pt x="338" y="531"/>
                        <a:pt x="290" y="528"/>
                        <a:pt x="282" y="526"/>
                      </a:cubicBezTo>
                      <a:cubicBezTo>
                        <a:pt x="274" y="523"/>
                        <a:pt x="232" y="515"/>
                        <a:pt x="232" y="515"/>
                      </a:cubicBezTo>
                      <a:cubicBezTo>
                        <a:pt x="240" y="538"/>
                        <a:pt x="240" y="538"/>
                        <a:pt x="240" y="538"/>
                      </a:cubicBezTo>
                      <a:cubicBezTo>
                        <a:pt x="240" y="538"/>
                        <a:pt x="224" y="531"/>
                        <a:pt x="218" y="544"/>
                      </a:cubicBezTo>
                      <a:cubicBezTo>
                        <a:pt x="213" y="558"/>
                        <a:pt x="249" y="559"/>
                        <a:pt x="248" y="567"/>
                      </a:cubicBezTo>
                      <a:cubicBezTo>
                        <a:pt x="246" y="575"/>
                        <a:pt x="198" y="550"/>
                        <a:pt x="193" y="562"/>
                      </a:cubicBezTo>
                      <a:cubicBezTo>
                        <a:pt x="188" y="574"/>
                        <a:pt x="221" y="582"/>
                        <a:pt x="221" y="582"/>
                      </a:cubicBezTo>
                      <a:cubicBezTo>
                        <a:pt x="221" y="582"/>
                        <a:pt x="221" y="590"/>
                        <a:pt x="228" y="598"/>
                      </a:cubicBezTo>
                      <a:cubicBezTo>
                        <a:pt x="234" y="606"/>
                        <a:pt x="248" y="622"/>
                        <a:pt x="248" y="622"/>
                      </a:cubicBezTo>
                      <a:cubicBezTo>
                        <a:pt x="246" y="636"/>
                        <a:pt x="246" y="636"/>
                        <a:pt x="246" y="636"/>
                      </a:cubicBezTo>
                      <a:cubicBezTo>
                        <a:pt x="269" y="639"/>
                        <a:pt x="269" y="639"/>
                        <a:pt x="269" y="639"/>
                      </a:cubicBezTo>
                      <a:cubicBezTo>
                        <a:pt x="274" y="654"/>
                        <a:pt x="274" y="654"/>
                        <a:pt x="274" y="654"/>
                      </a:cubicBezTo>
                      <a:cubicBezTo>
                        <a:pt x="274" y="654"/>
                        <a:pt x="309" y="654"/>
                        <a:pt x="320" y="664"/>
                      </a:cubicBezTo>
                      <a:cubicBezTo>
                        <a:pt x="330" y="675"/>
                        <a:pt x="308" y="686"/>
                        <a:pt x="306" y="696"/>
                      </a:cubicBezTo>
                      <a:cubicBezTo>
                        <a:pt x="305" y="707"/>
                        <a:pt x="316" y="708"/>
                        <a:pt x="316" y="708"/>
                      </a:cubicBezTo>
                      <a:cubicBezTo>
                        <a:pt x="317" y="704"/>
                        <a:pt x="323" y="707"/>
                        <a:pt x="328" y="709"/>
                      </a:cubicBezTo>
                      <a:cubicBezTo>
                        <a:pt x="330" y="703"/>
                        <a:pt x="336" y="683"/>
                        <a:pt x="344" y="682"/>
                      </a:cubicBezTo>
                      <a:cubicBezTo>
                        <a:pt x="349" y="681"/>
                        <a:pt x="357" y="682"/>
                        <a:pt x="363" y="683"/>
                      </a:cubicBezTo>
                      <a:cubicBezTo>
                        <a:pt x="364" y="681"/>
                        <a:pt x="364" y="679"/>
                        <a:pt x="365" y="678"/>
                      </a:cubicBezTo>
                      <a:cubicBezTo>
                        <a:pt x="368" y="674"/>
                        <a:pt x="400" y="686"/>
                        <a:pt x="408" y="690"/>
                      </a:cubicBezTo>
                      <a:cubicBezTo>
                        <a:pt x="416" y="694"/>
                        <a:pt x="426" y="707"/>
                        <a:pt x="426" y="707"/>
                      </a:cubicBezTo>
                      <a:cubicBezTo>
                        <a:pt x="426" y="707"/>
                        <a:pt x="444" y="732"/>
                        <a:pt x="454" y="738"/>
                      </a:cubicBezTo>
                      <a:cubicBezTo>
                        <a:pt x="463" y="742"/>
                        <a:pt x="464" y="732"/>
                        <a:pt x="468" y="729"/>
                      </a:cubicBezTo>
                      <a:cubicBezTo>
                        <a:pt x="468" y="729"/>
                        <a:pt x="468" y="729"/>
                        <a:pt x="468" y="729"/>
                      </a:cubicBezTo>
                      <a:cubicBezTo>
                        <a:pt x="433" y="542"/>
                        <a:pt x="433" y="542"/>
                        <a:pt x="433" y="542"/>
                      </a:cubicBezTo>
                      <a:cubicBezTo>
                        <a:pt x="529" y="511"/>
                        <a:pt x="529" y="511"/>
                        <a:pt x="529" y="511"/>
                      </a:cubicBezTo>
                      <a:cubicBezTo>
                        <a:pt x="536" y="514"/>
                        <a:pt x="536" y="514"/>
                        <a:pt x="536" y="514"/>
                      </a:cubicBezTo>
                      <a:cubicBezTo>
                        <a:pt x="536" y="513"/>
                        <a:pt x="536" y="513"/>
                        <a:pt x="536" y="513"/>
                      </a:cubicBezTo>
                      <a:cubicBezTo>
                        <a:pt x="536" y="513"/>
                        <a:pt x="540" y="501"/>
                        <a:pt x="541" y="491"/>
                      </a:cubicBezTo>
                      <a:cubicBezTo>
                        <a:pt x="542" y="481"/>
                        <a:pt x="561" y="486"/>
                        <a:pt x="561" y="486"/>
                      </a:cubicBezTo>
                      <a:cubicBezTo>
                        <a:pt x="566" y="501"/>
                        <a:pt x="566" y="501"/>
                        <a:pt x="566" y="501"/>
                      </a:cubicBezTo>
                      <a:cubicBezTo>
                        <a:pt x="566" y="501"/>
                        <a:pt x="580" y="495"/>
                        <a:pt x="582" y="492"/>
                      </a:cubicBezTo>
                      <a:cubicBezTo>
                        <a:pt x="584" y="489"/>
                        <a:pt x="568" y="471"/>
                        <a:pt x="568" y="471"/>
                      </a:cubicBezTo>
                      <a:cubicBezTo>
                        <a:pt x="578" y="471"/>
                        <a:pt x="578" y="471"/>
                        <a:pt x="578" y="471"/>
                      </a:cubicBezTo>
                      <a:cubicBezTo>
                        <a:pt x="587" y="480"/>
                        <a:pt x="587" y="480"/>
                        <a:pt x="587" y="480"/>
                      </a:cubicBezTo>
                      <a:cubicBezTo>
                        <a:pt x="604" y="479"/>
                        <a:pt x="604" y="479"/>
                        <a:pt x="604" y="479"/>
                      </a:cubicBezTo>
                      <a:cubicBezTo>
                        <a:pt x="604" y="479"/>
                        <a:pt x="618" y="483"/>
                        <a:pt x="621" y="479"/>
                      </a:cubicBezTo>
                      <a:cubicBezTo>
                        <a:pt x="624" y="475"/>
                        <a:pt x="619" y="471"/>
                        <a:pt x="615" y="471"/>
                      </a:cubicBezTo>
                      <a:cubicBezTo>
                        <a:pt x="611" y="471"/>
                        <a:pt x="603" y="466"/>
                        <a:pt x="603" y="466"/>
                      </a:cubicBezTo>
                      <a:cubicBezTo>
                        <a:pt x="603" y="466"/>
                        <a:pt x="587" y="470"/>
                        <a:pt x="584" y="460"/>
                      </a:cubicBezTo>
                      <a:cubicBezTo>
                        <a:pt x="581" y="450"/>
                        <a:pt x="604" y="452"/>
                        <a:pt x="604" y="452"/>
                      </a:cubicBezTo>
                      <a:cubicBezTo>
                        <a:pt x="613" y="444"/>
                        <a:pt x="613" y="444"/>
                        <a:pt x="613" y="444"/>
                      </a:cubicBezTo>
                      <a:cubicBezTo>
                        <a:pt x="613" y="444"/>
                        <a:pt x="625" y="461"/>
                        <a:pt x="628" y="461"/>
                      </a:cubicBezTo>
                      <a:cubicBezTo>
                        <a:pt x="631" y="461"/>
                        <a:pt x="636" y="455"/>
                        <a:pt x="636" y="455"/>
                      </a:cubicBezTo>
                      <a:cubicBezTo>
                        <a:pt x="636" y="455"/>
                        <a:pt x="645" y="465"/>
                        <a:pt x="642" y="471"/>
                      </a:cubicBezTo>
                      <a:cubicBezTo>
                        <a:pt x="639" y="477"/>
                        <a:pt x="625" y="481"/>
                        <a:pt x="625" y="481"/>
                      </a:cubicBezTo>
                      <a:cubicBezTo>
                        <a:pt x="625" y="481"/>
                        <a:pt x="617" y="488"/>
                        <a:pt x="613" y="492"/>
                      </a:cubicBezTo>
                      <a:cubicBezTo>
                        <a:pt x="609" y="496"/>
                        <a:pt x="593" y="491"/>
                        <a:pt x="590" y="493"/>
                      </a:cubicBezTo>
                      <a:cubicBezTo>
                        <a:pt x="587" y="495"/>
                        <a:pt x="587" y="506"/>
                        <a:pt x="587" y="506"/>
                      </a:cubicBezTo>
                      <a:cubicBezTo>
                        <a:pt x="587" y="506"/>
                        <a:pt x="602" y="512"/>
                        <a:pt x="606" y="513"/>
                      </a:cubicBezTo>
                      <a:cubicBezTo>
                        <a:pt x="610" y="514"/>
                        <a:pt x="613" y="523"/>
                        <a:pt x="607" y="532"/>
                      </a:cubicBezTo>
                      <a:cubicBezTo>
                        <a:pt x="604" y="536"/>
                        <a:pt x="607" y="542"/>
                        <a:pt x="610" y="549"/>
                      </a:cubicBezTo>
                      <a:cubicBezTo>
                        <a:pt x="656" y="571"/>
                        <a:pt x="656" y="571"/>
                        <a:pt x="656" y="571"/>
                      </a:cubicBezTo>
                      <a:cubicBezTo>
                        <a:pt x="705" y="619"/>
                        <a:pt x="705" y="619"/>
                        <a:pt x="705" y="619"/>
                      </a:cubicBezTo>
                      <a:cubicBezTo>
                        <a:pt x="705" y="619"/>
                        <a:pt x="742" y="612"/>
                        <a:pt x="758" y="612"/>
                      </a:cubicBezTo>
                      <a:cubicBezTo>
                        <a:pt x="774" y="612"/>
                        <a:pt x="812" y="616"/>
                        <a:pt x="812" y="616"/>
                      </a:cubicBezTo>
                      <a:cubicBezTo>
                        <a:pt x="812" y="616"/>
                        <a:pt x="830" y="604"/>
                        <a:pt x="837" y="604"/>
                      </a:cubicBezTo>
                      <a:cubicBezTo>
                        <a:pt x="844" y="604"/>
                        <a:pt x="874" y="647"/>
                        <a:pt x="874" y="647"/>
                      </a:cubicBezTo>
                      <a:cubicBezTo>
                        <a:pt x="874" y="647"/>
                        <a:pt x="889" y="646"/>
                        <a:pt x="894" y="647"/>
                      </a:cubicBezTo>
                      <a:cubicBezTo>
                        <a:pt x="900" y="648"/>
                        <a:pt x="893" y="696"/>
                        <a:pt x="902" y="699"/>
                      </a:cubicBezTo>
                      <a:cubicBezTo>
                        <a:pt x="912" y="702"/>
                        <a:pt x="912" y="688"/>
                        <a:pt x="921" y="699"/>
                      </a:cubicBezTo>
                      <a:cubicBezTo>
                        <a:pt x="930" y="710"/>
                        <a:pt x="932" y="734"/>
                        <a:pt x="942" y="739"/>
                      </a:cubicBezTo>
                      <a:cubicBezTo>
                        <a:pt x="953" y="744"/>
                        <a:pt x="1000" y="735"/>
                        <a:pt x="1006" y="744"/>
                      </a:cubicBezTo>
                      <a:cubicBezTo>
                        <a:pt x="1013" y="754"/>
                        <a:pt x="996" y="767"/>
                        <a:pt x="1006" y="770"/>
                      </a:cubicBezTo>
                      <a:cubicBezTo>
                        <a:pt x="1017" y="772"/>
                        <a:pt x="1028" y="778"/>
                        <a:pt x="1028" y="778"/>
                      </a:cubicBezTo>
                      <a:cubicBezTo>
                        <a:pt x="1028" y="778"/>
                        <a:pt x="1020" y="754"/>
                        <a:pt x="1029" y="747"/>
                      </a:cubicBezTo>
                      <a:cubicBezTo>
                        <a:pt x="1038" y="740"/>
                        <a:pt x="1046" y="740"/>
                        <a:pt x="1046" y="740"/>
                      </a:cubicBezTo>
                      <a:cubicBezTo>
                        <a:pt x="1046" y="740"/>
                        <a:pt x="1045" y="722"/>
                        <a:pt x="1056" y="719"/>
                      </a:cubicBezTo>
                      <a:cubicBezTo>
                        <a:pt x="1066" y="716"/>
                        <a:pt x="1078" y="714"/>
                        <a:pt x="1078" y="714"/>
                      </a:cubicBezTo>
                      <a:cubicBezTo>
                        <a:pt x="1086" y="696"/>
                        <a:pt x="1086" y="696"/>
                        <a:pt x="1086" y="696"/>
                      </a:cubicBezTo>
                      <a:cubicBezTo>
                        <a:pt x="1104" y="695"/>
                        <a:pt x="1104" y="695"/>
                        <a:pt x="1104" y="695"/>
                      </a:cubicBezTo>
                      <a:cubicBezTo>
                        <a:pt x="1123" y="686"/>
                        <a:pt x="1123" y="686"/>
                        <a:pt x="1123" y="686"/>
                      </a:cubicBezTo>
                      <a:cubicBezTo>
                        <a:pt x="1117" y="683"/>
                        <a:pt x="1107" y="683"/>
                        <a:pt x="1107" y="683"/>
                      </a:cubicBezTo>
                      <a:cubicBezTo>
                        <a:pt x="1107" y="683"/>
                        <a:pt x="1108" y="654"/>
                        <a:pt x="1131" y="653"/>
                      </a:cubicBezTo>
                      <a:cubicBezTo>
                        <a:pt x="1154" y="652"/>
                        <a:pt x="1185" y="672"/>
                        <a:pt x="1185" y="672"/>
                      </a:cubicBezTo>
                      <a:cubicBezTo>
                        <a:pt x="1208" y="672"/>
                        <a:pt x="1208" y="672"/>
                        <a:pt x="1208" y="672"/>
                      </a:cubicBezTo>
                      <a:cubicBezTo>
                        <a:pt x="1219" y="678"/>
                        <a:pt x="1219" y="678"/>
                        <a:pt x="1219" y="678"/>
                      </a:cubicBezTo>
                      <a:cubicBezTo>
                        <a:pt x="1219" y="678"/>
                        <a:pt x="1211" y="643"/>
                        <a:pt x="1214" y="640"/>
                      </a:cubicBezTo>
                      <a:cubicBezTo>
                        <a:pt x="1217" y="637"/>
                        <a:pt x="1230" y="635"/>
                        <a:pt x="1240" y="635"/>
                      </a:cubicBezTo>
                      <a:cubicBezTo>
                        <a:pt x="1250" y="635"/>
                        <a:pt x="1260" y="647"/>
                        <a:pt x="1264" y="647"/>
                      </a:cubicBezTo>
                      <a:cubicBezTo>
                        <a:pt x="1268" y="647"/>
                        <a:pt x="1296" y="653"/>
                        <a:pt x="1296" y="653"/>
                      </a:cubicBezTo>
                      <a:cubicBezTo>
                        <a:pt x="1308" y="649"/>
                        <a:pt x="1308" y="649"/>
                        <a:pt x="1308" y="649"/>
                      </a:cubicBezTo>
                      <a:cubicBezTo>
                        <a:pt x="1308" y="649"/>
                        <a:pt x="1356" y="649"/>
                        <a:pt x="1364" y="648"/>
                      </a:cubicBezTo>
                      <a:cubicBezTo>
                        <a:pt x="1372" y="647"/>
                        <a:pt x="1402" y="651"/>
                        <a:pt x="1402" y="651"/>
                      </a:cubicBezTo>
                      <a:cubicBezTo>
                        <a:pt x="1434" y="650"/>
                        <a:pt x="1434" y="650"/>
                        <a:pt x="1434" y="650"/>
                      </a:cubicBezTo>
                      <a:cubicBezTo>
                        <a:pt x="1442" y="658"/>
                        <a:pt x="1442" y="658"/>
                        <a:pt x="1442" y="658"/>
                      </a:cubicBezTo>
                      <a:cubicBezTo>
                        <a:pt x="1454" y="658"/>
                        <a:pt x="1454" y="658"/>
                        <a:pt x="1454" y="658"/>
                      </a:cubicBezTo>
                      <a:cubicBezTo>
                        <a:pt x="1471" y="676"/>
                        <a:pt x="1471" y="676"/>
                        <a:pt x="1471" y="676"/>
                      </a:cubicBezTo>
                      <a:cubicBezTo>
                        <a:pt x="1499" y="676"/>
                        <a:pt x="1499" y="676"/>
                        <a:pt x="1499" y="676"/>
                      </a:cubicBezTo>
                      <a:cubicBezTo>
                        <a:pt x="1513" y="681"/>
                        <a:pt x="1513" y="681"/>
                        <a:pt x="1513" y="681"/>
                      </a:cubicBezTo>
                      <a:cubicBezTo>
                        <a:pt x="1512" y="680"/>
                        <a:pt x="1512" y="680"/>
                        <a:pt x="1512" y="680"/>
                      </a:cubicBezTo>
                      <a:cubicBezTo>
                        <a:pt x="1507" y="675"/>
                        <a:pt x="1503" y="664"/>
                        <a:pt x="1503" y="659"/>
                      </a:cubicBezTo>
                      <a:cubicBezTo>
                        <a:pt x="1503" y="654"/>
                        <a:pt x="1517" y="656"/>
                        <a:pt x="1517" y="656"/>
                      </a:cubicBezTo>
                      <a:cubicBezTo>
                        <a:pt x="1517" y="656"/>
                        <a:pt x="1506" y="644"/>
                        <a:pt x="1506" y="641"/>
                      </a:cubicBezTo>
                      <a:cubicBezTo>
                        <a:pt x="1506" y="638"/>
                        <a:pt x="1522" y="641"/>
                        <a:pt x="1522" y="634"/>
                      </a:cubicBezTo>
                      <a:cubicBezTo>
                        <a:pt x="1522" y="627"/>
                        <a:pt x="1492" y="596"/>
                        <a:pt x="1484" y="587"/>
                      </a:cubicBezTo>
                      <a:cubicBezTo>
                        <a:pt x="1476" y="578"/>
                        <a:pt x="1476" y="552"/>
                        <a:pt x="1476" y="552"/>
                      </a:cubicBezTo>
                      <a:cubicBezTo>
                        <a:pt x="1476" y="552"/>
                        <a:pt x="1458" y="555"/>
                        <a:pt x="1451" y="546"/>
                      </a:cubicBezTo>
                      <a:cubicBezTo>
                        <a:pt x="1444" y="537"/>
                        <a:pt x="1475" y="530"/>
                        <a:pt x="1481" y="529"/>
                      </a:cubicBezTo>
                      <a:cubicBezTo>
                        <a:pt x="1487" y="528"/>
                        <a:pt x="1511" y="518"/>
                        <a:pt x="1516" y="518"/>
                      </a:cubicBezTo>
                      <a:cubicBezTo>
                        <a:pt x="1521" y="518"/>
                        <a:pt x="1530" y="532"/>
                        <a:pt x="1530" y="532"/>
                      </a:cubicBezTo>
                      <a:cubicBezTo>
                        <a:pt x="1543" y="525"/>
                        <a:pt x="1543" y="525"/>
                        <a:pt x="1543" y="525"/>
                      </a:cubicBezTo>
                      <a:cubicBezTo>
                        <a:pt x="1543" y="525"/>
                        <a:pt x="1550" y="539"/>
                        <a:pt x="1559" y="528"/>
                      </a:cubicBezTo>
                      <a:cubicBezTo>
                        <a:pt x="1568" y="517"/>
                        <a:pt x="1545" y="515"/>
                        <a:pt x="1541" y="513"/>
                      </a:cubicBezTo>
                      <a:cubicBezTo>
                        <a:pt x="1537" y="511"/>
                        <a:pt x="1541" y="459"/>
                        <a:pt x="1541" y="447"/>
                      </a:cubicBezTo>
                      <a:cubicBezTo>
                        <a:pt x="1541" y="435"/>
                        <a:pt x="1540" y="420"/>
                        <a:pt x="1546" y="420"/>
                      </a:cubicBezTo>
                      <a:cubicBezTo>
                        <a:pt x="1552" y="420"/>
                        <a:pt x="1577" y="432"/>
                        <a:pt x="1585" y="434"/>
                      </a:cubicBezTo>
                      <a:cubicBezTo>
                        <a:pt x="1593" y="436"/>
                        <a:pt x="1614" y="434"/>
                        <a:pt x="1614" y="434"/>
                      </a:cubicBezTo>
                      <a:cubicBezTo>
                        <a:pt x="1623" y="442"/>
                        <a:pt x="1623" y="442"/>
                        <a:pt x="1623" y="442"/>
                      </a:cubicBezTo>
                      <a:cubicBezTo>
                        <a:pt x="1634" y="430"/>
                        <a:pt x="1634" y="430"/>
                        <a:pt x="1634" y="430"/>
                      </a:cubicBezTo>
                      <a:cubicBezTo>
                        <a:pt x="1634" y="430"/>
                        <a:pt x="1642" y="431"/>
                        <a:pt x="1649" y="426"/>
                      </a:cubicBezTo>
                      <a:cubicBezTo>
                        <a:pt x="1656" y="421"/>
                        <a:pt x="1650" y="410"/>
                        <a:pt x="1641" y="397"/>
                      </a:cubicBezTo>
                      <a:cubicBezTo>
                        <a:pt x="1632" y="384"/>
                        <a:pt x="1622" y="375"/>
                        <a:pt x="1627" y="361"/>
                      </a:cubicBezTo>
                      <a:cubicBezTo>
                        <a:pt x="1632" y="347"/>
                        <a:pt x="1661" y="357"/>
                        <a:pt x="1667" y="348"/>
                      </a:cubicBezTo>
                      <a:cubicBezTo>
                        <a:pt x="1673" y="339"/>
                        <a:pt x="1654" y="336"/>
                        <a:pt x="1655" y="327"/>
                      </a:cubicBezTo>
                      <a:close/>
                      <a:moveTo>
                        <a:pt x="1385" y="465"/>
                      </a:moveTo>
                      <a:cubicBezTo>
                        <a:pt x="1380" y="470"/>
                        <a:pt x="1363" y="466"/>
                        <a:pt x="1363" y="466"/>
                      </a:cubicBezTo>
                      <a:cubicBezTo>
                        <a:pt x="1363" y="466"/>
                        <a:pt x="1361" y="472"/>
                        <a:pt x="1356" y="473"/>
                      </a:cubicBezTo>
                      <a:cubicBezTo>
                        <a:pt x="1351" y="474"/>
                        <a:pt x="1340" y="464"/>
                        <a:pt x="1340" y="464"/>
                      </a:cubicBezTo>
                      <a:cubicBezTo>
                        <a:pt x="1320" y="467"/>
                        <a:pt x="1320" y="467"/>
                        <a:pt x="1320" y="467"/>
                      </a:cubicBezTo>
                      <a:cubicBezTo>
                        <a:pt x="1299" y="463"/>
                        <a:pt x="1299" y="463"/>
                        <a:pt x="1299" y="463"/>
                      </a:cubicBezTo>
                      <a:cubicBezTo>
                        <a:pt x="1287" y="464"/>
                        <a:pt x="1287" y="464"/>
                        <a:pt x="1287" y="464"/>
                      </a:cubicBezTo>
                      <a:cubicBezTo>
                        <a:pt x="1270" y="459"/>
                        <a:pt x="1270" y="459"/>
                        <a:pt x="1270" y="459"/>
                      </a:cubicBezTo>
                      <a:cubicBezTo>
                        <a:pt x="1270" y="459"/>
                        <a:pt x="1259" y="460"/>
                        <a:pt x="1246" y="460"/>
                      </a:cubicBezTo>
                      <a:cubicBezTo>
                        <a:pt x="1233" y="460"/>
                        <a:pt x="1236" y="454"/>
                        <a:pt x="1236" y="454"/>
                      </a:cubicBezTo>
                      <a:cubicBezTo>
                        <a:pt x="1236" y="454"/>
                        <a:pt x="1228" y="462"/>
                        <a:pt x="1222" y="464"/>
                      </a:cubicBezTo>
                      <a:cubicBezTo>
                        <a:pt x="1216" y="466"/>
                        <a:pt x="1215" y="476"/>
                        <a:pt x="1209" y="484"/>
                      </a:cubicBezTo>
                      <a:cubicBezTo>
                        <a:pt x="1203" y="492"/>
                        <a:pt x="1195" y="489"/>
                        <a:pt x="1195" y="489"/>
                      </a:cubicBezTo>
                      <a:cubicBezTo>
                        <a:pt x="1199" y="507"/>
                        <a:pt x="1199" y="507"/>
                        <a:pt x="1199" y="507"/>
                      </a:cubicBezTo>
                      <a:cubicBezTo>
                        <a:pt x="1191" y="514"/>
                        <a:pt x="1191" y="514"/>
                        <a:pt x="1191" y="514"/>
                      </a:cubicBezTo>
                      <a:cubicBezTo>
                        <a:pt x="1201" y="525"/>
                        <a:pt x="1201" y="525"/>
                        <a:pt x="1201" y="525"/>
                      </a:cubicBezTo>
                      <a:cubicBezTo>
                        <a:pt x="1200" y="542"/>
                        <a:pt x="1200" y="542"/>
                        <a:pt x="1200" y="542"/>
                      </a:cubicBezTo>
                      <a:cubicBezTo>
                        <a:pt x="1196" y="541"/>
                        <a:pt x="1167" y="507"/>
                        <a:pt x="1167" y="507"/>
                      </a:cubicBezTo>
                      <a:cubicBezTo>
                        <a:pt x="1167" y="507"/>
                        <a:pt x="1163" y="492"/>
                        <a:pt x="1163" y="481"/>
                      </a:cubicBezTo>
                      <a:cubicBezTo>
                        <a:pt x="1163" y="470"/>
                        <a:pt x="1181" y="467"/>
                        <a:pt x="1185" y="466"/>
                      </a:cubicBezTo>
                      <a:cubicBezTo>
                        <a:pt x="1189" y="465"/>
                        <a:pt x="1187" y="454"/>
                        <a:pt x="1193" y="448"/>
                      </a:cubicBezTo>
                      <a:cubicBezTo>
                        <a:pt x="1199" y="442"/>
                        <a:pt x="1224" y="448"/>
                        <a:pt x="1228" y="448"/>
                      </a:cubicBezTo>
                      <a:cubicBezTo>
                        <a:pt x="1232" y="448"/>
                        <a:pt x="1240" y="442"/>
                        <a:pt x="1253" y="443"/>
                      </a:cubicBezTo>
                      <a:cubicBezTo>
                        <a:pt x="1266" y="444"/>
                        <a:pt x="1274" y="451"/>
                        <a:pt x="1281" y="452"/>
                      </a:cubicBezTo>
                      <a:cubicBezTo>
                        <a:pt x="1288" y="453"/>
                        <a:pt x="1293" y="456"/>
                        <a:pt x="1306" y="458"/>
                      </a:cubicBezTo>
                      <a:cubicBezTo>
                        <a:pt x="1319" y="460"/>
                        <a:pt x="1315" y="449"/>
                        <a:pt x="1328" y="449"/>
                      </a:cubicBezTo>
                      <a:cubicBezTo>
                        <a:pt x="1341" y="449"/>
                        <a:pt x="1360" y="454"/>
                        <a:pt x="1360" y="454"/>
                      </a:cubicBezTo>
                      <a:cubicBezTo>
                        <a:pt x="1360" y="454"/>
                        <a:pt x="1370" y="445"/>
                        <a:pt x="1384" y="443"/>
                      </a:cubicBezTo>
                      <a:cubicBezTo>
                        <a:pt x="1398" y="441"/>
                        <a:pt x="1390" y="460"/>
                        <a:pt x="1385" y="46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1" name="Jordan">
                  <a:extLst>
                    <a:ext uri="{FF2B5EF4-FFF2-40B4-BE49-F238E27FC236}">
                      <a16:creationId xmlns:a16="http://schemas.microsoft.com/office/drawing/2014/main" id="{66311D59-8BD1-AD81-515E-7393A96B57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18056" y="3080717"/>
                  <a:ext cx="104793" cy="131702"/>
                </a:xfrm>
                <a:custGeom>
                  <a:avLst/>
                  <a:gdLst>
                    <a:gd name="T0" fmla="*/ 169 w 186"/>
                    <a:gd name="T1" fmla="*/ 44 h 236"/>
                    <a:gd name="T2" fmla="*/ 169 w 186"/>
                    <a:gd name="T3" fmla="*/ 30 h 236"/>
                    <a:gd name="T4" fmla="*/ 157 w 186"/>
                    <a:gd name="T5" fmla="*/ 0 h 236"/>
                    <a:gd name="T6" fmla="*/ 73 w 186"/>
                    <a:gd name="T7" fmla="*/ 57 h 236"/>
                    <a:gd name="T8" fmla="*/ 45 w 186"/>
                    <a:gd name="T9" fmla="*/ 45 h 236"/>
                    <a:gd name="T10" fmla="*/ 23 w 186"/>
                    <a:gd name="T11" fmla="*/ 33 h 236"/>
                    <a:gd name="T12" fmla="*/ 19 w 186"/>
                    <a:gd name="T13" fmla="*/ 36 h 236"/>
                    <a:gd name="T14" fmla="*/ 16 w 186"/>
                    <a:gd name="T15" fmla="*/ 45 h 236"/>
                    <a:gd name="T16" fmla="*/ 17 w 186"/>
                    <a:gd name="T17" fmla="*/ 93 h 236"/>
                    <a:gd name="T18" fmla="*/ 10 w 186"/>
                    <a:gd name="T19" fmla="*/ 107 h 236"/>
                    <a:gd name="T20" fmla="*/ 16 w 186"/>
                    <a:gd name="T21" fmla="*/ 115 h 236"/>
                    <a:gd name="T22" fmla="*/ 15 w 186"/>
                    <a:gd name="T23" fmla="*/ 134 h 236"/>
                    <a:gd name="T24" fmla="*/ 4 w 186"/>
                    <a:gd name="T25" fmla="*/ 158 h 236"/>
                    <a:gd name="T26" fmla="*/ 0 w 186"/>
                    <a:gd name="T27" fmla="*/ 211 h 236"/>
                    <a:gd name="T28" fmla="*/ 2 w 186"/>
                    <a:gd name="T29" fmla="*/ 217 h 236"/>
                    <a:gd name="T30" fmla="*/ 3 w 186"/>
                    <a:gd name="T31" fmla="*/ 217 h 236"/>
                    <a:gd name="T32" fmla="*/ 55 w 186"/>
                    <a:gd name="T33" fmla="*/ 225 h 236"/>
                    <a:gd name="T34" fmla="*/ 77 w 186"/>
                    <a:gd name="T35" fmla="*/ 185 h 236"/>
                    <a:gd name="T36" fmla="*/ 108 w 186"/>
                    <a:gd name="T37" fmla="*/ 180 h 236"/>
                    <a:gd name="T38" fmla="*/ 122 w 186"/>
                    <a:gd name="T39" fmla="*/ 147 h 236"/>
                    <a:gd name="T40" fmla="*/ 96 w 186"/>
                    <a:gd name="T41" fmla="*/ 108 h 236"/>
                    <a:gd name="T42" fmla="*/ 64 w 186"/>
                    <a:gd name="T43" fmla="*/ 100 h 236"/>
                    <a:gd name="T44" fmla="*/ 96 w 186"/>
                    <a:gd name="T45" fmla="*/ 94 h 236"/>
                    <a:gd name="T46" fmla="*/ 124 w 186"/>
                    <a:gd name="T47" fmla="*/ 94 h 236"/>
                    <a:gd name="T48" fmla="*/ 132 w 186"/>
                    <a:gd name="T49" fmla="*/ 80 h 236"/>
                    <a:gd name="T50" fmla="*/ 166 w 186"/>
                    <a:gd name="T51" fmla="*/ 76 h 236"/>
                    <a:gd name="T52" fmla="*/ 185 w 186"/>
                    <a:gd name="T53" fmla="*/ 62 h 236"/>
                    <a:gd name="T54" fmla="*/ 186 w 186"/>
                    <a:gd name="T55" fmla="*/ 53 h 236"/>
                    <a:gd name="T56" fmla="*/ 169 w 186"/>
                    <a:gd name="T57" fmla="*/ 44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86" h="236">
                      <a:moveTo>
                        <a:pt x="169" y="44"/>
                      </a:moveTo>
                      <a:cubicBezTo>
                        <a:pt x="169" y="30"/>
                        <a:pt x="169" y="30"/>
                        <a:pt x="169" y="30"/>
                      </a:cubicBezTo>
                      <a:cubicBezTo>
                        <a:pt x="157" y="0"/>
                        <a:pt x="157" y="0"/>
                        <a:pt x="157" y="0"/>
                      </a:cubicBezTo>
                      <a:cubicBezTo>
                        <a:pt x="154" y="2"/>
                        <a:pt x="94" y="57"/>
                        <a:pt x="73" y="57"/>
                      </a:cubicBezTo>
                      <a:cubicBezTo>
                        <a:pt x="52" y="57"/>
                        <a:pt x="45" y="45"/>
                        <a:pt x="45" y="45"/>
                      </a:cubicBezTo>
                      <a:cubicBezTo>
                        <a:pt x="23" y="33"/>
                        <a:pt x="23" y="33"/>
                        <a:pt x="23" y="33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6" y="45"/>
                        <a:pt x="16" y="45"/>
                        <a:pt x="16" y="45"/>
                      </a:cubicBezTo>
                      <a:cubicBezTo>
                        <a:pt x="17" y="93"/>
                        <a:pt x="17" y="93"/>
                        <a:pt x="17" y="93"/>
                      </a:cubicBezTo>
                      <a:cubicBezTo>
                        <a:pt x="17" y="93"/>
                        <a:pt x="10" y="103"/>
                        <a:pt x="10" y="107"/>
                      </a:cubicBezTo>
                      <a:cubicBezTo>
                        <a:pt x="10" y="111"/>
                        <a:pt x="12" y="111"/>
                        <a:pt x="16" y="115"/>
                      </a:cubicBezTo>
                      <a:cubicBezTo>
                        <a:pt x="20" y="119"/>
                        <a:pt x="18" y="127"/>
                        <a:pt x="15" y="134"/>
                      </a:cubicBezTo>
                      <a:cubicBezTo>
                        <a:pt x="12" y="141"/>
                        <a:pt x="4" y="146"/>
                        <a:pt x="4" y="158"/>
                      </a:cubicBezTo>
                      <a:cubicBezTo>
                        <a:pt x="4" y="170"/>
                        <a:pt x="0" y="211"/>
                        <a:pt x="0" y="211"/>
                      </a:cubicBezTo>
                      <a:cubicBezTo>
                        <a:pt x="2" y="217"/>
                        <a:pt x="2" y="217"/>
                        <a:pt x="2" y="217"/>
                      </a:cubicBezTo>
                      <a:cubicBezTo>
                        <a:pt x="2" y="217"/>
                        <a:pt x="3" y="217"/>
                        <a:pt x="3" y="217"/>
                      </a:cubicBezTo>
                      <a:cubicBezTo>
                        <a:pt x="10" y="216"/>
                        <a:pt x="41" y="236"/>
                        <a:pt x="55" y="225"/>
                      </a:cubicBezTo>
                      <a:cubicBezTo>
                        <a:pt x="69" y="214"/>
                        <a:pt x="71" y="187"/>
                        <a:pt x="77" y="185"/>
                      </a:cubicBezTo>
                      <a:cubicBezTo>
                        <a:pt x="83" y="183"/>
                        <a:pt x="100" y="187"/>
                        <a:pt x="108" y="180"/>
                      </a:cubicBezTo>
                      <a:cubicBezTo>
                        <a:pt x="116" y="173"/>
                        <a:pt x="122" y="147"/>
                        <a:pt x="122" y="147"/>
                      </a:cubicBezTo>
                      <a:cubicBezTo>
                        <a:pt x="122" y="147"/>
                        <a:pt x="103" y="112"/>
                        <a:pt x="96" y="108"/>
                      </a:cubicBezTo>
                      <a:cubicBezTo>
                        <a:pt x="89" y="104"/>
                        <a:pt x="57" y="107"/>
                        <a:pt x="64" y="100"/>
                      </a:cubicBezTo>
                      <a:cubicBezTo>
                        <a:pt x="71" y="93"/>
                        <a:pt x="96" y="94"/>
                        <a:pt x="96" y="94"/>
                      </a:cubicBezTo>
                      <a:cubicBezTo>
                        <a:pt x="124" y="94"/>
                        <a:pt x="124" y="94"/>
                        <a:pt x="124" y="94"/>
                      </a:cubicBezTo>
                      <a:cubicBezTo>
                        <a:pt x="132" y="80"/>
                        <a:pt x="132" y="80"/>
                        <a:pt x="132" y="80"/>
                      </a:cubicBezTo>
                      <a:cubicBezTo>
                        <a:pt x="132" y="80"/>
                        <a:pt x="160" y="82"/>
                        <a:pt x="166" y="76"/>
                      </a:cubicBezTo>
                      <a:cubicBezTo>
                        <a:pt x="172" y="70"/>
                        <a:pt x="185" y="62"/>
                        <a:pt x="185" y="62"/>
                      </a:cubicBezTo>
                      <a:cubicBezTo>
                        <a:pt x="186" y="53"/>
                        <a:pt x="186" y="53"/>
                        <a:pt x="186" y="53"/>
                      </a:cubicBezTo>
                      <a:lnTo>
                        <a:pt x="169" y="44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2" name="Jerusalem">
                  <a:extLst>
                    <a:ext uri="{FF2B5EF4-FFF2-40B4-BE49-F238E27FC236}">
                      <a16:creationId xmlns:a16="http://schemas.microsoft.com/office/drawing/2014/main" id="{666A290F-196D-A867-79C1-572AB46447E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10117" y="3106105"/>
                  <a:ext cx="17465" cy="39670"/>
                </a:xfrm>
                <a:custGeom>
                  <a:avLst/>
                  <a:gdLst>
                    <a:gd name="T0" fmla="*/ 21 w 32"/>
                    <a:gd name="T1" fmla="*/ 54 h 70"/>
                    <a:gd name="T2" fmla="*/ 27 w 32"/>
                    <a:gd name="T3" fmla="*/ 56 h 70"/>
                    <a:gd name="T4" fmla="*/ 32 w 32"/>
                    <a:gd name="T5" fmla="*/ 47 h 70"/>
                    <a:gd name="T6" fmla="*/ 31 w 32"/>
                    <a:gd name="T7" fmla="*/ 1 h 70"/>
                    <a:gd name="T8" fmla="*/ 13 w 32"/>
                    <a:gd name="T9" fmla="*/ 2 h 70"/>
                    <a:gd name="T10" fmla="*/ 6 w 32"/>
                    <a:gd name="T11" fmla="*/ 21 h 70"/>
                    <a:gd name="T12" fmla="*/ 6 w 32"/>
                    <a:gd name="T13" fmla="*/ 40 h 70"/>
                    <a:gd name="T14" fmla="*/ 7 w 32"/>
                    <a:gd name="T15" fmla="*/ 62 h 70"/>
                    <a:gd name="T16" fmla="*/ 21 w 32"/>
                    <a:gd name="T17" fmla="*/ 5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" h="70">
                      <a:moveTo>
                        <a:pt x="21" y="54"/>
                      </a:moveTo>
                      <a:cubicBezTo>
                        <a:pt x="22" y="53"/>
                        <a:pt x="24" y="54"/>
                        <a:pt x="27" y="56"/>
                      </a:cubicBezTo>
                      <a:cubicBezTo>
                        <a:pt x="29" y="51"/>
                        <a:pt x="32" y="47"/>
                        <a:pt x="32" y="47"/>
                      </a:cubicBez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26" y="0"/>
                        <a:pt x="17" y="0"/>
                        <a:pt x="13" y="2"/>
                      </a:cubicBezTo>
                      <a:cubicBezTo>
                        <a:pt x="7" y="6"/>
                        <a:pt x="6" y="21"/>
                        <a:pt x="6" y="21"/>
                      </a:cubicBezTo>
                      <a:cubicBezTo>
                        <a:pt x="6" y="21"/>
                        <a:pt x="7" y="34"/>
                        <a:pt x="6" y="40"/>
                      </a:cubicBezTo>
                      <a:cubicBezTo>
                        <a:pt x="5" y="46"/>
                        <a:pt x="0" y="54"/>
                        <a:pt x="7" y="62"/>
                      </a:cubicBezTo>
                      <a:cubicBezTo>
                        <a:pt x="13" y="70"/>
                        <a:pt x="18" y="55"/>
                        <a:pt x="21" y="5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3" name="Japan">
                  <a:extLst>
                    <a:ext uri="{FF2B5EF4-FFF2-40B4-BE49-F238E27FC236}">
                      <a16:creationId xmlns:a16="http://schemas.microsoft.com/office/drawing/2014/main" id="{14597A39-FB97-8196-E7CC-1C32B325933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8817155" y="2711000"/>
                  <a:ext cx="331845" cy="644228"/>
                </a:xfrm>
                <a:custGeom>
                  <a:avLst/>
                  <a:gdLst>
                    <a:gd name="T0" fmla="*/ 529 w 591"/>
                    <a:gd name="T1" fmla="*/ 401 h 1153"/>
                    <a:gd name="T2" fmla="*/ 547 w 591"/>
                    <a:gd name="T3" fmla="*/ 349 h 1153"/>
                    <a:gd name="T4" fmla="*/ 492 w 591"/>
                    <a:gd name="T5" fmla="*/ 276 h 1153"/>
                    <a:gd name="T6" fmla="*/ 448 w 591"/>
                    <a:gd name="T7" fmla="*/ 241 h 1153"/>
                    <a:gd name="T8" fmla="*/ 441 w 591"/>
                    <a:gd name="T9" fmla="*/ 258 h 1153"/>
                    <a:gd name="T10" fmla="*/ 418 w 591"/>
                    <a:gd name="T11" fmla="*/ 264 h 1153"/>
                    <a:gd name="T12" fmla="*/ 456 w 591"/>
                    <a:gd name="T13" fmla="*/ 373 h 1153"/>
                    <a:gd name="T14" fmla="*/ 443 w 591"/>
                    <a:gd name="T15" fmla="*/ 450 h 1153"/>
                    <a:gd name="T16" fmla="*/ 383 w 591"/>
                    <a:gd name="T17" fmla="*/ 448 h 1153"/>
                    <a:gd name="T18" fmla="*/ 367 w 591"/>
                    <a:gd name="T19" fmla="*/ 514 h 1153"/>
                    <a:gd name="T20" fmla="*/ 259 w 591"/>
                    <a:gd name="T21" fmla="*/ 546 h 1153"/>
                    <a:gd name="T22" fmla="*/ 179 w 591"/>
                    <a:gd name="T23" fmla="*/ 601 h 1153"/>
                    <a:gd name="T24" fmla="*/ 241 w 591"/>
                    <a:gd name="T25" fmla="*/ 607 h 1153"/>
                    <a:gd name="T26" fmla="*/ 331 w 591"/>
                    <a:gd name="T27" fmla="*/ 584 h 1153"/>
                    <a:gd name="T28" fmla="*/ 407 w 591"/>
                    <a:gd name="T29" fmla="*/ 654 h 1153"/>
                    <a:gd name="T30" fmla="*/ 415 w 591"/>
                    <a:gd name="T31" fmla="*/ 583 h 1153"/>
                    <a:gd name="T32" fmla="*/ 464 w 591"/>
                    <a:gd name="T33" fmla="*/ 585 h 1153"/>
                    <a:gd name="T34" fmla="*/ 528 w 591"/>
                    <a:gd name="T35" fmla="*/ 556 h 1153"/>
                    <a:gd name="T36" fmla="*/ 578 w 591"/>
                    <a:gd name="T37" fmla="*/ 538 h 1153"/>
                    <a:gd name="T38" fmla="*/ 299 w 591"/>
                    <a:gd name="T39" fmla="*/ 628 h 1153"/>
                    <a:gd name="T40" fmla="*/ 276 w 591"/>
                    <a:gd name="T41" fmla="*/ 674 h 1153"/>
                    <a:gd name="T42" fmla="*/ 358 w 591"/>
                    <a:gd name="T43" fmla="*/ 638 h 1153"/>
                    <a:gd name="T44" fmla="*/ 256 w 591"/>
                    <a:gd name="T45" fmla="*/ 689 h 1153"/>
                    <a:gd name="T46" fmla="*/ 184 w 591"/>
                    <a:gd name="T47" fmla="*/ 634 h 1153"/>
                    <a:gd name="T48" fmla="*/ 174 w 591"/>
                    <a:gd name="T49" fmla="*/ 687 h 1153"/>
                    <a:gd name="T50" fmla="*/ 182 w 591"/>
                    <a:gd name="T51" fmla="*/ 727 h 1153"/>
                    <a:gd name="T52" fmla="*/ 233 w 591"/>
                    <a:gd name="T53" fmla="*/ 780 h 1153"/>
                    <a:gd name="T54" fmla="*/ 172 w 591"/>
                    <a:gd name="T55" fmla="*/ 718 h 1153"/>
                    <a:gd name="T56" fmla="*/ 432 w 591"/>
                    <a:gd name="T57" fmla="*/ 423 h 1153"/>
                    <a:gd name="T58" fmla="*/ 411 w 591"/>
                    <a:gd name="T59" fmla="*/ 400 h 1153"/>
                    <a:gd name="T60" fmla="*/ 374 w 591"/>
                    <a:gd name="T61" fmla="*/ 72 h 1153"/>
                    <a:gd name="T62" fmla="*/ 354 w 591"/>
                    <a:gd name="T63" fmla="*/ 123 h 1153"/>
                    <a:gd name="T64" fmla="*/ 390 w 591"/>
                    <a:gd name="T65" fmla="*/ 198 h 1153"/>
                    <a:gd name="T66" fmla="*/ 437 w 591"/>
                    <a:gd name="T67" fmla="*/ 205 h 1153"/>
                    <a:gd name="T68" fmla="*/ 409 w 591"/>
                    <a:gd name="T69" fmla="*/ 179 h 1153"/>
                    <a:gd name="T70" fmla="*/ 557 w 591"/>
                    <a:gd name="T71" fmla="*/ 147 h 1153"/>
                    <a:gd name="T72" fmla="*/ 523 w 591"/>
                    <a:gd name="T73" fmla="*/ 96 h 1153"/>
                    <a:gd name="T74" fmla="*/ 194 w 591"/>
                    <a:gd name="T75" fmla="*/ 984 h 1153"/>
                    <a:gd name="T76" fmla="*/ 208 w 591"/>
                    <a:gd name="T77" fmla="*/ 933 h 1153"/>
                    <a:gd name="T78" fmla="*/ 208 w 591"/>
                    <a:gd name="T79" fmla="*/ 933 h 1153"/>
                    <a:gd name="T80" fmla="*/ 230 w 591"/>
                    <a:gd name="T81" fmla="*/ 810 h 1153"/>
                    <a:gd name="T82" fmla="*/ 252 w 591"/>
                    <a:gd name="T83" fmla="*/ 792 h 1153"/>
                    <a:gd name="T84" fmla="*/ 252 w 591"/>
                    <a:gd name="T85" fmla="*/ 792 h 1153"/>
                    <a:gd name="T86" fmla="*/ 32 w 591"/>
                    <a:gd name="T87" fmla="*/ 1144 h 1153"/>
                    <a:gd name="T88" fmla="*/ 90 w 591"/>
                    <a:gd name="T89" fmla="*/ 1125 h 1153"/>
                    <a:gd name="T90" fmla="*/ 16 w 591"/>
                    <a:gd name="T91" fmla="*/ 1134 h 1153"/>
                    <a:gd name="T92" fmla="*/ 184 w 591"/>
                    <a:gd name="T93" fmla="*/ 1008 h 1153"/>
                    <a:gd name="T94" fmla="*/ 198 w 591"/>
                    <a:gd name="T95" fmla="*/ 1014 h 1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91" h="1153">
                      <a:moveTo>
                        <a:pt x="591" y="531"/>
                      </a:moveTo>
                      <a:cubicBezTo>
                        <a:pt x="591" y="531"/>
                        <a:pt x="559" y="513"/>
                        <a:pt x="560" y="499"/>
                      </a:cubicBezTo>
                      <a:cubicBezTo>
                        <a:pt x="561" y="485"/>
                        <a:pt x="562" y="459"/>
                        <a:pt x="556" y="447"/>
                      </a:cubicBezTo>
                      <a:cubicBezTo>
                        <a:pt x="550" y="435"/>
                        <a:pt x="526" y="418"/>
                        <a:pt x="529" y="401"/>
                      </a:cubicBezTo>
                      <a:cubicBezTo>
                        <a:pt x="532" y="384"/>
                        <a:pt x="548" y="389"/>
                        <a:pt x="548" y="389"/>
                      </a:cubicBezTo>
                      <a:cubicBezTo>
                        <a:pt x="545" y="362"/>
                        <a:pt x="545" y="362"/>
                        <a:pt x="545" y="362"/>
                      </a:cubicBezTo>
                      <a:cubicBezTo>
                        <a:pt x="537" y="356"/>
                        <a:pt x="537" y="356"/>
                        <a:pt x="537" y="356"/>
                      </a:cubicBezTo>
                      <a:cubicBezTo>
                        <a:pt x="547" y="349"/>
                        <a:pt x="547" y="349"/>
                        <a:pt x="547" y="349"/>
                      </a:cubicBezTo>
                      <a:cubicBezTo>
                        <a:pt x="547" y="349"/>
                        <a:pt x="542" y="331"/>
                        <a:pt x="538" y="321"/>
                      </a:cubicBezTo>
                      <a:cubicBezTo>
                        <a:pt x="534" y="311"/>
                        <a:pt x="520" y="303"/>
                        <a:pt x="520" y="303"/>
                      </a:cubicBezTo>
                      <a:cubicBezTo>
                        <a:pt x="516" y="290"/>
                        <a:pt x="516" y="290"/>
                        <a:pt x="516" y="290"/>
                      </a:cubicBezTo>
                      <a:cubicBezTo>
                        <a:pt x="516" y="290"/>
                        <a:pt x="501" y="283"/>
                        <a:pt x="492" y="276"/>
                      </a:cubicBezTo>
                      <a:cubicBezTo>
                        <a:pt x="483" y="269"/>
                        <a:pt x="468" y="253"/>
                        <a:pt x="468" y="244"/>
                      </a:cubicBezTo>
                      <a:cubicBezTo>
                        <a:pt x="468" y="235"/>
                        <a:pt x="465" y="231"/>
                        <a:pt x="465" y="231"/>
                      </a:cubicBezTo>
                      <a:cubicBezTo>
                        <a:pt x="465" y="231"/>
                        <a:pt x="442" y="214"/>
                        <a:pt x="439" y="226"/>
                      </a:cubicBezTo>
                      <a:cubicBezTo>
                        <a:pt x="436" y="238"/>
                        <a:pt x="448" y="241"/>
                        <a:pt x="448" y="241"/>
                      </a:cubicBezTo>
                      <a:cubicBezTo>
                        <a:pt x="455" y="237"/>
                        <a:pt x="455" y="237"/>
                        <a:pt x="455" y="237"/>
                      </a:cubicBezTo>
                      <a:cubicBezTo>
                        <a:pt x="455" y="237"/>
                        <a:pt x="463" y="256"/>
                        <a:pt x="459" y="256"/>
                      </a:cubicBezTo>
                      <a:cubicBezTo>
                        <a:pt x="455" y="256"/>
                        <a:pt x="450" y="249"/>
                        <a:pt x="450" y="249"/>
                      </a:cubicBezTo>
                      <a:cubicBezTo>
                        <a:pt x="441" y="258"/>
                        <a:pt x="441" y="258"/>
                        <a:pt x="441" y="258"/>
                      </a:cubicBezTo>
                      <a:cubicBezTo>
                        <a:pt x="428" y="237"/>
                        <a:pt x="428" y="237"/>
                        <a:pt x="428" y="237"/>
                      </a:cubicBezTo>
                      <a:cubicBezTo>
                        <a:pt x="416" y="237"/>
                        <a:pt x="416" y="237"/>
                        <a:pt x="416" y="237"/>
                      </a:cubicBezTo>
                      <a:cubicBezTo>
                        <a:pt x="430" y="261"/>
                        <a:pt x="430" y="261"/>
                        <a:pt x="430" y="261"/>
                      </a:cubicBezTo>
                      <a:cubicBezTo>
                        <a:pt x="418" y="264"/>
                        <a:pt x="418" y="264"/>
                        <a:pt x="418" y="264"/>
                      </a:cubicBezTo>
                      <a:cubicBezTo>
                        <a:pt x="437" y="296"/>
                        <a:pt x="437" y="296"/>
                        <a:pt x="437" y="296"/>
                      </a:cubicBezTo>
                      <a:cubicBezTo>
                        <a:pt x="430" y="304"/>
                        <a:pt x="430" y="304"/>
                        <a:pt x="430" y="304"/>
                      </a:cubicBezTo>
                      <a:cubicBezTo>
                        <a:pt x="430" y="304"/>
                        <a:pt x="466" y="322"/>
                        <a:pt x="464" y="337"/>
                      </a:cubicBezTo>
                      <a:cubicBezTo>
                        <a:pt x="462" y="352"/>
                        <a:pt x="456" y="373"/>
                        <a:pt x="456" y="373"/>
                      </a:cubicBezTo>
                      <a:cubicBezTo>
                        <a:pt x="454" y="391"/>
                        <a:pt x="454" y="391"/>
                        <a:pt x="454" y="391"/>
                      </a:cubicBezTo>
                      <a:cubicBezTo>
                        <a:pt x="454" y="391"/>
                        <a:pt x="475" y="404"/>
                        <a:pt x="465" y="411"/>
                      </a:cubicBezTo>
                      <a:cubicBezTo>
                        <a:pt x="455" y="418"/>
                        <a:pt x="447" y="414"/>
                        <a:pt x="447" y="414"/>
                      </a:cubicBezTo>
                      <a:cubicBezTo>
                        <a:pt x="447" y="414"/>
                        <a:pt x="454" y="444"/>
                        <a:pt x="443" y="450"/>
                      </a:cubicBezTo>
                      <a:cubicBezTo>
                        <a:pt x="432" y="456"/>
                        <a:pt x="409" y="464"/>
                        <a:pt x="409" y="464"/>
                      </a:cubicBezTo>
                      <a:cubicBezTo>
                        <a:pt x="409" y="473"/>
                        <a:pt x="409" y="473"/>
                        <a:pt x="409" y="473"/>
                      </a:cubicBezTo>
                      <a:cubicBezTo>
                        <a:pt x="409" y="473"/>
                        <a:pt x="398" y="477"/>
                        <a:pt x="389" y="467"/>
                      </a:cubicBezTo>
                      <a:cubicBezTo>
                        <a:pt x="380" y="457"/>
                        <a:pt x="383" y="448"/>
                        <a:pt x="383" y="448"/>
                      </a:cubicBezTo>
                      <a:cubicBezTo>
                        <a:pt x="386" y="435"/>
                        <a:pt x="386" y="435"/>
                        <a:pt x="386" y="435"/>
                      </a:cubicBezTo>
                      <a:cubicBezTo>
                        <a:pt x="386" y="435"/>
                        <a:pt x="360" y="440"/>
                        <a:pt x="364" y="450"/>
                      </a:cubicBezTo>
                      <a:cubicBezTo>
                        <a:pt x="368" y="460"/>
                        <a:pt x="381" y="474"/>
                        <a:pt x="379" y="481"/>
                      </a:cubicBezTo>
                      <a:cubicBezTo>
                        <a:pt x="377" y="488"/>
                        <a:pt x="363" y="504"/>
                        <a:pt x="367" y="514"/>
                      </a:cubicBezTo>
                      <a:cubicBezTo>
                        <a:pt x="371" y="524"/>
                        <a:pt x="384" y="539"/>
                        <a:pt x="374" y="540"/>
                      </a:cubicBezTo>
                      <a:cubicBezTo>
                        <a:pt x="364" y="541"/>
                        <a:pt x="338" y="529"/>
                        <a:pt x="329" y="530"/>
                      </a:cubicBezTo>
                      <a:cubicBezTo>
                        <a:pt x="320" y="531"/>
                        <a:pt x="281" y="546"/>
                        <a:pt x="278" y="546"/>
                      </a:cubicBezTo>
                      <a:cubicBezTo>
                        <a:pt x="275" y="546"/>
                        <a:pt x="259" y="546"/>
                        <a:pt x="259" y="546"/>
                      </a:cubicBezTo>
                      <a:cubicBezTo>
                        <a:pt x="251" y="538"/>
                        <a:pt x="251" y="538"/>
                        <a:pt x="251" y="538"/>
                      </a:cubicBezTo>
                      <a:cubicBezTo>
                        <a:pt x="229" y="555"/>
                        <a:pt x="229" y="555"/>
                        <a:pt x="229" y="555"/>
                      </a:cubicBezTo>
                      <a:cubicBezTo>
                        <a:pt x="229" y="555"/>
                        <a:pt x="202" y="600"/>
                        <a:pt x="198" y="600"/>
                      </a:cubicBezTo>
                      <a:cubicBezTo>
                        <a:pt x="194" y="600"/>
                        <a:pt x="179" y="601"/>
                        <a:pt x="179" y="601"/>
                      </a:cubicBezTo>
                      <a:cubicBezTo>
                        <a:pt x="179" y="601"/>
                        <a:pt x="184" y="625"/>
                        <a:pt x="191" y="625"/>
                      </a:cubicBezTo>
                      <a:cubicBezTo>
                        <a:pt x="198" y="625"/>
                        <a:pt x="210" y="621"/>
                        <a:pt x="210" y="621"/>
                      </a:cubicBezTo>
                      <a:cubicBezTo>
                        <a:pt x="210" y="621"/>
                        <a:pt x="229" y="632"/>
                        <a:pt x="234" y="630"/>
                      </a:cubicBezTo>
                      <a:cubicBezTo>
                        <a:pt x="239" y="628"/>
                        <a:pt x="241" y="607"/>
                        <a:pt x="241" y="607"/>
                      </a:cubicBezTo>
                      <a:cubicBezTo>
                        <a:pt x="256" y="615"/>
                        <a:pt x="256" y="615"/>
                        <a:pt x="256" y="615"/>
                      </a:cubicBezTo>
                      <a:cubicBezTo>
                        <a:pt x="256" y="615"/>
                        <a:pt x="290" y="598"/>
                        <a:pt x="295" y="595"/>
                      </a:cubicBezTo>
                      <a:cubicBezTo>
                        <a:pt x="300" y="592"/>
                        <a:pt x="313" y="601"/>
                        <a:pt x="321" y="600"/>
                      </a:cubicBezTo>
                      <a:cubicBezTo>
                        <a:pt x="329" y="599"/>
                        <a:pt x="314" y="584"/>
                        <a:pt x="331" y="584"/>
                      </a:cubicBezTo>
                      <a:cubicBezTo>
                        <a:pt x="348" y="584"/>
                        <a:pt x="352" y="593"/>
                        <a:pt x="352" y="593"/>
                      </a:cubicBezTo>
                      <a:cubicBezTo>
                        <a:pt x="352" y="593"/>
                        <a:pt x="372" y="580"/>
                        <a:pt x="376" y="588"/>
                      </a:cubicBezTo>
                      <a:cubicBezTo>
                        <a:pt x="380" y="596"/>
                        <a:pt x="367" y="615"/>
                        <a:pt x="367" y="615"/>
                      </a:cubicBezTo>
                      <a:cubicBezTo>
                        <a:pt x="367" y="615"/>
                        <a:pt x="387" y="654"/>
                        <a:pt x="407" y="654"/>
                      </a:cubicBezTo>
                      <a:cubicBezTo>
                        <a:pt x="427" y="654"/>
                        <a:pt x="425" y="616"/>
                        <a:pt x="425" y="616"/>
                      </a:cubicBezTo>
                      <a:cubicBezTo>
                        <a:pt x="447" y="612"/>
                        <a:pt x="447" y="612"/>
                        <a:pt x="447" y="612"/>
                      </a:cubicBezTo>
                      <a:cubicBezTo>
                        <a:pt x="447" y="612"/>
                        <a:pt x="430" y="592"/>
                        <a:pt x="427" y="591"/>
                      </a:cubicBezTo>
                      <a:cubicBezTo>
                        <a:pt x="424" y="590"/>
                        <a:pt x="415" y="583"/>
                        <a:pt x="415" y="583"/>
                      </a:cubicBezTo>
                      <a:cubicBezTo>
                        <a:pt x="426" y="568"/>
                        <a:pt x="426" y="568"/>
                        <a:pt x="426" y="568"/>
                      </a:cubicBezTo>
                      <a:cubicBezTo>
                        <a:pt x="435" y="567"/>
                        <a:pt x="429" y="581"/>
                        <a:pt x="439" y="581"/>
                      </a:cubicBezTo>
                      <a:cubicBezTo>
                        <a:pt x="449" y="581"/>
                        <a:pt x="452" y="594"/>
                        <a:pt x="452" y="594"/>
                      </a:cubicBezTo>
                      <a:cubicBezTo>
                        <a:pt x="464" y="585"/>
                        <a:pt x="464" y="585"/>
                        <a:pt x="464" y="585"/>
                      </a:cubicBezTo>
                      <a:cubicBezTo>
                        <a:pt x="464" y="585"/>
                        <a:pt x="479" y="593"/>
                        <a:pt x="494" y="589"/>
                      </a:cubicBezTo>
                      <a:cubicBezTo>
                        <a:pt x="509" y="585"/>
                        <a:pt x="491" y="564"/>
                        <a:pt x="508" y="566"/>
                      </a:cubicBezTo>
                      <a:cubicBezTo>
                        <a:pt x="525" y="568"/>
                        <a:pt x="516" y="596"/>
                        <a:pt x="527" y="590"/>
                      </a:cubicBezTo>
                      <a:cubicBezTo>
                        <a:pt x="538" y="584"/>
                        <a:pt x="520" y="561"/>
                        <a:pt x="528" y="556"/>
                      </a:cubicBezTo>
                      <a:cubicBezTo>
                        <a:pt x="536" y="551"/>
                        <a:pt x="541" y="553"/>
                        <a:pt x="541" y="553"/>
                      </a:cubicBezTo>
                      <a:cubicBezTo>
                        <a:pt x="541" y="553"/>
                        <a:pt x="543" y="522"/>
                        <a:pt x="555" y="534"/>
                      </a:cubicBezTo>
                      <a:cubicBezTo>
                        <a:pt x="567" y="546"/>
                        <a:pt x="548" y="571"/>
                        <a:pt x="568" y="570"/>
                      </a:cubicBezTo>
                      <a:cubicBezTo>
                        <a:pt x="588" y="569"/>
                        <a:pt x="578" y="538"/>
                        <a:pt x="578" y="538"/>
                      </a:cubicBezTo>
                      <a:lnTo>
                        <a:pt x="591" y="531"/>
                      </a:lnTo>
                      <a:close/>
                      <a:moveTo>
                        <a:pt x="338" y="618"/>
                      </a:moveTo>
                      <a:cubicBezTo>
                        <a:pt x="338" y="618"/>
                        <a:pt x="321" y="605"/>
                        <a:pt x="312" y="606"/>
                      </a:cubicBezTo>
                      <a:cubicBezTo>
                        <a:pt x="292" y="608"/>
                        <a:pt x="299" y="628"/>
                        <a:pt x="299" y="628"/>
                      </a:cubicBezTo>
                      <a:cubicBezTo>
                        <a:pt x="299" y="628"/>
                        <a:pt x="282" y="622"/>
                        <a:pt x="272" y="624"/>
                      </a:cubicBezTo>
                      <a:cubicBezTo>
                        <a:pt x="262" y="626"/>
                        <a:pt x="269" y="648"/>
                        <a:pt x="269" y="648"/>
                      </a:cubicBezTo>
                      <a:cubicBezTo>
                        <a:pt x="257" y="659"/>
                        <a:pt x="257" y="659"/>
                        <a:pt x="257" y="659"/>
                      </a:cubicBezTo>
                      <a:cubicBezTo>
                        <a:pt x="257" y="659"/>
                        <a:pt x="270" y="667"/>
                        <a:pt x="276" y="674"/>
                      </a:cubicBezTo>
                      <a:cubicBezTo>
                        <a:pt x="282" y="681"/>
                        <a:pt x="305" y="695"/>
                        <a:pt x="305" y="695"/>
                      </a:cubicBezTo>
                      <a:cubicBezTo>
                        <a:pt x="305" y="695"/>
                        <a:pt x="299" y="664"/>
                        <a:pt x="314" y="654"/>
                      </a:cubicBezTo>
                      <a:cubicBezTo>
                        <a:pt x="329" y="644"/>
                        <a:pt x="351" y="672"/>
                        <a:pt x="351" y="672"/>
                      </a:cubicBezTo>
                      <a:cubicBezTo>
                        <a:pt x="351" y="672"/>
                        <a:pt x="356" y="650"/>
                        <a:pt x="358" y="638"/>
                      </a:cubicBezTo>
                      <a:cubicBezTo>
                        <a:pt x="360" y="626"/>
                        <a:pt x="351" y="615"/>
                        <a:pt x="351" y="615"/>
                      </a:cubicBezTo>
                      <a:lnTo>
                        <a:pt x="338" y="618"/>
                      </a:lnTo>
                      <a:close/>
                      <a:moveTo>
                        <a:pt x="241" y="709"/>
                      </a:moveTo>
                      <a:cubicBezTo>
                        <a:pt x="241" y="698"/>
                        <a:pt x="256" y="689"/>
                        <a:pt x="256" y="689"/>
                      </a:cubicBezTo>
                      <a:cubicBezTo>
                        <a:pt x="255" y="677"/>
                        <a:pt x="232" y="662"/>
                        <a:pt x="232" y="662"/>
                      </a:cubicBezTo>
                      <a:cubicBezTo>
                        <a:pt x="232" y="662"/>
                        <a:pt x="231" y="652"/>
                        <a:pt x="224" y="649"/>
                      </a:cubicBezTo>
                      <a:cubicBezTo>
                        <a:pt x="217" y="646"/>
                        <a:pt x="212" y="648"/>
                        <a:pt x="212" y="648"/>
                      </a:cubicBezTo>
                      <a:cubicBezTo>
                        <a:pt x="212" y="648"/>
                        <a:pt x="191" y="634"/>
                        <a:pt x="184" y="634"/>
                      </a:cubicBezTo>
                      <a:cubicBezTo>
                        <a:pt x="177" y="634"/>
                        <a:pt x="168" y="646"/>
                        <a:pt x="168" y="646"/>
                      </a:cubicBezTo>
                      <a:cubicBezTo>
                        <a:pt x="143" y="660"/>
                        <a:pt x="143" y="660"/>
                        <a:pt x="143" y="660"/>
                      </a:cubicBezTo>
                      <a:cubicBezTo>
                        <a:pt x="162" y="693"/>
                        <a:pt x="162" y="693"/>
                        <a:pt x="162" y="693"/>
                      </a:cubicBezTo>
                      <a:cubicBezTo>
                        <a:pt x="174" y="687"/>
                        <a:pt x="174" y="687"/>
                        <a:pt x="174" y="687"/>
                      </a:cubicBezTo>
                      <a:cubicBezTo>
                        <a:pt x="174" y="687"/>
                        <a:pt x="167" y="668"/>
                        <a:pt x="175" y="672"/>
                      </a:cubicBezTo>
                      <a:cubicBezTo>
                        <a:pt x="183" y="676"/>
                        <a:pt x="195" y="697"/>
                        <a:pt x="195" y="697"/>
                      </a:cubicBezTo>
                      <a:cubicBezTo>
                        <a:pt x="194" y="722"/>
                        <a:pt x="194" y="722"/>
                        <a:pt x="194" y="722"/>
                      </a:cubicBezTo>
                      <a:cubicBezTo>
                        <a:pt x="182" y="727"/>
                        <a:pt x="182" y="727"/>
                        <a:pt x="182" y="727"/>
                      </a:cubicBezTo>
                      <a:cubicBezTo>
                        <a:pt x="182" y="727"/>
                        <a:pt x="193" y="774"/>
                        <a:pt x="203" y="776"/>
                      </a:cubicBezTo>
                      <a:cubicBezTo>
                        <a:pt x="213" y="778"/>
                        <a:pt x="211" y="746"/>
                        <a:pt x="211" y="746"/>
                      </a:cubicBezTo>
                      <a:cubicBezTo>
                        <a:pt x="232" y="753"/>
                        <a:pt x="232" y="753"/>
                        <a:pt x="232" y="753"/>
                      </a:cubicBezTo>
                      <a:cubicBezTo>
                        <a:pt x="232" y="753"/>
                        <a:pt x="229" y="780"/>
                        <a:pt x="233" y="780"/>
                      </a:cubicBezTo>
                      <a:cubicBezTo>
                        <a:pt x="237" y="780"/>
                        <a:pt x="251" y="756"/>
                        <a:pt x="251" y="756"/>
                      </a:cubicBezTo>
                      <a:cubicBezTo>
                        <a:pt x="251" y="756"/>
                        <a:pt x="241" y="720"/>
                        <a:pt x="241" y="709"/>
                      </a:cubicBezTo>
                      <a:close/>
                      <a:moveTo>
                        <a:pt x="183" y="693"/>
                      </a:moveTo>
                      <a:cubicBezTo>
                        <a:pt x="172" y="718"/>
                        <a:pt x="172" y="718"/>
                        <a:pt x="172" y="718"/>
                      </a:cubicBezTo>
                      <a:cubicBezTo>
                        <a:pt x="184" y="715"/>
                        <a:pt x="184" y="715"/>
                        <a:pt x="184" y="715"/>
                      </a:cubicBezTo>
                      <a:lnTo>
                        <a:pt x="183" y="693"/>
                      </a:lnTo>
                      <a:close/>
                      <a:moveTo>
                        <a:pt x="424" y="424"/>
                      </a:moveTo>
                      <a:cubicBezTo>
                        <a:pt x="432" y="423"/>
                        <a:pt x="432" y="423"/>
                        <a:pt x="432" y="423"/>
                      </a:cubicBezTo>
                      <a:cubicBezTo>
                        <a:pt x="431" y="407"/>
                        <a:pt x="431" y="407"/>
                        <a:pt x="431" y="407"/>
                      </a:cubicBezTo>
                      <a:cubicBezTo>
                        <a:pt x="425" y="405"/>
                        <a:pt x="425" y="405"/>
                        <a:pt x="425" y="405"/>
                      </a:cubicBezTo>
                      <a:cubicBezTo>
                        <a:pt x="415" y="392"/>
                        <a:pt x="415" y="392"/>
                        <a:pt x="415" y="392"/>
                      </a:cubicBezTo>
                      <a:cubicBezTo>
                        <a:pt x="411" y="400"/>
                        <a:pt x="411" y="400"/>
                        <a:pt x="411" y="400"/>
                      </a:cubicBezTo>
                      <a:cubicBezTo>
                        <a:pt x="419" y="409"/>
                        <a:pt x="419" y="409"/>
                        <a:pt x="419" y="409"/>
                      </a:cubicBezTo>
                      <a:lnTo>
                        <a:pt x="424" y="424"/>
                      </a:lnTo>
                      <a:close/>
                      <a:moveTo>
                        <a:pt x="372" y="57"/>
                      </a:moveTo>
                      <a:cubicBezTo>
                        <a:pt x="374" y="72"/>
                        <a:pt x="374" y="72"/>
                        <a:pt x="374" y="72"/>
                      </a:cubicBezTo>
                      <a:cubicBezTo>
                        <a:pt x="374" y="72"/>
                        <a:pt x="391" y="83"/>
                        <a:pt x="391" y="90"/>
                      </a:cubicBezTo>
                      <a:cubicBezTo>
                        <a:pt x="391" y="97"/>
                        <a:pt x="384" y="110"/>
                        <a:pt x="384" y="110"/>
                      </a:cubicBezTo>
                      <a:cubicBezTo>
                        <a:pt x="384" y="110"/>
                        <a:pt x="402" y="132"/>
                        <a:pt x="397" y="133"/>
                      </a:cubicBezTo>
                      <a:cubicBezTo>
                        <a:pt x="391" y="134"/>
                        <a:pt x="359" y="125"/>
                        <a:pt x="354" y="123"/>
                      </a:cubicBezTo>
                      <a:cubicBezTo>
                        <a:pt x="348" y="122"/>
                        <a:pt x="369" y="143"/>
                        <a:pt x="369" y="143"/>
                      </a:cubicBezTo>
                      <a:cubicBezTo>
                        <a:pt x="352" y="161"/>
                        <a:pt x="352" y="161"/>
                        <a:pt x="352" y="161"/>
                      </a:cubicBezTo>
                      <a:cubicBezTo>
                        <a:pt x="352" y="161"/>
                        <a:pt x="358" y="173"/>
                        <a:pt x="361" y="179"/>
                      </a:cubicBezTo>
                      <a:cubicBezTo>
                        <a:pt x="363" y="184"/>
                        <a:pt x="390" y="198"/>
                        <a:pt x="390" y="198"/>
                      </a:cubicBezTo>
                      <a:cubicBezTo>
                        <a:pt x="390" y="198"/>
                        <a:pt x="381" y="231"/>
                        <a:pt x="404" y="230"/>
                      </a:cubicBezTo>
                      <a:cubicBezTo>
                        <a:pt x="414" y="229"/>
                        <a:pt x="398" y="211"/>
                        <a:pt x="410" y="211"/>
                      </a:cubicBezTo>
                      <a:cubicBezTo>
                        <a:pt x="423" y="211"/>
                        <a:pt x="433" y="211"/>
                        <a:pt x="433" y="211"/>
                      </a:cubicBezTo>
                      <a:cubicBezTo>
                        <a:pt x="437" y="205"/>
                        <a:pt x="437" y="205"/>
                        <a:pt x="437" y="205"/>
                      </a:cubicBezTo>
                      <a:cubicBezTo>
                        <a:pt x="412" y="189"/>
                        <a:pt x="412" y="189"/>
                        <a:pt x="412" y="189"/>
                      </a:cubicBezTo>
                      <a:cubicBezTo>
                        <a:pt x="399" y="189"/>
                        <a:pt x="399" y="189"/>
                        <a:pt x="399" y="189"/>
                      </a:cubicBezTo>
                      <a:cubicBezTo>
                        <a:pt x="399" y="189"/>
                        <a:pt x="365" y="176"/>
                        <a:pt x="381" y="169"/>
                      </a:cubicBezTo>
                      <a:cubicBezTo>
                        <a:pt x="398" y="162"/>
                        <a:pt x="409" y="179"/>
                        <a:pt x="409" y="179"/>
                      </a:cubicBezTo>
                      <a:cubicBezTo>
                        <a:pt x="409" y="179"/>
                        <a:pt x="423" y="168"/>
                        <a:pt x="433" y="166"/>
                      </a:cubicBezTo>
                      <a:cubicBezTo>
                        <a:pt x="442" y="165"/>
                        <a:pt x="513" y="202"/>
                        <a:pt x="519" y="198"/>
                      </a:cubicBezTo>
                      <a:cubicBezTo>
                        <a:pt x="524" y="194"/>
                        <a:pt x="505" y="155"/>
                        <a:pt x="523" y="148"/>
                      </a:cubicBezTo>
                      <a:cubicBezTo>
                        <a:pt x="541" y="141"/>
                        <a:pt x="539" y="157"/>
                        <a:pt x="557" y="147"/>
                      </a:cubicBezTo>
                      <a:cubicBezTo>
                        <a:pt x="575" y="137"/>
                        <a:pt x="578" y="130"/>
                        <a:pt x="578" y="130"/>
                      </a:cubicBezTo>
                      <a:cubicBezTo>
                        <a:pt x="542" y="107"/>
                        <a:pt x="542" y="107"/>
                        <a:pt x="542" y="107"/>
                      </a:cubicBezTo>
                      <a:cubicBezTo>
                        <a:pt x="542" y="107"/>
                        <a:pt x="542" y="83"/>
                        <a:pt x="535" y="78"/>
                      </a:cubicBezTo>
                      <a:cubicBezTo>
                        <a:pt x="528" y="72"/>
                        <a:pt x="523" y="96"/>
                        <a:pt x="523" y="96"/>
                      </a:cubicBezTo>
                      <a:cubicBezTo>
                        <a:pt x="523" y="96"/>
                        <a:pt x="455" y="80"/>
                        <a:pt x="440" y="69"/>
                      </a:cubicBezTo>
                      <a:cubicBezTo>
                        <a:pt x="424" y="58"/>
                        <a:pt x="350" y="0"/>
                        <a:pt x="340" y="11"/>
                      </a:cubicBezTo>
                      <a:cubicBezTo>
                        <a:pt x="330" y="22"/>
                        <a:pt x="372" y="57"/>
                        <a:pt x="372" y="57"/>
                      </a:cubicBezTo>
                      <a:close/>
                      <a:moveTo>
                        <a:pt x="194" y="984"/>
                      </a:moveTo>
                      <a:cubicBezTo>
                        <a:pt x="209" y="984"/>
                        <a:pt x="209" y="984"/>
                        <a:pt x="209" y="984"/>
                      </a:cubicBezTo>
                      <a:cubicBezTo>
                        <a:pt x="192" y="972"/>
                        <a:pt x="192" y="972"/>
                        <a:pt x="192" y="972"/>
                      </a:cubicBezTo>
                      <a:lnTo>
                        <a:pt x="194" y="984"/>
                      </a:lnTo>
                      <a:close/>
                      <a:moveTo>
                        <a:pt x="208" y="933"/>
                      </a:moveTo>
                      <a:cubicBezTo>
                        <a:pt x="210" y="942"/>
                        <a:pt x="214" y="942"/>
                        <a:pt x="214" y="942"/>
                      </a:cubicBezTo>
                      <a:cubicBezTo>
                        <a:pt x="224" y="944"/>
                        <a:pt x="225" y="934"/>
                        <a:pt x="225" y="934"/>
                      </a:cubicBezTo>
                      <a:cubicBezTo>
                        <a:pt x="225" y="934"/>
                        <a:pt x="240" y="933"/>
                        <a:pt x="233" y="922"/>
                      </a:cubicBezTo>
                      <a:cubicBezTo>
                        <a:pt x="226" y="912"/>
                        <a:pt x="205" y="924"/>
                        <a:pt x="208" y="933"/>
                      </a:cubicBezTo>
                      <a:close/>
                      <a:moveTo>
                        <a:pt x="214" y="956"/>
                      </a:moveTo>
                      <a:cubicBezTo>
                        <a:pt x="204" y="952"/>
                        <a:pt x="205" y="961"/>
                        <a:pt x="205" y="961"/>
                      </a:cubicBezTo>
                      <a:cubicBezTo>
                        <a:pt x="220" y="968"/>
                        <a:pt x="225" y="960"/>
                        <a:pt x="214" y="956"/>
                      </a:cubicBezTo>
                      <a:close/>
                      <a:moveTo>
                        <a:pt x="230" y="810"/>
                      </a:moveTo>
                      <a:cubicBezTo>
                        <a:pt x="230" y="814"/>
                        <a:pt x="217" y="820"/>
                        <a:pt x="217" y="820"/>
                      </a:cubicBezTo>
                      <a:cubicBezTo>
                        <a:pt x="234" y="829"/>
                        <a:pt x="234" y="829"/>
                        <a:pt x="234" y="829"/>
                      </a:cubicBezTo>
                      <a:cubicBezTo>
                        <a:pt x="234" y="829"/>
                        <a:pt x="230" y="806"/>
                        <a:pt x="230" y="810"/>
                      </a:cubicBezTo>
                      <a:close/>
                      <a:moveTo>
                        <a:pt x="252" y="792"/>
                      </a:moveTo>
                      <a:cubicBezTo>
                        <a:pt x="252" y="796"/>
                        <a:pt x="248" y="805"/>
                        <a:pt x="248" y="805"/>
                      </a:cubicBezTo>
                      <a:cubicBezTo>
                        <a:pt x="257" y="825"/>
                        <a:pt x="257" y="825"/>
                        <a:pt x="257" y="825"/>
                      </a:cubicBezTo>
                      <a:cubicBezTo>
                        <a:pt x="258" y="814"/>
                        <a:pt x="258" y="814"/>
                        <a:pt x="258" y="814"/>
                      </a:cubicBezTo>
                      <a:cubicBezTo>
                        <a:pt x="258" y="814"/>
                        <a:pt x="252" y="788"/>
                        <a:pt x="252" y="792"/>
                      </a:cubicBezTo>
                      <a:close/>
                      <a:moveTo>
                        <a:pt x="32" y="1144"/>
                      </a:moveTo>
                      <a:cubicBezTo>
                        <a:pt x="36" y="1144"/>
                        <a:pt x="54" y="1138"/>
                        <a:pt x="54" y="1138"/>
                      </a:cubicBezTo>
                      <a:cubicBezTo>
                        <a:pt x="36" y="1129"/>
                        <a:pt x="36" y="1129"/>
                        <a:pt x="36" y="1129"/>
                      </a:cubicBezTo>
                      <a:cubicBezTo>
                        <a:pt x="36" y="1129"/>
                        <a:pt x="28" y="1144"/>
                        <a:pt x="32" y="1144"/>
                      </a:cubicBezTo>
                      <a:close/>
                      <a:moveTo>
                        <a:pt x="81" y="1117"/>
                      </a:moveTo>
                      <a:cubicBezTo>
                        <a:pt x="72" y="1100"/>
                        <a:pt x="72" y="1100"/>
                        <a:pt x="72" y="1100"/>
                      </a:cubicBezTo>
                      <a:cubicBezTo>
                        <a:pt x="72" y="1110"/>
                        <a:pt x="72" y="1110"/>
                        <a:pt x="72" y="1110"/>
                      </a:cubicBezTo>
                      <a:cubicBezTo>
                        <a:pt x="70" y="1126"/>
                        <a:pt x="85" y="1133"/>
                        <a:pt x="90" y="1125"/>
                      </a:cubicBezTo>
                      <a:cubicBezTo>
                        <a:pt x="96" y="1117"/>
                        <a:pt x="81" y="1117"/>
                        <a:pt x="81" y="1117"/>
                      </a:cubicBezTo>
                      <a:close/>
                      <a:moveTo>
                        <a:pt x="16" y="1134"/>
                      </a:moveTo>
                      <a:cubicBezTo>
                        <a:pt x="0" y="1133"/>
                        <a:pt x="9" y="1150"/>
                        <a:pt x="9" y="1150"/>
                      </a:cubicBezTo>
                      <a:cubicBezTo>
                        <a:pt x="21" y="1153"/>
                        <a:pt x="32" y="1136"/>
                        <a:pt x="16" y="1134"/>
                      </a:cubicBezTo>
                      <a:close/>
                      <a:moveTo>
                        <a:pt x="118" y="1033"/>
                      </a:moveTo>
                      <a:cubicBezTo>
                        <a:pt x="118" y="1041"/>
                        <a:pt x="129" y="1041"/>
                        <a:pt x="129" y="1041"/>
                      </a:cubicBezTo>
                      <a:cubicBezTo>
                        <a:pt x="136" y="1029"/>
                        <a:pt x="118" y="1025"/>
                        <a:pt x="118" y="1033"/>
                      </a:cubicBezTo>
                      <a:close/>
                      <a:moveTo>
                        <a:pt x="184" y="1008"/>
                      </a:moveTo>
                      <a:cubicBezTo>
                        <a:pt x="174" y="1018"/>
                        <a:pt x="165" y="1050"/>
                        <a:pt x="165" y="1050"/>
                      </a:cubicBezTo>
                      <a:cubicBezTo>
                        <a:pt x="178" y="1053"/>
                        <a:pt x="178" y="1053"/>
                        <a:pt x="178" y="1053"/>
                      </a:cubicBezTo>
                      <a:cubicBezTo>
                        <a:pt x="178" y="1053"/>
                        <a:pt x="190" y="1032"/>
                        <a:pt x="186" y="1032"/>
                      </a:cubicBezTo>
                      <a:cubicBezTo>
                        <a:pt x="182" y="1032"/>
                        <a:pt x="198" y="1014"/>
                        <a:pt x="198" y="1014"/>
                      </a:cubicBezTo>
                      <a:cubicBezTo>
                        <a:pt x="198" y="1014"/>
                        <a:pt x="193" y="997"/>
                        <a:pt x="184" y="1008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4" name="Israel">
                  <a:extLst>
                    <a:ext uri="{FF2B5EF4-FFF2-40B4-BE49-F238E27FC236}">
                      <a16:creationId xmlns:a16="http://schemas.microsoft.com/office/drawing/2014/main" id="{1FE3A9AC-E4F9-6532-E187-EC72B45943B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95826" y="3077543"/>
                  <a:ext cx="36518" cy="120594"/>
                </a:xfrm>
                <a:custGeom>
                  <a:avLst/>
                  <a:gdLst>
                    <a:gd name="T0" fmla="*/ 0 w 67"/>
                    <a:gd name="T1" fmla="*/ 113 h 216"/>
                    <a:gd name="T2" fmla="*/ 36 w 67"/>
                    <a:gd name="T3" fmla="*/ 206 h 216"/>
                    <a:gd name="T4" fmla="*/ 41 w 67"/>
                    <a:gd name="T5" fmla="*/ 216 h 216"/>
                    <a:gd name="T6" fmla="*/ 45 w 67"/>
                    <a:gd name="T7" fmla="*/ 163 h 216"/>
                    <a:gd name="T8" fmla="*/ 56 w 67"/>
                    <a:gd name="T9" fmla="*/ 139 h 216"/>
                    <a:gd name="T10" fmla="*/ 57 w 67"/>
                    <a:gd name="T11" fmla="*/ 120 h 216"/>
                    <a:gd name="T12" fmla="*/ 51 w 67"/>
                    <a:gd name="T13" fmla="*/ 112 h 216"/>
                    <a:gd name="T14" fmla="*/ 53 w 67"/>
                    <a:gd name="T15" fmla="*/ 107 h 216"/>
                    <a:gd name="T16" fmla="*/ 47 w 67"/>
                    <a:gd name="T17" fmla="*/ 105 h 216"/>
                    <a:gd name="T18" fmla="*/ 33 w 67"/>
                    <a:gd name="T19" fmla="*/ 113 h 216"/>
                    <a:gd name="T20" fmla="*/ 32 w 67"/>
                    <a:gd name="T21" fmla="*/ 91 h 216"/>
                    <a:gd name="T22" fmla="*/ 32 w 67"/>
                    <a:gd name="T23" fmla="*/ 72 h 216"/>
                    <a:gd name="T24" fmla="*/ 39 w 67"/>
                    <a:gd name="T25" fmla="*/ 53 h 216"/>
                    <a:gd name="T26" fmla="*/ 57 w 67"/>
                    <a:gd name="T27" fmla="*/ 52 h 216"/>
                    <a:gd name="T28" fmla="*/ 57 w 67"/>
                    <a:gd name="T29" fmla="*/ 50 h 216"/>
                    <a:gd name="T30" fmla="*/ 60 w 67"/>
                    <a:gd name="T31" fmla="*/ 41 h 216"/>
                    <a:gd name="T32" fmla="*/ 57 w 67"/>
                    <a:gd name="T33" fmla="*/ 11 h 216"/>
                    <a:gd name="T34" fmla="*/ 67 w 67"/>
                    <a:gd name="T35" fmla="*/ 0 h 216"/>
                    <a:gd name="T36" fmla="*/ 52 w 67"/>
                    <a:gd name="T37" fmla="*/ 3 h 216"/>
                    <a:gd name="T38" fmla="*/ 48 w 67"/>
                    <a:gd name="T39" fmla="*/ 20 h 216"/>
                    <a:gd name="T40" fmla="*/ 34 w 67"/>
                    <a:gd name="T41" fmla="*/ 21 h 216"/>
                    <a:gd name="T42" fmla="*/ 27 w 67"/>
                    <a:gd name="T43" fmla="*/ 34 h 216"/>
                    <a:gd name="T44" fmla="*/ 22 w 67"/>
                    <a:gd name="T45" fmla="*/ 39 h 216"/>
                    <a:gd name="T46" fmla="*/ 27 w 67"/>
                    <a:gd name="T47" fmla="*/ 63 h 216"/>
                    <a:gd name="T48" fmla="*/ 13 w 67"/>
                    <a:gd name="T49" fmla="*/ 89 h 216"/>
                    <a:gd name="T50" fmla="*/ 11 w 67"/>
                    <a:gd name="T51" fmla="*/ 105 h 216"/>
                    <a:gd name="T52" fmla="*/ 0 w 67"/>
                    <a:gd name="T53" fmla="*/ 113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7" h="216">
                      <a:moveTo>
                        <a:pt x="0" y="113"/>
                      </a:moveTo>
                      <a:cubicBezTo>
                        <a:pt x="36" y="206"/>
                        <a:pt x="36" y="206"/>
                        <a:pt x="36" y="206"/>
                      </a:cubicBezTo>
                      <a:cubicBezTo>
                        <a:pt x="41" y="216"/>
                        <a:pt x="41" y="216"/>
                        <a:pt x="41" y="216"/>
                      </a:cubicBezTo>
                      <a:cubicBezTo>
                        <a:pt x="41" y="216"/>
                        <a:pt x="45" y="175"/>
                        <a:pt x="45" y="163"/>
                      </a:cubicBezTo>
                      <a:cubicBezTo>
                        <a:pt x="45" y="151"/>
                        <a:pt x="53" y="146"/>
                        <a:pt x="56" y="139"/>
                      </a:cubicBezTo>
                      <a:cubicBezTo>
                        <a:pt x="59" y="132"/>
                        <a:pt x="61" y="124"/>
                        <a:pt x="57" y="120"/>
                      </a:cubicBezTo>
                      <a:cubicBezTo>
                        <a:pt x="53" y="116"/>
                        <a:pt x="51" y="116"/>
                        <a:pt x="51" y="112"/>
                      </a:cubicBezTo>
                      <a:cubicBezTo>
                        <a:pt x="51" y="111"/>
                        <a:pt x="52" y="109"/>
                        <a:pt x="53" y="107"/>
                      </a:cubicBezTo>
                      <a:cubicBezTo>
                        <a:pt x="50" y="105"/>
                        <a:pt x="48" y="104"/>
                        <a:pt x="47" y="105"/>
                      </a:cubicBezTo>
                      <a:cubicBezTo>
                        <a:pt x="44" y="106"/>
                        <a:pt x="39" y="121"/>
                        <a:pt x="33" y="113"/>
                      </a:cubicBezTo>
                      <a:cubicBezTo>
                        <a:pt x="26" y="105"/>
                        <a:pt x="31" y="97"/>
                        <a:pt x="32" y="91"/>
                      </a:cubicBezTo>
                      <a:cubicBezTo>
                        <a:pt x="33" y="85"/>
                        <a:pt x="32" y="72"/>
                        <a:pt x="32" y="72"/>
                      </a:cubicBezTo>
                      <a:cubicBezTo>
                        <a:pt x="32" y="72"/>
                        <a:pt x="33" y="57"/>
                        <a:pt x="39" y="53"/>
                      </a:cubicBezTo>
                      <a:cubicBezTo>
                        <a:pt x="43" y="51"/>
                        <a:pt x="52" y="51"/>
                        <a:pt x="57" y="52"/>
                      </a:cubicBezTo>
                      <a:cubicBezTo>
                        <a:pt x="57" y="50"/>
                        <a:pt x="57" y="50"/>
                        <a:pt x="57" y="50"/>
                      </a:cubicBezTo>
                      <a:cubicBezTo>
                        <a:pt x="60" y="41"/>
                        <a:pt x="60" y="41"/>
                        <a:pt x="60" y="41"/>
                      </a:cubicBezTo>
                      <a:cubicBezTo>
                        <a:pt x="57" y="11"/>
                        <a:pt x="57" y="11"/>
                        <a:pt x="57" y="11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52" y="3"/>
                        <a:pt x="52" y="3"/>
                        <a:pt x="52" y="3"/>
                      </a:cubicBezTo>
                      <a:cubicBezTo>
                        <a:pt x="52" y="3"/>
                        <a:pt x="53" y="13"/>
                        <a:pt x="48" y="20"/>
                      </a:cubicBezTo>
                      <a:cubicBezTo>
                        <a:pt x="43" y="27"/>
                        <a:pt x="34" y="21"/>
                        <a:pt x="34" y="21"/>
                      </a:cubicBezTo>
                      <a:cubicBezTo>
                        <a:pt x="27" y="34"/>
                        <a:pt x="27" y="34"/>
                        <a:pt x="27" y="34"/>
                      </a:cubicBezTo>
                      <a:cubicBezTo>
                        <a:pt x="22" y="39"/>
                        <a:pt x="22" y="39"/>
                        <a:pt x="22" y="39"/>
                      </a:cubicBezTo>
                      <a:cubicBezTo>
                        <a:pt x="23" y="52"/>
                        <a:pt x="27" y="63"/>
                        <a:pt x="27" y="63"/>
                      </a:cubicBezTo>
                      <a:cubicBezTo>
                        <a:pt x="13" y="89"/>
                        <a:pt x="13" y="89"/>
                        <a:pt x="13" y="89"/>
                      </a:cubicBezTo>
                      <a:cubicBezTo>
                        <a:pt x="11" y="105"/>
                        <a:pt x="11" y="105"/>
                        <a:pt x="11" y="105"/>
                      </a:cubicBezTo>
                      <a:lnTo>
                        <a:pt x="0" y="113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5" name="Iraq">
                  <a:extLst>
                    <a:ext uri="{FF2B5EF4-FFF2-40B4-BE49-F238E27FC236}">
                      <a16:creationId xmlns:a16="http://schemas.microsoft.com/office/drawing/2014/main" id="{6D87E8A2-873E-3126-B625-23858649156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605383" y="2958536"/>
                  <a:ext cx="254044" cy="247535"/>
                </a:xfrm>
                <a:custGeom>
                  <a:avLst/>
                  <a:gdLst>
                    <a:gd name="T0" fmla="*/ 448 w 454"/>
                    <a:gd name="T1" fmla="*/ 378 h 442"/>
                    <a:gd name="T2" fmla="*/ 432 w 454"/>
                    <a:gd name="T3" fmla="*/ 365 h 442"/>
                    <a:gd name="T4" fmla="*/ 428 w 454"/>
                    <a:gd name="T5" fmla="*/ 346 h 442"/>
                    <a:gd name="T6" fmla="*/ 415 w 454"/>
                    <a:gd name="T7" fmla="*/ 340 h 442"/>
                    <a:gd name="T8" fmla="*/ 415 w 454"/>
                    <a:gd name="T9" fmla="*/ 295 h 442"/>
                    <a:gd name="T10" fmla="*/ 393 w 454"/>
                    <a:gd name="T11" fmla="*/ 270 h 442"/>
                    <a:gd name="T12" fmla="*/ 380 w 454"/>
                    <a:gd name="T13" fmla="*/ 258 h 442"/>
                    <a:gd name="T14" fmla="*/ 348 w 454"/>
                    <a:gd name="T15" fmla="*/ 240 h 442"/>
                    <a:gd name="T16" fmla="*/ 335 w 454"/>
                    <a:gd name="T17" fmla="*/ 239 h 442"/>
                    <a:gd name="T18" fmla="*/ 335 w 454"/>
                    <a:gd name="T19" fmla="*/ 212 h 442"/>
                    <a:gd name="T20" fmla="*/ 291 w 454"/>
                    <a:gd name="T21" fmla="*/ 182 h 442"/>
                    <a:gd name="T22" fmla="*/ 299 w 454"/>
                    <a:gd name="T23" fmla="*/ 168 h 442"/>
                    <a:gd name="T24" fmla="*/ 291 w 454"/>
                    <a:gd name="T25" fmla="*/ 154 h 442"/>
                    <a:gd name="T26" fmla="*/ 305 w 454"/>
                    <a:gd name="T27" fmla="*/ 148 h 442"/>
                    <a:gd name="T28" fmla="*/ 304 w 454"/>
                    <a:gd name="T29" fmla="*/ 135 h 442"/>
                    <a:gd name="T30" fmla="*/ 305 w 454"/>
                    <a:gd name="T31" fmla="*/ 126 h 442"/>
                    <a:gd name="T32" fmla="*/ 318 w 454"/>
                    <a:gd name="T33" fmla="*/ 118 h 442"/>
                    <a:gd name="T34" fmla="*/ 307 w 454"/>
                    <a:gd name="T35" fmla="*/ 97 h 442"/>
                    <a:gd name="T36" fmla="*/ 318 w 454"/>
                    <a:gd name="T37" fmla="*/ 80 h 442"/>
                    <a:gd name="T38" fmla="*/ 299 w 454"/>
                    <a:gd name="T39" fmla="*/ 85 h 442"/>
                    <a:gd name="T40" fmla="*/ 288 w 454"/>
                    <a:gd name="T41" fmla="*/ 73 h 442"/>
                    <a:gd name="T42" fmla="*/ 274 w 454"/>
                    <a:gd name="T43" fmla="*/ 71 h 442"/>
                    <a:gd name="T44" fmla="*/ 265 w 454"/>
                    <a:gd name="T45" fmla="*/ 50 h 442"/>
                    <a:gd name="T46" fmla="*/ 249 w 454"/>
                    <a:gd name="T47" fmla="*/ 8 h 442"/>
                    <a:gd name="T48" fmla="*/ 222 w 454"/>
                    <a:gd name="T49" fmla="*/ 19 h 442"/>
                    <a:gd name="T50" fmla="*/ 210 w 454"/>
                    <a:gd name="T51" fmla="*/ 1 h 442"/>
                    <a:gd name="T52" fmla="*/ 196 w 454"/>
                    <a:gd name="T53" fmla="*/ 10 h 442"/>
                    <a:gd name="T54" fmla="*/ 179 w 454"/>
                    <a:gd name="T55" fmla="*/ 1 h 442"/>
                    <a:gd name="T56" fmla="*/ 153 w 454"/>
                    <a:gd name="T57" fmla="*/ 1 h 442"/>
                    <a:gd name="T58" fmla="*/ 142 w 454"/>
                    <a:gd name="T59" fmla="*/ 17 h 442"/>
                    <a:gd name="T60" fmla="*/ 140 w 454"/>
                    <a:gd name="T61" fmla="*/ 17 h 442"/>
                    <a:gd name="T62" fmla="*/ 124 w 454"/>
                    <a:gd name="T63" fmla="*/ 37 h 442"/>
                    <a:gd name="T64" fmla="*/ 92 w 454"/>
                    <a:gd name="T65" fmla="*/ 53 h 442"/>
                    <a:gd name="T66" fmla="*/ 103 w 454"/>
                    <a:gd name="T67" fmla="*/ 75 h 442"/>
                    <a:gd name="T68" fmla="*/ 107 w 454"/>
                    <a:gd name="T69" fmla="*/ 110 h 442"/>
                    <a:gd name="T70" fmla="*/ 98 w 454"/>
                    <a:gd name="T71" fmla="*/ 129 h 442"/>
                    <a:gd name="T72" fmla="*/ 104 w 454"/>
                    <a:gd name="T73" fmla="*/ 154 h 442"/>
                    <a:gd name="T74" fmla="*/ 43 w 454"/>
                    <a:gd name="T75" fmla="*/ 181 h 442"/>
                    <a:gd name="T76" fmla="*/ 0 w 454"/>
                    <a:gd name="T77" fmla="*/ 216 h 442"/>
                    <a:gd name="T78" fmla="*/ 0 w 454"/>
                    <a:gd name="T79" fmla="*/ 216 h 442"/>
                    <a:gd name="T80" fmla="*/ 12 w 454"/>
                    <a:gd name="T81" fmla="*/ 246 h 442"/>
                    <a:gd name="T82" fmla="*/ 12 w 454"/>
                    <a:gd name="T83" fmla="*/ 260 h 442"/>
                    <a:gd name="T84" fmla="*/ 29 w 454"/>
                    <a:gd name="T85" fmla="*/ 269 h 442"/>
                    <a:gd name="T86" fmla="*/ 28 w 454"/>
                    <a:gd name="T87" fmla="*/ 278 h 442"/>
                    <a:gd name="T88" fmla="*/ 44 w 454"/>
                    <a:gd name="T89" fmla="*/ 287 h 442"/>
                    <a:gd name="T90" fmla="*/ 78 w 454"/>
                    <a:gd name="T91" fmla="*/ 287 h 442"/>
                    <a:gd name="T92" fmla="*/ 127 w 454"/>
                    <a:gd name="T93" fmla="*/ 321 h 442"/>
                    <a:gd name="T94" fmla="*/ 160 w 454"/>
                    <a:gd name="T95" fmla="*/ 341 h 442"/>
                    <a:gd name="T96" fmla="*/ 288 w 454"/>
                    <a:gd name="T97" fmla="*/ 438 h 442"/>
                    <a:gd name="T98" fmla="*/ 376 w 454"/>
                    <a:gd name="T99" fmla="*/ 442 h 442"/>
                    <a:gd name="T100" fmla="*/ 376 w 454"/>
                    <a:gd name="T101" fmla="*/ 442 h 442"/>
                    <a:gd name="T102" fmla="*/ 387 w 454"/>
                    <a:gd name="T103" fmla="*/ 422 h 442"/>
                    <a:gd name="T104" fmla="*/ 396 w 454"/>
                    <a:gd name="T105" fmla="*/ 395 h 442"/>
                    <a:gd name="T106" fmla="*/ 411 w 454"/>
                    <a:gd name="T107" fmla="*/ 393 h 442"/>
                    <a:gd name="T108" fmla="*/ 431 w 454"/>
                    <a:gd name="T109" fmla="*/ 393 h 442"/>
                    <a:gd name="T110" fmla="*/ 433 w 454"/>
                    <a:gd name="T111" fmla="*/ 398 h 442"/>
                    <a:gd name="T112" fmla="*/ 451 w 454"/>
                    <a:gd name="T113" fmla="*/ 392 h 442"/>
                    <a:gd name="T114" fmla="*/ 454 w 454"/>
                    <a:gd name="T115" fmla="*/ 387 h 442"/>
                    <a:gd name="T116" fmla="*/ 448 w 454"/>
                    <a:gd name="T117" fmla="*/ 378 h 4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454" h="442">
                      <a:moveTo>
                        <a:pt x="448" y="378"/>
                      </a:moveTo>
                      <a:cubicBezTo>
                        <a:pt x="447" y="369"/>
                        <a:pt x="432" y="365"/>
                        <a:pt x="432" y="365"/>
                      </a:cubicBezTo>
                      <a:cubicBezTo>
                        <a:pt x="428" y="346"/>
                        <a:pt x="428" y="346"/>
                        <a:pt x="428" y="346"/>
                      </a:cubicBezTo>
                      <a:cubicBezTo>
                        <a:pt x="428" y="346"/>
                        <a:pt x="423" y="346"/>
                        <a:pt x="415" y="340"/>
                      </a:cubicBezTo>
                      <a:cubicBezTo>
                        <a:pt x="407" y="334"/>
                        <a:pt x="415" y="295"/>
                        <a:pt x="415" y="295"/>
                      </a:cubicBezTo>
                      <a:cubicBezTo>
                        <a:pt x="393" y="270"/>
                        <a:pt x="393" y="270"/>
                        <a:pt x="393" y="270"/>
                      </a:cubicBezTo>
                      <a:cubicBezTo>
                        <a:pt x="393" y="270"/>
                        <a:pt x="391" y="258"/>
                        <a:pt x="380" y="258"/>
                      </a:cubicBezTo>
                      <a:cubicBezTo>
                        <a:pt x="369" y="258"/>
                        <a:pt x="348" y="240"/>
                        <a:pt x="348" y="240"/>
                      </a:cubicBezTo>
                      <a:cubicBezTo>
                        <a:pt x="335" y="239"/>
                        <a:pt x="335" y="239"/>
                        <a:pt x="335" y="239"/>
                      </a:cubicBezTo>
                      <a:cubicBezTo>
                        <a:pt x="335" y="212"/>
                        <a:pt x="335" y="212"/>
                        <a:pt x="335" y="212"/>
                      </a:cubicBezTo>
                      <a:cubicBezTo>
                        <a:pt x="335" y="212"/>
                        <a:pt x="293" y="191"/>
                        <a:pt x="291" y="182"/>
                      </a:cubicBezTo>
                      <a:cubicBezTo>
                        <a:pt x="289" y="173"/>
                        <a:pt x="299" y="168"/>
                        <a:pt x="299" y="168"/>
                      </a:cubicBezTo>
                      <a:cubicBezTo>
                        <a:pt x="299" y="168"/>
                        <a:pt x="290" y="161"/>
                        <a:pt x="291" y="154"/>
                      </a:cubicBezTo>
                      <a:cubicBezTo>
                        <a:pt x="292" y="147"/>
                        <a:pt x="305" y="148"/>
                        <a:pt x="305" y="148"/>
                      </a:cubicBezTo>
                      <a:cubicBezTo>
                        <a:pt x="304" y="135"/>
                        <a:pt x="304" y="135"/>
                        <a:pt x="304" y="135"/>
                      </a:cubicBezTo>
                      <a:cubicBezTo>
                        <a:pt x="305" y="126"/>
                        <a:pt x="305" y="126"/>
                        <a:pt x="305" y="126"/>
                      </a:cubicBezTo>
                      <a:cubicBezTo>
                        <a:pt x="305" y="126"/>
                        <a:pt x="315" y="126"/>
                        <a:pt x="318" y="118"/>
                      </a:cubicBezTo>
                      <a:cubicBezTo>
                        <a:pt x="321" y="110"/>
                        <a:pt x="307" y="101"/>
                        <a:pt x="307" y="97"/>
                      </a:cubicBezTo>
                      <a:cubicBezTo>
                        <a:pt x="307" y="93"/>
                        <a:pt x="323" y="84"/>
                        <a:pt x="318" y="80"/>
                      </a:cubicBezTo>
                      <a:cubicBezTo>
                        <a:pt x="313" y="76"/>
                        <a:pt x="299" y="85"/>
                        <a:pt x="299" y="85"/>
                      </a:cubicBezTo>
                      <a:cubicBezTo>
                        <a:pt x="288" y="73"/>
                        <a:pt x="288" y="73"/>
                        <a:pt x="288" y="73"/>
                      </a:cubicBezTo>
                      <a:cubicBezTo>
                        <a:pt x="274" y="71"/>
                        <a:pt x="274" y="71"/>
                        <a:pt x="274" y="71"/>
                      </a:cubicBezTo>
                      <a:cubicBezTo>
                        <a:pt x="274" y="71"/>
                        <a:pt x="277" y="61"/>
                        <a:pt x="265" y="50"/>
                      </a:cubicBezTo>
                      <a:cubicBezTo>
                        <a:pt x="256" y="42"/>
                        <a:pt x="251" y="19"/>
                        <a:pt x="249" y="8"/>
                      </a:cubicBezTo>
                      <a:cubicBezTo>
                        <a:pt x="222" y="19"/>
                        <a:pt x="222" y="19"/>
                        <a:pt x="222" y="19"/>
                      </a:cubicBezTo>
                      <a:cubicBezTo>
                        <a:pt x="222" y="19"/>
                        <a:pt x="224" y="2"/>
                        <a:pt x="210" y="1"/>
                      </a:cubicBezTo>
                      <a:cubicBezTo>
                        <a:pt x="196" y="0"/>
                        <a:pt x="204" y="8"/>
                        <a:pt x="196" y="10"/>
                      </a:cubicBezTo>
                      <a:cubicBezTo>
                        <a:pt x="188" y="12"/>
                        <a:pt x="179" y="1"/>
                        <a:pt x="179" y="1"/>
                      </a:cubicBezTo>
                      <a:cubicBezTo>
                        <a:pt x="153" y="1"/>
                        <a:pt x="153" y="1"/>
                        <a:pt x="153" y="1"/>
                      </a:cubicBezTo>
                      <a:cubicBezTo>
                        <a:pt x="153" y="1"/>
                        <a:pt x="154" y="14"/>
                        <a:pt x="142" y="17"/>
                      </a:cubicBezTo>
                      <a:cubicBezTo>
                        <a:pt x="141" y="17"/>
                        <a:pt x="141" y="17"/>
                        <a:pt x="140" y="17"/>
                      </a:cubicBezTo>
                      <a:cubicBezTo>
                        <a:pt x="138" y="24"/>
                        <a:pt x="133" y="33"/>
                        <a:pt x="124" y="37"/>
                      </a:cubicBezTo>
                      <a:cubicBezTo>
                        <a:pt x="108" y="44"/>
                        <a:pt x="96" y="39"/>
                        <a:pt x="92" y="53"/>
                      </a:cubicBezTo>
                      <a:cubicBezTo>
                        <a:pt x="88" y="67"/>
                        <a:pt x="103" y="75"/>
                        <a:pt x="103" y="75"/>
                      </a:cubicBezTo>
                      <a:cubicBezTo>
                        <a:pt x="103" y="75"/>
                        <a:pt x="111" y="105"/>
                        <a:pt x="107" y="110"/>
                      </a:cubicBezTo>
                      <a:cubicBezTo>
                        <a:pt x="103" y="115"/>
                        <a:pt x="97" y="122"/>
                        <a:pt x="98" y="129"/>
                      </a:cubicBezTo>
                      <a:cubicBezTo>
                        <a:pt x="99" y="136"/>
                        <a:pt x="116" y="145"/>
                        <a:pt x="104" y="154"/>
                      </a:cubicBezTo>
                      <a:cubicBezTo>
                        <a:pt x="92" y="163"/>
                        <a:pt x="43" y="181"/>
                        <a:pt x="43" y="181"/>
                      </a:cubicBezTo>
                      <a:cubicBezTo>
                        <a:pt x="0" y="216"/>
                        <a:pt x="0" y="216"/>
                        <a:pt x="0" y="216"/>
                      </a:cubicBezTo>
                      <a:cubicBezTo>
                        <a:pt x="0" y="216"/>
                        <a:pt x="0" y="216"/>
                        <a:pt x="0" y="216"/>
                      </a:cubicBezTo>
                      <a:cubicBezTo>
                        <a:pt x="12" y="246"/>
                        <a:pt x="12" y="246"/>
                        <a:pt x="12" y="246"/>
                      </a:cubicBezTo>
                      <a:cubicBezTo>
                        <a:pt x="12" y="260"/>
                        <a:pt x="12" y="260"/>
                        <a:pt x="12" y="260"/>
                      </a:cubicBezTo>
                      <a:cubicBezTo>
                        <a:pt x="29" y="269"/>
                        <a:pt x="29" y="269"/>
                        <a:pt x="29" y="269"/>
                      </a:cubicBezTo>
                      <a:cubicBezTo>
                        <a:pt x="28" y="278"/>
                        <a:pt x="28" y="278"/>
                        <a:pt x="28" y="278"/>
                      </a:cubicBezTo>
                      <a:cubicBezTo>
                        <a:pt x="28" y="278"/>
                        <a:pt x="35" y="288"/>
                        <a:pt x="44" y="287"/>
                      </a:cubicBezTo>
                      <a:cubicBezTo>
                        <a:pt x="53" y="286"/>
                        <a:pt x="78" y="287"/>
                        <a:pt x="78" y="287"/>
                      </a:cubicBezTo>
                      <a:cubicBezTo>
                        <a:pt x="78" y="287"/>
                        <a:pt x="115" y="315"/>
                        <a:pt x="127" y="321"/>
                      </a:cubicBezTo>
                      <a:cubicBezTo>
                        <a:pt x="139" y="327"/>
                        <a:pt x="160" y="341"/>
                        <a:pt x="160" y="341"/>
                      </a:cubicBezTo>
                      <a:cubicBezTo>
                        <a:pt x="288" y="438"/>
                        <a:pt x="288" y="438"/>
                        <a:pt x="288" y="438"/>
                      </a:cubicBezTo>
                      <a:cubicBezTo>
                        <a:pt x="288" y="438"/>
                        <a:pt x="339" y="439"/>
                        <a:pt x="376" y="442"/>
                      </a:cubicBezTo>
                      <a:cubicBezTo>
                        <a:pt x="376" y="442"/>
                        <a:pt x="376" y="442"/>
                        <a:pt x="376" y="442"/>
                      </a:cubicBezTo>
                      <a:cubicBezTo>
                        <a:pt x="379" y="438"/>
                        <a:pt x="386" y="431"/>
                        <a:pt x="387" y="422"/>
                      </a:cubicBezTo>
                      <a:cubicBezTo>
                        <a:pt x="389" y="410"/>
                        <a:pt x="396" y="395"/>
                        <a:pt x="396" y="395"/>
                      </a:cubicBezTo>
                      <a:cubicBezTo>
                        <a:pt x="411" y="393"/>
                        <a:pt x="411" y="393"/>
                        <a:pt x="411" y="393"/>
                      </a:cubicBezTo>
                      <a:cubicBezTo>
                        <a:pt x="431" y="393"/>
                        <a:pt x="431" y="393"/>
                        <a:pt x="431" y="393"/>
                      </a:cubicBezTo>
                      <a:cubicBezTo>
                        <a:pt x="433" y="398"/>
                        <a:pt x="433" y="398"/>
                        <a:pt x="433" y="398"/>
                      </a:cubicBezTo>
                      <a:cubicBezTo>
                        <a:pt x="451" y="392"/>
                        <a:pt x="451" y="392"/>
                        <a:pt x="451" y="392"/>
                      </a:cubicBezTo>
                      <a:cubicBezTo>
                        <a:pt x="454" y="387"/>
                        <a:pt x="454" y="387"/>
                        <a:pt x="454" y="387"/>
                      </a:cubicBezTo>
                      <a:cubicBezTo>
                        <a:pt x="451" y="384"/>
                        <a:pt x="448" y="381"/>
                        <a:pt x="448" y="378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6" name="Iran">
                  <a:extLst>
                    <a:ext uri="{FF2B5EF4-FFF2-40B4-BE49-F238E27FC236}">
                      <a16:creationId xmlns:a16="http://schemas.microsoft.com/office/drawing/2014/main" id="{F2F2573B-3E48-ED17-0FDE-BB028B67F83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14939" y="2885544"/>
                  <a:ext cx="536668" cy="441121"/>
                </a:xfrm>
                <a:custGeom>
                  <a:avLst/>
                  <a:gdLst>
                    <a:gd name="T0" fmla="*/ 900 w 959"/>
                    <a:gd name="T1" fmla="*/ 739 h 789"/>
                    <a:gd name="T2" fmla="*/ 931 w 959"/>
                    <a:gd name="T3" fmla="*/ 708 h 789"/>
                    <a:gd name="T4" fmla="*/ 933 w 959"/>
                    <a:gd name="T5" fmla="*/ 673 h 789"/>
                    <a:gd name="T6" fmla="*/ 929 w 959"/>
                    <a:gd name="T7" fmla="*/ 621 h 789"/>
                    <a:gd name="T8" fmla="*/ 884 w 959"/>
                    <a:gd name="T9" fmla="*/ 609 h 789"/>
                    <a:gd name="T10" fmla="*/ 825 w 959"/>
                    <a:gd name="T11" fmla="*/ 533 h 789"/>
                    <a:gd name="T12" fmla="*/ 839 w 959"/>
                    <a:gd name="T13" fmla="*/ 453 h 789"/>
                    <a:gd name="T14" fmla="*/ 784 w 959"/>
                    <a:gd name="T15" fmla="*/ 364 h 789"/>
                    <a:gd name="T16" fmla="*/ 780 w 959"/>
                    <a:gd name="T17" fmla="*/ 315 h 789"/>
                    <a:gd name="T18" fmla="*/ 784 w 959"/>
                    <a:gd name="T19" fmla="*/ 280 h 789"/>
                    <a:gd name="T20" fmla="*/ 799 w 959"/>
                    <a:gd name="T21" fmla="*/ 225 h 789"/>
                    <a:gd name="T22" fmla="*/ 786 w 959"/>
                    <a:gd name="T23" fmla="*/ 189 h 789"/>
                    <a:gd name="T24" fmla="*/ 723 w 959"/>
                    <a:gd name="T25" fmla="*/ 149 h 789"/>
                    <a:gd name="T26" fmla="*/ 648 w 959"/>
                    <a:gd name="T27" fmla="*/ 116 h 789"/>
                    <a:gd name="T28" fmla="*/ 602 w 959"/>
                    <a:gd name="T29" fmla="*/ 103 h 789"/>
                    <a:gd name="T30" fmla="*/ 556 w 959"/>
                    <a:gd name="T31" fmla="*/ 85 h 789"/>
                    <a:gd name="T32" fmla="*/ 487 w 959"/>
                    <a:gd name="T33" fmla="*/ 115 h 789"/>
                    <a:gd name="T34" fmla="*/ 452 w 959"/>
                    <a:gd name="T35" fmla="*/ 133 h 789"/>
                    <a:gd name="T36" fmla="*/ 399 w 959"/>
                    <a:gd name="T37" fmla="*/ 164 h 789"/>
                    <a:gd name="T38" fmla="*/ 309 w 959"/>
                    <a:gd name="T39" fmla="*/ 155 h 789"/>
                    <a:gd name="T40" fmla="*/ 233 w 959"/>
                    <a:gd name="T41" fmla="*/ 110 h 789"/>
                    <a:gd name="T42" fmla="*/ 199 w 959"/>
                    <a:gd name="T43" fmla="*/ 69 h 789"/>
                    <a:gd name="T44" fmla="*/ 181 w 959"/>
                    <a:gd name="T45" fmla="*/ 33 h 789"/>
                    <a:gd name="T46" fmla="*/ 128 w 959"/>
                    <a:gd name="T47" fmla="*/ 35 h 789"/>
                    <a:gd name="T48" fmla="*/ 45 w 959"/>
                    <a:gd name="T49" fmla="*/ 30 h 789"/>
                    <a:gd name="T50" fmla="*/ 0 w 959"/>
                    <a:gd name="T51" fmla="*/ 24 h 789"/>
                    <a:gd name="T52" fmla="*/ 24 w 959"/>
                    <a:gd name="T53" fmla="*/ 78 h 789"/>
                    <a:gd name="T54" fmla="*/ 37 w 959"/>
                    <a:gd name="T55" fmla="*/ 129 h 789"/>
                    <a:gd name="T56" fmla="*/ 79 w 959"/>
                    <a:gd name="T57" fmla="*/ 203 h 789"/>
                    <a:gd name="T58" fmla="*/ 123 w 959"/>
                    <a:gd name="T59" fmla="*/ 212 h 789"/>
                    <a:gd name="T60" fmla="*/ 110 w 959"/>
                    <a:gd name="T61" fmla="*/ 258 h 789"/>
                    <a:gd name="T62" fmla="*/ 96 w 959"/>
                    <a:gd name="T63" fmla="*/ 286 h 789"/>
                    <a:gd name="T64" fmla="*/ 140 w 959"/>
                    <a:gd name="T65" fmla="*/ 344 h 789"/>
                    <a:gd name="T66" fmla="*/ 185 w 959"/>
                    <a:gd name="T67" fmla="*/ 390 h 789"/>
                    <a:gd name="T68" fmla="*/ 220 w 959"/>
                    <a:gd name="T69" fmla="*/ 472 h 789"/>
                    <a:gd name="T70" fmla="*/ 253 w 959"/>
                    <a:gd name="T71" fmla="*/ 510 h 789"/>
                    <a:gd name="T72" fmla="*/ 298 w 959"/>
                    <a:gd name="T73" fmla="*/ 516 h 789"/>
                    <a:gd name="T74" fmla="*/ 316 w 959"/>
                    <a:gd name="T75" fmla="*/ 524 h 789"/>
                    <a:gd name="T76" fmla="*/ 338 w 959"/>
                    <a:gd name="T77" fmla="*/ 541 h 789"/>
                    <a:gd name="T78" fmla="*/ 371 w 959"/>
                    <a:gd name="T79" fmla="*/ 583 h 789"/>
                    <a:gd name="T80" fmla="*/ 387 w 959"/>
                    <a:gd name="T81" fmla="*/ 600 h 789"/>
                    <a:gd name="T82" fmla="*/ 431 w 959"/>
                    <a:gd name="T83" fmla="*/ 644 h 789"/>
                    <a:gd name="T84" fmla="*/ 526 w 959"/>
                    <a:gd name="T85" fmla="*/ 703 h 789"/>
                    <a:gd name="T86" fmla="*/ 565 w 959"/>
                    <a:gd name="T87" fmla="*/ 715 h 789"/>
                    <a:gd name="T88" fmla="*/ 606 w 959"/>
                    <a:gd name="T89" fmla="*/ 691 h 789"/>
                    <a:gd name="T90" fmla="*/ 641 w 959"/>
                    <a:gd name="T91" fmla="*/ 682 h 789"/>
                    <a:gd name="T92" fmla="*/ 718 w 959"/>
                    <a:gd name="T93" fmla="*/ 752 h 789"/>
                    <a:gd name="T94" fmla="*/ 805 w 959"/>
                    <a:gd name="T95" fmla="*/ 781 h 789"/>
                    <a:gd name="T96" fmla="*/ 889 w 959"/>
                    <a:gd name="T97" fmla="*/ 786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959" h="789">
                      <a:moveTo>
                        <a:pt x="890" y="786"/>
                      </a:moveTo>
                      <a:cubicBezTo>
                        <a:pt x="889" y="779"/>
                        <a:pt x="885" y="751"/>
                        <a:pt x="890" y="749"/>
                      </a:cubicBezTo>
                      <a:cubicBezTo>
                        <a:pt x="896" y="746"/>
                        <a:pt x="900" y="739"/>
                        <a:pt x="900" y="739"/>
                      </a:cubicBezTo>
                      <a:cubicBezTo>
                        <a:pt x="902" y="728"/>
                        <a:pt x="902" y="728"/>
                        <a:pt x="902" y="728"/>
                      </a:cubicBezTo>
                      <a:cubicBezTo>
                        <a:pt x="902" y="728"/>
                        <a:pt x="911" y="730"/>
                        <a:pt x="915" y="724"/>
                      </a:cubicBezTo>
                      <a:cubicBezTo>
                        <a:pt x="919" y="718"/>
                        <a:pt x="913" y="714"/>
                        <a:pt x="931" y="708"/>
                      </a:cubicBezTo>
                      <a:cubicBezTo>
                        <a:pt x="949" y="702"/>
                        <a:pt x="951" y="715"/>
                        <a:pt x="955" y="710"/>
                      </a:cubicBezTo>
                      <a:cubicBezTo>
                        <a:pt x="959" y="705"/>
                        <a:pt x="958" y="689"/>
                        <a:pt x="950" y="678"/>
                      </a:cubicBezTo>
                      <a:cubicBezTo>
                        <a:pt x="942" y="667"/>
                        <a:pt x="936" y="680"/>
                        <a:pt x="933" y="673"/>
                      </a:cubicBezTo>
                      <a:cubicBezTo>
                        <a:pt x="930" y="666"/>
                        <a:pt x="931" y="643"/>
                        <a:pt x="931" y="643"/>
                      </a:cubicBezTo>
                      <a:cubicBezTo>
                        <a:pt x="928" y="641"/>
                        <a:pt x="928" y="641"/>
                        <a:pt x="928" y="641"/>
                      </a:cubicBezTo>
                      <a:cubicBezTo>
                        <a:pt x="929" y="621"/>
                        <a:pt x="929" y="621"/>
                        <a:pt x="929" y="621"/>
                      </a:cubicBezTo>
                      <a:cubicBezTo>
                        <a:pt x="916" y="622"/>
                        <a:pt x="916" y="622"/>
                        <a:pt x="916" y="622"/>
                      </a:cubicBezTo>
                      <a:cubicBezTo>
                        <a:pt x="907" y="611"/>
                        <a:pt x="907" y="611"/>
                        <a:pt x="907" y="611"/>
                      </a:cubicBezTo>
                      <a:cubicBezTo>
                        <a:pt x="907" y="611"/>
                        <a:pt x="892" y="619"/>
                        <a:pt x="884" y="609"/>
                      </a:cubicBezTo>
                      <a:cubicBezTo>
                        <a:pt x="876" y="599"/>
                        <a:pt x="862" y="579"/>
                        <a:pt x="856" y="568"/>
                      </a:cubicBezTo>
                      <a:cubicBezTo>
                        <a:pt x="850" y="557"/>
                        <a:pt x="830" y="538"/>
                        <a:pt x="830" y="538"/>
                      </a:cubicBezTo>
                      <a:cubicBezTo>
                        <a:pt x="830" y="538"/>
                        <a:pt x="825" y="537"/>
                        <a:pt x="825" y="533"/>
                      </a:cubicBezTo>
                      <a:cubicBezTo>
                        <a:pt x="825" y="529"/>
                        <a:pt x="841" y="515"/>
                        <a:pt x="848" y="505"/>
                      </a:cubicBezTo>
                      <a:cubicBezTo>
                        <a:pt x="855" y="495"/>
                        <a:pt x="866" y="482"/>
                        <a:pt x="860" y="465"/>
                      </a:cubicBezTo>
                      <a:cubicBezTo>
                        <a:pt x="854" y="448"/>
                        <a:pt x="839" y="453"/>
                        <a:pt x="839" y="453"/>
                      </a:cubicBezTo>
                      <a:cubicBezTo>
                        <a:pt x="839" y="453"/>
                        <a:pt x="809" y="453"/>
                        <a:pt x="809" y="445"/>
                      </a:cubicBezTo>
                      <a:cubicBezTo>
                        <a:pt x="809" y="437"/>
                        <a:pt x="809" y="423"/>
                        <a:pt x="809" y="412"/>
                      </a:cubicBezTo>
                      <a:cubicBezTo>
                        <a:pt x="809" y="401"/>
                        <a:pt x="782" y="377"/>
                        <a:pt x="784" y="364"/>
                      </a:cubicBezTo>
                      <a:cubicBezTo>
                        <a:pt x="786" y="351"/>
                        <a:pt x="801" y="343"/>
                        <a:pt x="800" y="337"/>
                      </a:cubicBezTo>
                      <a:cubicBezTo>
                        <a:pt x="799" y="331"/>
                        <a:pt x="778" y="334"/>
                        <a:pt x="778" y="334"/>
                      </a:cubicBezTo>
                      <a:cubicBezTo>
                        <a:pt x="780" y="315"/>
                        <a:pt x="780" y="315"/>
                        <a:pt x="780" y="315"/>
                      </a:cubicBezTo>
                      <a:cubicBezTo>
                        <a:pt x="780" y="315"/>
                        <a:pt x="769" y="306"/>
                        <a:pt x="772" y="301"/>
                      </a:cubicBezTo>
                      <a:cubicBezTo>
                        <a:pt x="775" y="296"/>
                        <a:pt x="789" y="291"/>
                        <a:pt x="789" y="291"/>
                      </a:cubicBezTo>
                      <a:cubicBezTo>
                        <a:pt x="784" y="280"/>
                        <a:pt x="784" y="280"/>
                        <a:pt x="784" y="280"/>
                      </a:cubicBezTo>
                      <a:cubicBezTo>
                        <a:pt x="798" y="276"/>
                        <a:pt x="798" y="276"/>
                        <a:pt x="798" y="276"/>
                      </a:cubicBezTo>
                      <a:cubicBezTo>
                        <a:pt x="798" y="276"/>
                        <a:pt x="791" y="246"/>
                        <a:pt x="792" y="239"/>
                      </a:cubicBezTo>
                      <a:cubicBezTo>
                        <a:pt x="793" y="232"/>
                        <a:pt x="799" y="225"/>
                        <a:pt x="799" y="225"/>
                      </a:cubicBezTo>
                      <a:cubicBezTo>
                        <a:pt x="792" y="207"/>
                        <a:pt x="792" y="207"/>
                        <a:pt x="792" y="207"/>
                      </a:cubicBezTo>
                      <a:cubicBezTo>
                        <a:pt x="793" y="192"/>
                        <a:pt x="793" y="192"/>
                        <a:pt x="793" y="192"/>
                      </a:cubicBezTo>
                      <a:cubicBezTo>
                        <a:pt x="786" y="189"/>
                        <a:pt x="786" y="189"/>
                        <a:pt x="786" y="189"/>
                      </a:cubicBezTo>
                      <a:cubicBezTo>
                        <a:pt x="785" y="167"/>
                        <a:pt x="785" y="167"/>
                        <a:pt x="785" y="167"/>
                      </a:cubicBezTo>
                      <a:cubicBezTo>
                        <a:pt x="743" y="169"/>
                        <a:pt x="743" y="169"/>
                        <a:pt x="743" y="169"/>
                      </a:cubicBezTo>
                      <a:cubicBezTo>
                        <a:pt x="743" y="169"/>
                        <a:pt x="729" y="153"/>
                        <a:pt x="723" y="149"/>
                      </a:cubicBezTo>
                      <a:cubicBezTo>
                        <a:pt x="717" y="145"/>
                        <a:pt x="704" y="143"/>
                        <a:pt x="704" y="143"/>
                      </a:cubicBezTo>
                      <a:cubicBezTo>
                        <a:pt x="704" y="143"/>
                        <a:pt x="696" y="125"/>
                        <a:pt x="691" y="121"/>
                      </a:cubicBezTo>
                      <a:cubicBezTo>
                        <a:pt x="686" y="117"/>
                        <a:pt x="648" y="116"/>
                        <a:pt x="648" y="116"/>
                      </a:cubicBezTo>
                      <a:cubicBezTo>
                        <a:pt x="645" y="120"/>
                        <a:pt x="645" y="120"/>
                        <a:pt x="645" y="120"/>
                      </a:cubicBezTo>
                      <a:cubicBezTo>
                        <a:pt x="645" y="120"/>
                        <a:pt x="624" y="103"/>
                        <a:pt x="619" y="103"/>
                      </a:cubicBezTo>
                      <a:cubicBezTo>
                        <a:pt x="614" y="103"/>
                        <a:pt x="602" y="103"/>
                        <a:pt x="602" y="103"/>
                      </a:cubicBezTo>
                      <a:cubicBezTo>
                        <a:pt x="602" y="103"/>
                        <a:pt x="601" y="89"/>
                        <a:pt x="595" y="85"/>
                      </a:cubicBezTo>
                      <a:cubicBezTo>
                        <a:pt x="589" y="81"/>
                        <a:pt x="580" y="86"/>
                        <a:pt x="580" y="86"/>
                      </a:cubicBezTo>
                      <a:cubicBezTo>
                        <a:pt x="580" y="86"/>
                        <a:pt x="559" y="83"/>
                        <a:pt x="556" y="85"/>
                      </a:cubicBezTo>
                      <a:cubicBezTo>
                        <a:pt x="553" y="87"/>
                        <a:pt x="551" y="93"/>
                        <a:pt x="551" y="93"/>
                      </a:cubicBezTo>
                      <a:cubicBezTo>
                        <a:pt x="551" y="93"/>
                        <a:pt x="535" y="88"/>
                        <a:pt x="524" y="90"/>
                      </a:cubicBezTo>
                      <a:cubicBezTo>
                        <a:pt x="513" y="92"/>
                        <a:pt x="487" y="115"/>
                        <a:pt x="487" y="115"/>
                      </a:cubicBezTo>
                      <a:cubicBezTo>
                        <a:pt x="487" y="123"/>
                        <a:pt x="487" y="123"/>
                        <a:pt x="487" y="123"/>
                      </a:cubicBezTo>
                      <a:cubicBezTo>
                        <a:pt x="487" y="123"/>
                        <a:pt x="476" y="132"/>
                        <a:pt x="472" y="133"/>
                      </a:cubicBezTo>
                      <a:cubicBezTo>
                        <a:pt x="468" y="134"/>
                        <a:pt x="452" y="133"/>
                        <a:pt x="452" y="133"/>
                      </a:cubicBezTo>
                      <a:cubicBezTo>
                        <a:pt x="452" y="133"/>
                        <a:pt x="472" y="159"/>
                        <a:pt x="460" y="161"/>
                      </a:cubicBezTo>
                      <a:cubicBezTo>
                        <a:pt x="448" y="163"/>
                        <a:pt x="437" y="156"/>
                        <a:pt x="437" y="156"/>
                      </a:cubicBezTo>
                      <a:cubicBezTo>
                        <a:pt x="437" y="156"/>
                        <a:pt x="412" y="161"/>
                        <a:pt x="399" y="164"/>
                      </a:cubicBezTo>
                      <a:cubicBezTo>
                        <a:pt x="386" y="167"/>
                        <a:pt x="379" y="176"/>
                        <a:pt x="371" y="175"/>
                      </a:cubicBezTo>
                      <a:cubicBezTo>
                        <a:pt x="363" y="174"/>
                        <a:pt x="355" y="165"/>
                        <a:pt x="345" y="165"/>
                      </a:cubicBezTo>
                      <a:cubicBezTo>
                        <a:pt x="335" y="165"/>
                        <a:pt x="323" y="165"/>
                        <a:pt x="309" y="155"/>
                      </a:cubicBezTo>
                      <a:cubicBezTo>
                        <a:pt x="295" y="145"/>
                        <a:pt x="287" y="128"/>
                        <a:pt x="287" y="128"/>
                      </a:cubicBezTo>
                      <a:cubicBezTo>
                        <a:pt x="287" y="128"/>
                        <a:pt x="258" y="125"/>
                        <a:pt x="255" y="125"/>
                      </a:cubicBezTo>
                      <a:cubicBezTo>
                        <a:pt x="252" y="125"/>
                        <a:pt x="240" y="118"/>
                        <a:pt x="233" y="110"/>
                      </a:cubicBezTo>
                      <a:cubicBezTo>
                        <a:pt x="226" y="102"/>
                        <a:pt x="218" y="80"/>
                        <a:pt x="218" y="80"/>
                      </a:cubicBezTo>
                      <a:cubicBezTo>
                        <a:pt x="208" y="78"/>
                        <a:pt x="208" y="78"/>
                        <a:pt x="208" y="78"/>
                      </a:cubicBezTo>
                      <a:cubicBezTo>
                        <a:pt x="208" y="78"/>
                        <a:pt x="205" y="72"/>
                        <a:pt x="199" y="69"/>
                      </a:cubicBezTo>
                      <a:cubicBezTo>
                        <a:pt x="193" y="66"/>
                        <a:pt x="180" y="58"/>
                        <a:pt x="180" y="53"/>
                      </a:cubicBezTo>
                      <a:cubicBezTo>
                        <a:pt x="180" y="48"/>
                        <a:pt x="190" y="52"/>
                        <a:pt x="190" y="46"/>
                      </a:cubicBezTo>
                      <a:cubicBezTo>
                        <a:pt x="190" y="40"/>
                        <a:pt x="181" y="38"/>
                        <a:pt x="181" y="33"/>
                      </a:cubicBezTo>
                      <a:cubicBezTo>
                        <a:pt x="181" y="28"/>
                        <a:pt x="190" y="28"/>
                        <a:pt x="188" y="22"/>
                      </a:cubicBezTo>
                      <a:cubicBezTo>
                        <a:pt x="186" y="16"/>
                        <a:pt x="179" y="4"/>
                        <a:pt x="173" y="4"/>
                      </a:cubicBezTo>
                      <a:cubicBezTo>
                        <a:pt x="167" y="4"/>
                        <a:pt x="131" y="31"/>
                        <a:pt x="128" y="35"/>
                      </a:cubicBezTo>
                      <a:cubicBezTo>
                        <a:pt x="125" y="39"/>
                        <a:pt x="117" y="50"/>
                        <a:pt x="114" y="51"/>
                      </a:cubicBezTo>
                      <a:cubicBezTo>
                        <a:pt x="111" y="52"/>
                        <a:pt x="102" y="52"/>
                        <a:pt x="87" y="52"/>
                      </a:cubicBezTo>
                      <a:cubicBezTo>
                        <a:pt x="72" y="52"/>
                        <a:pt x="55" y="38"/>
                        <a:pt x="45" y="30"/>
                      </a:cubicBezTo>
                      <a:cubicBezTo>
                        <a:pt x="35" y="22"/>
                        <a:pt x="38" y="4"/>
                        <a:pt x="29" y="2"/>
                      </a:cubicBezTo>
                      <a:cubicBezTo>
                        <a:pt x="20" y="0"/>
                        <a:pt x="16" y="22"/>
                        <a:pt x="16" y="22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2" y="55"/>
                        <a:pt x="12" y="55"/>
                        <a:pt x="12" y="55"/>
                      </a:cubicBezTo>
                      <a:cubicBezTo>
                        <a:pt x="12" y="55"/>
                        <a:pt x="19" y="76"/>
                        <a:pt x="24" y="78"/>
                      </a:cubicBezTo>
                      <a:cubicBezTo>
                        <a:pt x="29" y="80"/>
                        <a:pt x="16" y="99"/>
                        <a:pt x="16" y="99"/>
                      </a:cubicBezTo>
                      <a:cubicBezTo>
                        <a:pt x="37" y="111"/>
                        <a:pt x="37" y="111"/>
                        <a:pt x="37" y="111"/>
                      </a:cubicBezTo>
                      <a:cubicBezTo>
                        <a:pt x="37" y="129"/>
                        <a:pt x="37" y="129"/>
                        <a:pt x="37" y="129"/>
                      </a:cubicBezTo>
                      <a:cubicBezTo>
                        <a:pt x="53" y="134"/>
                        <a:pt x="53" y="134"/>
                        <a:pt x="53" y="134"/>
                      </a:cubicBezTo>
                      <a:cubicBezTo>
                        <a:pt x="53" y="134"/>
                        <a:pt x="58" y="171"/>
                        <a:pt x="70" y="182"/>
                      </a:cubicBezTo>
                      <a:cubicBezTo>
                        <a:pt x="82" y="193"/>
                        <a:pt x="79" y="203"/>
                        <a:pt x="79" y="203"/>
                      </a:cubicBezTo>
                      <a:cubicBezTo>
                        <a:pt x="93" y="205"/>
                        <a:pt x="93" y="205"/>
                        <a:pt x="93" y="205"/>
                      </a:cubicBezTo>
                      <a:cubicBezTo>
                        <a:pt x="104" y="217"/>
                        <a:pt x="104" y="217"/>
                        <a:pt x="104" y="217"/>
                      </a:cubicBezTo>
                      <a:cubicBezTo>
                        <a:pt x="104" y="217"/>
                        <a:pt x="118" y="208"/>
                        <a:pt x="123" y="212"/>
                      </a:cubicBezTo>
                      <a:cubicBezTo>
                        <a:pt x="128" y="216"/>
                        <a:pt x="112" y="225"/>
                        <a:pt x="112" y="229"/>
                      </a:cubicBezTo>
                      <a:cubicBezTo>
                        <a:pt x="112" y="233"/>
                        <a:pt x="126" y="242"/>
                        <a:pt x="123" y="250"/>
                      </a:cubicBezTo>
                      <a:cubicBezTo>
                        <a:pt x="120" y="258"/>
                        <a:pt x="110" y="258"/>
                        <a:pt x="110" y="258"/>
                      </a:cubicBezTo>
                      <a:cubicBezTo>
                        <a:pt x="109" y="267"/>
                        <a:pt x="109" y="267"/>
                        <a:pt x="109" y="267"/>
                      </a:cubicBezTo>
                      <a:cubicBezTo>
                        <a:pt x="110" y="280"/>
                        <a:pt x="110" y="280"/>
                        <a:pt x="110" y="280"/>
                      </a:cubicBezTo>
                      <a:cubicBezTo>
                        <a:pt x="110" y="280"/>
                        <a:pt x="97" y="279"/>
                        <a:pt x="96" y="286"/>
                      </a:cubicBezTo>
                      <a:cubicBezTo>
                        <a:pt x="95" y="293"/>
                        <a:pt x="104" y="300"/>
                        <a:pt x="104" y="300"/>
                      </a:cubicBezTo>
                      <a:cubicBezTo>
                        <a:pt x="104" y="300"/>
                        <a:pt x="94" y="305"/>
                        <a:pt x="96" y="314"/>
                      </a:cubicBezTo>
                      <a:cubicBezTo>
                        <a:pt x="98" y="323"/>
                        <a:pt x="140" y="344"/>
                        <a:pt x="140" y="344"/>
                      </a:cubicBezTo>
                      <a:cubicBezTo>
                        <a:pt x="140" y="371"/>
                        <a:pt x="140" y="371"/>
                        <a:pt x="140" y="371"/>
                      </a:cubicBezTo>
                      <a:cubicBezTo>
                        <a:pt x="153" y="372"/>
                        <a:pt x="153" y="372"/>
                        <a:pt x="153" y="372"/>
                      </a:cubicBezTo>
                      <a:cubicBezTo>
                        <a:pt x="153" y="372"/>
                        <a:pt x="174" y="390"/>
                        <a:pt x="185" y="390"/>
                      </a:cubicBezTo>
                      <a:cubicBezTo>
                        <a:pt x="196" y="390"/>
                        <a:pt x="198" y="402"/>
                        <a:pt x="198" y="402"/>
                      </a:cubicBezTo>
                      <a:cubicBezTo>
                        <a:pt x="220" y="427"/>
                        <a:pt x="220" y="427"/>
                        <a:pt x="220" y="427"/>
                      </a:cubicBezTo>
                      <a:cubicBezTo>
                        <a:pt x="220" y="427"/>
                        <a:pt x="212" y="466"/>
                        <a:pt x="220" y="472"/>
                      </a:cubicBezTo>
                      <a:cubicBezTo>
                        <a:pt x="228" y="478"/>
                        <a:pt x="233" y="478"/>
                        <a:pt x="233" y="478"/>
                      </a:cubicBezTo>
                      <a:cubicBezTo>
                        <a:pt x="237" y="497"/>
                        <a:pt x="237" y="497"/>
                        <a:pt x="237" y="497"/>
                      </a:cubicBezTo>
                      <a:cubicBezTo>
                        <a:pt x="237" y="497"/>
                        <a:pt x="252" y="501"/>
                        <a:pt x="253" y="510"/>
                      </a:cubicBezTo>
                      <a:cubicBezTo>
                        <a:pt x="254" y="519"/>
                        <a:pt x="275" y="533"/>
                        <a:pt x="282" y="528"/>
                      </a:cubicBezTo>
                      <a:cubicBezTo>
                        <a:pt x="289" y="523"/>
                        <a:pt x="267" y="512"/>
                        <a:pt x="283" y="505"/>
                      </a:cubicBezTo>
                      <a:cubicBezTo>
                        <a:pt x="299" y="498"/>
                        <a:pt x="298" y="516"/>
                        <a:pt x="298" y="516"/>
                      </a:cubicBezTo>
                      <a:cubicBezTo>
                        <a:pt x="305" y="522"/>
                        <a:pt x="305" y="522"/>
                        <a:pt x="305" y="522"/>
                      </a:cubicBezTo>
                      <a:cubicBezTo>
                        <a:pt x="306" y="521"/>
                        <a:pt x="308" y="521"/>
                        <a:pt x="311" y="522"/>
                      </a:cubicBezTo>
                      <a:cubicBezTo>
                        <a:pt x="313" y="523"/>
                        <a:pt x="314" y="523"/>
                        <a:pt x="316" y="524"/>
                      </a:cubicBezTo>
                      <a:cubicBezTo>
                        <a:pt x="317" y="523"/>
                        <a:pt x="318" y="521"/>
                        <a:pt x="318" y="520"/>
                      </a:cubicBezTo>
                      <a:cubicBezTo>
                        <a:pt x="319" y="516"/>
                        <a:pt x="330" y="513"/>
                        <a:pt x="333" y="515"/>
                      </a:cubicBezTo>
                      <a:cubicBezTo>
                        <a:pt x="336" y="517"/>
                        <a:pt x="331" y="538"/>
                        <a:pt x="338" y="541"/>
                      </a:cubicBezTo>
                      <a:cubicBezTo>
                        <a:pt x="345" y="544"/>
                        <a:pt x="360" y="555"/>
                        <a:pt x="360" y="555"/>
                      </a:cubicBezTo>
                      <a:cubicBezTo>
                        <a:pt x="360" y="555"/>
                        <a:pt x="358" y="560"/>
                        <a:pt x="358" y="565"/>
                      </a:cubicBezTo>
                      <a:cubicBezTo>
                        <a:pt x="363" y="571"/>
                        <a:pt x="368" y="577"/>
                        <a:pt x="371" y="583"/>
                      </a:cubicBezTo>
                      <a:cubicBezTo>
                        <a:pt x="371" y="583"/>
                        <a:pt x="371" y="583"/>
                        <a:pt x="371" y="583"/>
                      </a:cubicBezTo>
                      <a:cubicBezTo>
                        <a:pt x="375" y="585"/>
                        <a:pt x="378" y="587"/>
                        <a:pt x="378" y="587"/>
                      </a:cubicBezTo>
                      <a:cubicBezTo>
                        <a:pt x="387" y="600"/>
                        <a:pt x="387" y="600"/>
                        <a:pt x="387" y="600"/>
                      </a:cubicBezTo>
                      <a:cubicBezTo>
                        <a:pt x="387" y="600"/>
                        <a:pt x="389" y="624"/>
                        <a:pt x="399" y="626"/>
                      </a:cubicBezTo>
                      <a:cubicBezTo>
                        <a:pt x="409" y="628"/>
                        <a:pt x="409" y="644"/>
                        <a:pt x="409" y="644"/>
                      </a:cubicBezTo>
                      <a:cubicBezTo>
                        <a:pt x="431" y="644"/>
                        <a:pt x="431" y="644"/>
                        <a:pt x="431" y="644"/>
                      </a:cubicBezTo>
                      <a:cubicBezTo>
                        <a:pt x="443" y="656"/>
                        <a:pt x="443" y="656"/>
                        <a:pt x="443" y="656"/>
                      </a:cubicBezTo>
                      <a:cubicBezTo>
                        <a:pt x="451" y="654"/>
                        <a:pt x="458" y="652"/>
                        <a:pt x="465" y="656"/>
                      </a:cubicBezTo>
                      <a:cubicBezTo>
                        <a:pt x="475" y="661"/>
                        <a:pt x="504" y="686"/>
                        <a:pt x="526" y="703"/>
                      </a:cubicBezTo>
                      <a:cubicBezTo>
                        <a:pt x="527" y="704"/>
                        <a:pt x="528" y="704"/>
                        <a:pt x="529" y="704"/>
                      </a:cubicBezTo>
                      <a:cubicBezTo>
                        <a:pt x="535" y="704"/>
                        <a:pt x="546" y="706"/>
                        <a:pt x="546" y="706"/>
                      </a:cubicBezTo>
                      <a:cubicBezTo>
                        <a:pt x="546" y="706"/>
                        <a:pt x="549" y="720"/>
                        <a:pt x="565" y="715"/>
                      </a:cubicBezTo>
                      <a:cubicBezTo>
                        <a:pt x="581" y="710"/>
                        <a:pt x="584" y="703"/>
                        <a:pt x="584" y="703"/>
                      </a:cubicBezTo>
                      <a:cubicBezTo>
                        <a:pt x="600" y="705"/>
                        <a:pt x="600" y="705"/>
                        <a:pt x="600" y="705"/>
                      </a:cubicBezTo>
                      <a:cubicBezTo>
                        <a:pt x="606" y="691"/>
                        <a:pt x="606" y="691"/>
                        <a:pt x="606" y="691"/>
                      </a:cubicBezTo>
                      <a:cubicBezTo>
                        <a:pt x="620" y="689"/>
                        <a:pt x="620" y="689"/>
                        <a:pt x="620" y="689"/>
                      </a:cubicBezTo>
                      <a:cubicBezTo>
                        <a:pt x="636" y="674"/>
                        <a:pt x="636" y="674"/>
                        <a:pt x="636" y="674"/>
                      </a:cubicBezTo>
                      <a:cubicBezTo>
                        <a:pt x="641" y="682"/>
                        <a:pt x="641" y="682"/>
                        <a:pt x="641" y="682"/>
                      </a:cubicBezTo>
                      <a:cubicBezTo>
                        <a:pt x="649" y="680"/>
                        <a:pt x="656" y="679"/>
                        <a:pt x="659" y="683"/>
                      </a:cubicBezTo>
                      <a:cubicBezTo>
                        <a:pt x="672" y="694"/>
                        <a:pt x="686" y="717"/>
                        <a:pt x="688" y="735"/>
                      </a:cubicBezTo>
                      <a:cubicBezTo>
                        <a:pt x="690" y="754"/>
                        <a:pt x="718" y="752"/>
                        <a:pt x="718" y="752"/>
                      </a:cubicBezTo>
                      <a:cubicBezTo>
                        <a:pt x="718" y="752"/>
                        <a:pt x="717" y="759"/>
                        <a:pt x="730" y="762"/>
                      </a:cubicBezTo>
                      <a:cubicBezTo>
                        <a:pt x="743" y="765"/>
                        <a:pt x="774" y="761"/>
                        <a:pt x="774" y="761"/>
                      </a:cubicBezTo>
                      <a:cubicBezTo>
                        <a:pt x="774" y="761"/>
                        <a:pt x="800" y="781"/>
                        <a:pt x="805" y="781"/>
                      </a:cubicBezTo>
                      <a:cubicBezTo>
                        <a:pt x="810" y="781"/>
                        <a:pt x="828" y="772"/>
                        <a:pt x="828" y="772"/>
                      </a:cubicBezTo>
                      <a:cubicBezTo>
                        <a:pt x="828" y="772"/>
                        <a:pt x="854" y="788"/>
                        <a:pt x="872" y="789"/>
                      </a:cubicBezTo>
                      <a:cubicBezTo>
                        <a:pt x="878" y="789"/>
                        <a:pt x="884" y="788"/>
                        <a:pt x="889" y="786"/>
                      </a:cubicBezTo>
                      <a:lnTo>
                        <a:pt x="890" y="78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7" name="Indonesia">
                  <a:extLst>
                    <a:ext uri="{FF2B5EF4-FFF2-40B4-BE49-F238E27FC236}">
                      <a16:creationId xmlns:a16="http://schemas.microsoft.com/office/drawing/2014/main" id="{A81D5B47-80B8-95B5-9B5E-017EF72CD4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8137586" y="3910594"/>
                  <a:ext cx="1220999" cy="491897"/>
                </a:xfrm>
                <a:custGeom>
                  <a:avLst/>
                  <a:gdLst>
                    <a:gd name="T0" fmla="*/ 455 w 2179"/>
                    <a:gd name="T1" fmla="*/ 287 h 879"/>
                    <a:gd name="T2" fmla="*/ 603 w 2179"/>
                    <a:gd name="T3" fmla="*/ 446 h 879"/>
                    <a:gd name="T4" fmla="*/ 558 w 2179"/>
                    <a:gd name="T5" fmla="*/ 443 h 879"/>
                    <a:gd name="T6" fmla="*/ 162 w 2179"/>
                    <a:gd name="T7" fmla="*/ 330 h 879"/>
                    <a:gd name="T8" fmla="*/ 40 w 2179"/>
                    <a:gd name="T9" fmla="*/ 174 h 879"/>
                    <a:gd name="T10" fmla="*/ 1708 w 2179"/>
                    <a:gd name="T11" fmla="*/ 314 h 879"/>
                    <a:gd name="T12" fmla="*/ 1627 w 2179"/>
                    <a:gd name="T13" fmla="*/ 412 h 879"/>
                    <a:gd name="T14" fmla="*/ 1950 w 2179"/>
                    <a:gd name="T15" fmla="*/ 413 h 879"/>
                    <a:gd name="T16" fmla="*/ 1124 w 2179"/>
                    <a:gd name="T17" fmla="*/ 485 h 879"/>
                    <a:gd name="T18" fmla="*/ 1210 w 2179"/>
                    <a:gd name="T19" fmla="*/ 476 h 879"/>
                    <a:gd name="T20" fmla="*/ 1285 w 2179"/>
                    <a:gd name="T21" fmla="*/ 614 h 879"/>
                    <a:gd name="T22" fmla="*/ 1291 w 2179"/>
                    <a:gd name="T23" fmla="*/ 446 h 879"/>
                    <a:gd name="T24" fmla="*/ 1240 w 2179"/>
                    <a:gd name="T25" fmla="*/ 370 h 879"/>
                    <a:gd name="T26" fmla="*/ 1415 w 2179"/>
                    <a:gd name="T27" fmla="*/ 258 h 879"/>
                    <a:gd name="T28" fmla="*/ 1253 w 2179"/>
                    <a:gd name="T29" fmla="*/ 232 h 879"/>
                    <a:gd name="T30" fmla="*/ 1328 w 2179"/>
                    <a:gd name="T31" fmla="*/ 387 h 879"/>
                    <a:gd name="T32" fmla="*/ 1127 w 2179"/>
                    <a:gd name="T33" fmla="*/ 743 h 879"/>
                    <a:gd name="T34" fmla="*/ 1542 w 2179"/>
                    <a:gd name="T35" fmla="*/ 370 h 879"/>
                    <a:gd name="T36" fmla="*/ 1603 w 2179"/>
                    <a:gd name="T37" fmla="*/ 288 h 879"/>
                    <a:gd name="T38" fmla="*/ 1548 w 2179"/>
                    <a:gd name="T39" fmla="*/ 230 h 879"/>
                    <a:gd name="T40" fmla="*/ 1517 w 2179"/>
                    <a:gd name="T41" fmla="*/ 471 h 879"/>
                    <a:gd name="T42" fmla="*/ 1634 w 2179"/>
                    <a:gd name="T43" fmla="*/ 448 h 879"/>
                    <a:gd name="T44" fmla="*/ 1654 w 2179"/>
                    <a:gd name="T45" fmla="*/ 509 h 879"/>
                    <a:gd name="T46" fmla="*/ 2007 w 2179"/>
                    <a:gd name="T47" fmla="*/ 423 h 879"/>
                    <a:gd name="T48" fmla="*/ 1820 w 2179"/>
                    <a:gd name="T49" fmla="*/ 350 h 879"/>
                    <a:gd name="T50" fmla="*/ 1749 w 2179"/>
                    <a:gd name="T51" fmla="*/ 393 h 879"/>
                    <a:gd name="T52" fmla="*/ 1790 w 2179"/>
                    <a:gd name="T53" fmla="*/ 530 h 879"/>
                    <a:gd name="T54" fmla="*/ 1964 w 2179"/>
                    <a:gd name="T55" fmla="*/ 567 h 879"/>
                    <a:gd name="T56" fmla="*/ 2077 w 2179"/>
                    <a:gd name="T57" fmla="*/ 729 h 879"/>
                    <a:gd name="T58" fmla="*/ 2168 w 2179"/>
                    <a:gd name="T59" fmla="*/ 726 h 879"/>
                    <a:gd name="T60" fmla="*/ 258 w 2179"/>
                    <a:gd name="T61" fmla="*/ 478 h 879"/>
                    <a:gd name="T62" fmla="*/ 2037 w 2179"/>
                    <a:gd name="T63" fmla="*/ 711 h 879"/>
                    <a:gd name="T64" fmla="*/ 1860 w 2179"/>
                    <a:gd name="T65" fmla="*/ 679 h 879"/>
                    <a:gd name="T66" fmla="*/ 1427 w 2179"/>
                    <a:gd name="T67" fmla="*/ 403 h 879"/>
                    <a:gd name="T68" fmla="*/ 863 w 2179"/>
                    <a:gd name="T69" fmla="*/ 677 h 879"/>
                    <a:gd name="T70" fmla="*/ 499 w 2179"/>
                    <a:gd name="T71" fmla="*/ 620 h 879"/>
                    <a:gd name="T72" fmla="*/ 450 w 2179"/>
                    <a:gd name="T73" fmla="*/ 413 h 879"/>
                    <a:gd name="T74" fmla="*/ 340 w 2179"/>
                    <a:gd name="T75" fmla="*/ 238 h 879"/>
                    <a:gd name="T76" fmla="*/ 151 w 2179"/>
                    <a:gd name="T77" fmla="*/ 72 h 879"/>
                    <a:gd name="T78" fmla="*/ 119 w 2179"/>
                    <a:gd name="T79" fmla="*/ 154 h 879"/>
                    <a:gd name="T80" fmla="*/ 275 w 2179"/>
                    <a:gd name="T81" fmla="*/ 408 h 879"/>
                    <a:gd name="T82" fmla="*/ 444 w 2179"/>
                    <a:gd name="T83" fmla="*/ 630 h 879"/>
                    <a:gd name="T84" fmla="*/ 1408 w 2179"/>
                    <a:gd name="T85" fmla="*/ 828 h 879"/>
                    <a:gd name="T86" fmla="*/ 778 w 2179"/>
                    <a:gd name="T87" fmla="*/ 674 h 879"/>
                    <a:gd name="T88" fmla="*/ 535 w 2179"/>
                    <a:gd name="T89" fmla="*/ 624 h 879"/>
                    <a:gd name="T90" fmla="*/ 705 w 2179"/>
                    <a:gd name="T91" fmla="*/ 728 h 879"/>
                    <a:gd name="T92" fmla="*/ 1004 w 2179"/>
                    <a:gd name="T93" fmla="*/ 484 h 879"/>
                    <a:gd name="T94" fmla="*/ 1139 w 2179"/>
                    <a:gd name="T95" fmla="*/ 271 h 879"/>
                    <a:gd name="T96" fmla="*/ 1086 w 2179"/>
                    <a:gd name="T97" fmla="*/ 110 h 879"/>
                    <a:gd name="T98" fmla="*/ 939 w 2179"/>
                    <a:gd name="T99" fmla="*/ 208 h 879"/>
                    <a:gd name="T100" fmla="*/ 712 w 2179"/>
                    <a:gd name="T101" fmla="*/ 247 h 879"/>
                    <a:gd name="T102" fmla="*/ 716 w 2179"/>
                    <a:gd name="T103" fmla="*/ 388 h 879"/>
                    <a:gd name="T104" fmla="*/ 822 w 2179"/>
                    <a:gd name="T105" fmla="*/ 472 h 879"/>
                    <a:gd name="T106" fmla="*/ 974 w 2179"/>
                    <a:gd name="T107" fmla="*/ 755 h 879"/>
                    <a:gd name="T108" fmla="*/ 1187 w 2179"/>
                    <a:gd name="T109" fmla="*/ 827 h 879"/>
                    <a:gd name="T110" fmla="*/ 1151 w 2179"/>
                    <a:gd name="T111" fmla="*/ 787 h 879"/>
                    <a:gd name="T112" fmla="*/ 1056 w 2179"/>
                    <a:gd name="T113" fmla="*/ 774 h 879"/>
                    <a:gd name="T114" fmla="*/ 1067 w 2179"/>
                    <a:gd name="T115" fmla="*/ 771 h 8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179" h="879">
                      <a:moveTo>
                        <a:pt x="1196" y="656"/>
                      </a:moveTo>
                      <a:cubicBezTo>
                        <a:pt x="1210" y="655"/>
                        <a:pt x="1210" y="655"/>
                        <a:pt x="1210" y="655"/>
                      </a:cubicBezTo>
                      <a:cubicBezTo>
                        <a:pt x="1218" y="637"/>
                        <a:pt x="1218" y="637"/>
                        <a:pt x="1218" y="637"/>
                      </a:cubicBezTo>
                      <a:cubicBezTo>
                        <a:pt x="1215" y="622"/>
                        <a:pt x="1215" y="622"/>
                        <a:pt x="1215" y="622"/>
                      </a:cubicBezTo>
                      <a:lnTo>
                        <a:pt x="1196" y="656"/>
                      </a:lnTo>
                      <a:close/>
                      <a:moveTo>
                        <a:pt x="453" y="310"/>
                      </a:moveTo>
                      <a:cubicBezTo>
                        <a:pt x="472" y="321"/>
                        <a:pt x="472" y="321"/>
                        <a:pt x="472" y="321"/>
                      </a:cubicBezTo>
                      <a:cubicBezTo>
                        <a:pt x="472" y="300"/>
                        <a:pt x="472" y="300"/>
                        <a:pt x="472" y="300"/>
                      </a:cubicBezTo>
                      <a:cubicBezTo>
                        <a:pt x="455" y="287"/>
                        <a:pt x="455" y="287"/>
                        <a:pt x="455" y="287"/>
                      </a:cubicBezTo>
                      <a:lnTo>
                        <a:pt x="453" y="310"/>
                      </a:lnTo>
                      <a:close/>
                      <a:moveTo>
                        <a:pt x="455" y="331"/>
                      </a:moveTo>
                      <a:cubicBezTo>
                        <a:pt x="441" y="344"/>
                        <a:pt x="441" y="344"/>
                        <a:pt x="441" y="344"/>
                      </a:cubicBezTo>
                      <a:cubicBezTo>
                        <a:pt x="458" y="365"/>
                        <a:pt x="458" y="365"/>
                        <a:pt x="458" y="365"/>
                      </a:cubicBezTo>
                      <a:lnTo>
                        <a:pt x="455" y="331"/>
                      </a:lnTo>
                      <a:close/>
                      <a:moveTo>
                        <a:pt x="611" y="478"/>
                      </a:moveTo>
                      <a:cubicBezTo>
                        <a:pt x="624" y="491"/>
                        <a:pt x="624" y="491"/>
                        <a:pt x="624" y="491"/>
                      </a:cubicBezTo>
                      <a:cubicBezTo>
                        <a:pt x="630" y="474"/>
                        <a:pt x="630" y="474"/>
                        <a:pt x="630" y="474"/>
                      </a:cubicBezTo>
                      <a:cubicBezTo>
                        <a:pt x="630" y="474"/>
                        <a:pt x="622" y="444"/>
                        <a:pt x="603" y="446"/>
                      </a:cubicBezTo>
                      <a:cubicBezTo>
                        <a:pt x="584" y="447"/>
                        <a:pt x="590" y="466"/>
                        <a:pt x="596" y="484"/>
                      </a:cubicBezTo>
                      <a:lnTo>
                        <a:pt x="611" y="478"/>
                      </a:lnTo>
                      <a:close/>
                      <a:moveTo>
                        <a:pt x="459" y="249"/>
                      </a:moveTo>
                      <a:cubicBezTo>
                        <a:pt x="454" y="237"/>
                        <a:pt x="440" y="244"/>
                        <a:pt x="450" y="260"/>
                      </a:cubicBezTo>
                      <a:cubicBezTo>
                        <a:pt x="461" y="279"/>
                        <a:pt x="464" y="261"/>
                        <a:pt x="459" y="249"/>
                      </a:cubicBezTo>
                      <a:close/>
                      <a:moveTo>
                        <a:pt x="507" y="418"/>
                      </a:moveTo>
                      <a:cubicBezTo>
                        <a:pt x="507" y="418"/>
                        <a:pt x="512" y="447"/>
                        <a:pt x="523" y="459"/>
                      </a:cubicBezTo>
                      <a:cubicBezTo>
                        <a:pt x="533" y="471"/>
                        <a:pt x="559" y="471"/>
                        <a:pt x="559" y="471"/>
                      </a:cubicBezTo>
                      <a:cubicBezTo>
                        <a:pt x="558" y="443"/>
                        <a:pt x="558" y="443"/>
                        <a:pt x="558" y="443"/>
                      </a:cubicBezTo>
                      <a:cubicBezTo>
                        <a:pt x="546" y="435"/>
                        <a:pt x="546" y="435"/>
                        <a:pt x="546" y="435"/>
                      </a:cubicBezTo>
                      <a:cubicBezTo>
                        <a:pt x="545" y="415"/>
                        <a:pt x="545" y="415"/>
                        <a:pt x="545" y="415"/>
                      </a:cubicBezTo>
                      <a:cubicBezTo>
                        <a:pt x="545" y="415"/>
                        <a:pt x="530" y="390"/>
                        <a:pt x="508" y="384"/>
                      </a:cubicBezTo>
                      <a:cubicBezTo>
                        <a:pt x="486" y="378"/>
                        <a:pt x="487" y="403"/>
                        <a:pt x="487" y="403"/>
                      </a:cubicBezTo>
                      <a:cubicBezTo>
                        <a:pt x="487" y="403"/>
                        <a:pt x="473" y="399"/>
                        <a:pt x="480" y="419"/>
                      </a:cubicBezTo>
                      <a:lnTo>
                        <a:pt x="507" y="418"/>
                      </a:lnTo>
                      <a:close/>
                      <a:moveTo>
                        <a:pt x="169" y="296"/>
                      </a:moveTo>
                      <a:cubicBezTo>
                        <a:pt x="154" y="310"/>
                        <a:pt x="154" y="310"/>
                        <a:pt x="154" y="310"/>
                      </a:cubicBezTo>
                      <a:cubicBezTo>
                        <a:pt x="162" y="330"/>
                        <a:pt x="162" y="330"/>
                        <a:pt x="162" y="330"/>
                      </a:cubicBezTo>
                      <a:cubicBezTo>
                        <a:pt x="162" y="330"/>
                        <a:pt x="152" y="348"/>
                        <a:pt x="164" y="344"/>
                      </a:cubicBezTo>
                      <a:cubicBezTo>
                        <a:pt x="171" y="341"/>
                        <a:pt x="168" y="316"/>
                        <a:pt x="168" y="316"/>
                      </a:cubicBezTo>
                      <a:cubicBezTo>
                        <a:pt x="175" y="307"/>
                        <a:pt x="175" y="307"/>
                        <a:pt x="175" y="307"/>
                      </a:cubicBezTo>
                      <a:lnTo>
                        <a:pt x="169" y="296"/>
                      </a:lnTo>
                      <a:close/>
                      <a:moveTo>
                        <a:pt x="180" y="360"/>
                      </a:moveTo>
                      <a:cubicBezTo>
                        <a:pt x="170" y="372"/>
                        <a:pt x="176" y="414"/>
                        <a:pt x="198" y="410"/>
                      </a:cubicBezTo>
                      <a:cubicBezTo>
                        <a:pt x="207" y="408"/>
                        <a:pt x="191" y="348"/>
                        <a:pt x="180" y="360"/>
                      </a:cubicBezTo>
                      <a:close/>
                      <a:moveTo>
                        <a:pt x="35" y="152"/>
                      </a:moveTo>
                      <a:cubicBezTo>
                        <a:pt x="30" y="157"/>
                        <a:pt x="28" y="173"/>
                        <a:pt x="40" y="174"/>
                      </a:cubicBezTo>
                      <a:cubicBezTo>
                        <a:pt x="52" y="176"/>
                        <a:pt x="55" y="189"/>
                        <a:pt x="66" y="181"/>
                      </a:cubicBezTo>
                      <a:cubicBezTo>
                        <a:pt x="73" y="175"/>
                        <a:pt x="40" y="146"/>
                        <a:pt x="35" y="152"/>
                      </a:cubicBezTo>
                      <a:close/>
                      <a:moveTo>
                        <a:pt x="112" y="221"/>
                      </a:moveTo>
                      <a:cubicBezTo>
                        <a:pt x="104" y="221"/>
                        <a:pt x="94" y="234"/>
                        <a:pt x="106" y="242"/>
                      </a:cubicBezTo>
                      <a:cubicBezTo>
                        <a:pt x="118" y="250"/>
                        <a:pt x="122" y="280"/>
                        <a:pt x="134" y="280"/>
                      </a:cubicBezTo>
                      <a:cubicBezTo>
                        <a:pt x="141" y="280"/>
                        <a:pt x="142" y="249"/>
                        <a:pt x="138" y="245"/>
                      </a:cubicBezTo>
                      <a:cubicBezTo>
                        <a:pt x="134" y="241"/>
                        <a:pt x="120" y="221"/>
                        <a:pt x="112" y="221"/>
                      </a:cubicBezTo>
                      <a:close/>
                      <a:moveTo>
                        <a:pt x="1721" y="328"/>
                      </a:moveTo>
                      <a:cubicBezTo>
                        <a:pt x="1721" y="328"/>
                        <a:pt x="1725" y="316"/>
                        <a:pt x="1708" y="314"/>
                      </a:cubicBezTo>
                      <a:cubicBezTo>
                        <a:pt x="1691" y="311"/>
                        <a:pt x="1680" y="316"/>
                        <a:pt x="1680" y="316"/>
                      </a:cubicBezTo>
                      <a:cubicBezTo>
                        <a:pt x="1684" y="334"/>
                        <a:pt x="1684" y="334"/>
                        <a:pt x="1684" y="334"/>
                      </a:cubicBezTo>
                      <a:cubicBezTo>
                        <a:pt x="1693" y="333"/>
                        <a:pt x="1721" y="328"/>
                        <a:pt x="1721" y="328"/>
                      </a:cubicBezTo>
                      <a:close/>
                      <a:moveTo>
                        <a:pt x="230" y="434"/>
                      </a:moveTo>
                      <a:cubicBezTo>
                        <a:pt x="239" y="433"/>
                        <a:pt x="226" y="413"/>
                        <a:pt x="218" y="418"/>
                      </a:cubicBezTo>
                      <a:cubicBezTo>
                        <a:pt x="211" y="422"/>
                        <a:pt x="220" y="436"/>
                        <a:pt x="230" y="434"/>
                      </a:cubicBezTo>
                      <a:close/>
                      <a:moveTo>
                        <a:pt x="1652" y="438"/>
                      </a:moveTo>
                      <a:cubicBezTo>
                        <a:pt x="1674" y="429"/>
                        <a:pt x="1672" y="413"/>
                        <a:pt x="1672" y="413"/>
                      </a:cubicBezTo>
                      <a:cubicBezTo>
                        <a:pt x="1627" y="412"/>
                        <a:pt x="1627" y="412"/>
                        <a:pt x="1627" y="412"/>
                      </a:cubicBezTo>
                      <a:cubicBezTo>
                        <a:pt x="1627" y="412"/>
                        <a:pt x="1630" y="447"/>
                        <a:pt x="1652" y="438"/>
                      </a:cubicBezTo>
                      <a:close/>
                      <a:moveTo>
                        <a:pt x="1609" y="194"/>
                      </a:moveTo>
                      <a:cubicBezTo>
                        <a:pt x="1624" y="182"/>
                        <a:pt x="1618" y="175"/>
                        <a:pt x="1605" y="171"/>
                      </a:cubicBezTo>
                      <a:cubicBezTo>
                        <a:pt x="1592" y="167"/>
                        <a:pt x="1586" y="172"/>
                        <a:pt x="1586" y="172"/>
                      </a:cubicBezTo>
                      <a:cubicBezTo>
                        <a:pt x="1586" y="172"/>
                        <a:pt x="1601" y="202"/>
                        <a:pt x="1609" y="194"/>
                      </a:cubicBezTo>
                      <a:close/>
                      <a:moveTo>
                        <a:pt x="1918" y="353"/>
                      </a:moveTo>
                      <a:cubicBezTo>
                        <a:pt x="1937" y="362"/>
                        <a:pt x="1945" y="353"/>
                        <a:pt x="1930" y="346"/>
                      </a:cubicBezTo>
                      <a:cubicBezTo>
                        <a:pt x="1916" y="340"/>
                        <a:pt x="1910" y="349"/>
                        <a:pt x="1918" y="353"/>
                      </a:cubicBezTo>
                      <a:close/>
                      <a:moveTo>
                        <a:pt x="1950" y="413"/>
                      </a:moveTo>
                      <a:cubicBezTo>
                        <a:pt x="1959" y="413"/>
                        <a:pt x="1986" y="406"/>
                        <a:pt x="1986" y="406"/>
                      </a:cubicBezTo>
                      <a:cubicBezTo>
                        <a:pt x="1986" y="406"/>
                        <a:pt x="1962" y="396"/>
                        <a:pt x="1957" y="395"/>
                      </a:cubicBezTo>
                      <a:cubicBezTo>
                        <a:pt x="1953" y="394"/>
                        <a:pt x="1924" y="400"/>
                        <a:pt x="1924" y="400"/>
                      </a:cubicBezTo>
                      <a:cubicBezTo>
                        <a:pt x="1924" y="400"/>
                        <a:pt x="1940" y="413"/>
                        <a:pt x="1950" y="413"/>
                      </a:cubicBezTo>
                      <a:close/>
                      <a:moveTo>
                        <a:pt x="1145" y="370"/>
                      </a:moveTo>
                      <a:cubicBezTo>
                        <a:pt x="1142" y="380"/>
                        <a:pt x="1161" y="400"/>
                        <a:pt x="1153" y="409"/>
                      </a:cubicBezTo>
                      <a:cubicBezTo>
                        <a:pt x="1145" y="418"/>
                        <a:pt x="1122" y="424"/>
                        <a:pt x="1120" y="437"/>
                      </a:cubicBezTo>
                      <a:cubicBezTo>
                        <a:pt x="1119" y="451"/>
                        <a:pt x="1130" y="464"/>
                        <a:pt x="1130" y="464"/>
                      </a:cubicBezTo>
                      <a:cubicBezTo>
                        <a:pt x="1130" y="464"/>
                        <a:pt x="1114" y="478"/>
                        <a:pt x="1124" y="485"/>
                      </a:cubicBezTo>
                      <a:cubicBezTo>
                        <a:pt x="1135" y="492"/>
                        <a:pt x="1153" y="477"/>
                        <a:pt x="1157" y="489"/>
                      </a:cubicBezTo>
                      <a:cubicBezTo>
                        <a:pt x="1161" y="501"/>
                        <a:pt x="1153" y="510"/>
                        <a:pt x="1153" y="510"/>
                      </a:cubicBezTo>
                      <a:cubicBezTo>
                        <a:pt x="1164" y="524"/>
                        <a:pt x="1164" y="524"/>
                        <a:pt x="1164" y="524"/>
                      </a:cubicBezTo>
                      <a:cubicBezTo>
                        <a:pt x="1158" y="568"/>
                        <a:pt x="1158" y="568"/>
                        <a:pt x="1158" y="568"/>
                      </a:cubicBezTo>
                      <a:cubicBezTo>
                        <a:pt x="1158" y="568"/>
                        <a:pt x="1134" y="582"/>
                        <a:pt x="1146" y="606"/>
                      </a:cubicBezTo>
                      <a:cubicBezTo>
                        <a:pt x="1157" y="630"/>
                        <a:pt x="1173" y="630"/>
                        <a:pt x="1191" y="612"/>
                      </a:cubicBezTo>
                      <a:cubicBezTo>
                        <a:pt x="1208" y="595"/>
                        <a:pt x="1188" y="566"/>
                        <a:pt x="1188" y="566"/>
                      </a:cubicBezTo>
                      <a:cubicBezTo>
                        <a:pt x="1188" y="566"/>
                        <a:pt x="1209" y="551"/>
                        <a:pt x="1209" y="530"/>
                      </a:cubicBezTo>
                      <a:cubicBezTo>
                        <a:pt x="1208" y="508"/>
                        <a:pt x="1217" y="489"/>
                        <a:pt x="1210" y="476"/>
                      </a:cubicBezTo>
                      <a:cubicBezTo>
                        <a:pt x="1202" y="464"/>
                        <a:pt x="1198" y="439"/>
                        <a:pt x="1200" y="434"/>
                      </a:cubicBezTo>
                      <a:cubicBezTo>
                        <a:pt x="1201" y="429"/>
                        <a:pt x="1207" y="401"/>
                        <a:pt x="1217" y="419"/>
                      </a:cubicBezTo>
                      <a:cubicBezTo>
                        <a:pt x="1228" y="437"/>
                        <a:pt x="1228" y="468"/>
                        <a:pt x="1228" y="468"/>
                      </a:cubicBezTo>
                      <a:cubicBezTo>
                        <a:pt x="1251" y="494"/>
                        <a:pt x="1251" y="494"/>
                        <a:pt x="1251" y="494"/>
                      </a:cubicBezTo>
                      <a:cubicBezTo>
                        <a:pt x="1248" y="529"/>
                        <a:pt x="1248" y="529"/>
                        <a:pt x="1248" y="529"/>
                      </a:cubicBezTo>
                      <a:cubicBezTo>
                        <a:pt x="1265" y="551"/>
                        <a:pt x="1265" y="551"/>
                        <a:pt x="1265" y="551"/>
                      </a:cubicBezTo>
                      <a:cubicBezTo>
                        <a:pt x="1266" y="575"/>
                        <a:pt x="1266" y="575"/>
                        <a:pt x="1266" y="575"/>
                      </a:cubicBezTo>
                      <a:cubicBezTo>
                        <a:pt x="1275" y="624"/>
                        <a:pt x="1275" y="624"/>
                        <a:pt x="1275" y="624"/>
                      </a:cubicBezTo>
                      <a:cubicBezTo>
                        <a:pt x="1285" y="614"/>
                        <a:pt x="1285" y="614"/>
                        <a:pt x="1285" y="614"/>
                      </a:cubicBezTo>
                      <a:cubicBezTo>
                        <a:pt x="1312" y="622"/>
                        <a:pt x="1312" y="622"/>
                        <a:pt x="1312" y="622"/>
                      </a:cubicBezTo>
                      <a:cubicBezTo>
                        <a:pt x="1312" y="622"/>
                        <a:pt x="1314" y="605"/>
                        <a:pt x="1313" y="592"/>
                      </a:cubicBezTo>
                      <a:cubicBezTo>
                        <a:pt x="1312" y="579"/>
                        <a:pt x="1319" y="572"/>
                        <a:pt x="1319" y="572"/>
                      </a:cubicBezTo>
                      <a:cubicBezTo>
                        <a:pt x="1325" y="588"/>
                        <a:pt x="1325" y="588"/>
                        <a:pt x="1325" y="588"/>
                      </a:cubicBezTo>
                      <a:cubicBezTo>
                        <a:pt x="1325" y="588"/>
                        <a:pt x="1342" y="590"/>
                        <a:pt x="1344" y="574"/>
                      </a:cubicBezTo>
                      <a:cubicBezTo>
                        <a:pt x="1345" y="558"/>
                        <a:pt x="1341" y="546"/>
                        <a:pt x="1341" y="546"/>
                      </a:cubicBezTo>
                      <a:cubicBezTo>
                        <a:pt x="1341" y="546"/>
                        <a:pt x="1301" y="514"/>
                        <a:pt x="1303" y="502"/>
                      </a:cubicBezTo>
                      <a:cubicBezTo>
                        <a:pt x="1305" y="490"/>
                        <a:pt x="1324" y="477"/>
                        <a:pt x="1313" y="467"/>
                      </a:cubicBezTo>
                      <a:cubicBezTo>
                        <a:pt x="1301" y="457"/>
                        <a:pt x="1292" y="454"/>
                        <a:pt x="1291" y="446"/>
                      </a:cubicBezTo>
                      <a:cubicBezTo>
                        <a:pt x="1291" y="437"/>
                        <a:pt x="1304" y="418"/>
                        <a:pt x="1290" y="412"/>
                      </a:cubicBezTo>
                      <a:cubicBezTo>
                        <a:pt x="1277" y="407"/>
                        <a:pt x="1257" y="390"/>
                        <a:pt x="1257" y="390"/>
                      </a:cubicBezTo>
                      <a:cubicBezTo>
                        <a:pt x="1257" y="390"/>
                        <a:pt x="1279" y="395"/>
                        <a:pt x="1289" y="385"/>
                      </a:cubicBezTo>
                      <a:cubicBezTo>
                        <a:pt x="1298" y="376"/>
                        <a:pt x="1308" y="354"/>
                        <a:pt x="1308" y="354"/>
                      </a:cubicBezTo>
                      <a:cubicBezTo>
                        <a:pt x="1308" y="354"/>
                        <a:pt x="1347" y="356"/>
                        <a:pt x="1348" y="348"/>
                      </a:cubicBezTo>
                      <a:cubicBezTo>
                        <a:pt x="1349" y="339"/>
                        <a:pt x="1338" y="324"/>
                        <a:pt x="1328" y="323"/>
                      </a:cubicBezTo>
                      <a:cubicBezTo>
                        <a:pt x="1317" y="323"/>
                        <a:pt x="1310" y="341"/>
                        <a:pt x="1310" y="341"/>
                      </a:cubicBezTo>
                      <a:cubicBezTo>
                        <a:pt x="1310" y="341"/>
                        <a:pt x="1281" y="333"/>
                        <a:pt x="1269" y="337"/>
                      </a:cubicBezTo>
                      <a:cubicBezTo>
                        <a:pt x="1258" y="340"/>
                        <a:pt x="1252" y="369"/>
                        <a:pt x="1240" y="370"/>
                      </a:cubicBezTo>
                      <a:cubicBezTo>
                        <a:pt x="1229" y="370"/>
                        <a:pt x="1230" y="350"/>
                        <a:pt x="1213" y="340"/>
                      </a:cubicBezTo>
                      <a:cubicBezTo>
                        <a:pt x="1196" y="330"/>
                        <a:pt x="1188" y="333"/>
                        <a:pt x="1188" y="333"/>
                      </a:cubicBezTo>
                      <a:cubicBezTo>
                        <a:pt x="1188" y="333"/>
                        <a:pt x="1193" y="274"/>
                        <a:pt x="1209" y="273"/>
                      </a:cubicBezTo>
                      <a:cubicBezTo>
                        <a:pt x="1225" y="272"/>
                        <a:pt x="1255" y="283"/>
                        <a:pt x="1269" y="279"/>
                      </a:cubicBezTo>
                      <a:cubicBezTo>
                        <a:pt x="1282" y="276"/>
                        <a:pt x="1273" y="264"/>
                        <a:pt x="1284" y="266"/>
                      </a:cubicBezTo>
                      <a:cubicBezTo>
                        <a:pt x="1296" y="267"/>
                        <a:pt x="1349" y="293"/>
                        <a:pt x="1359" y="294"/>
                      </a:cubicBezTo>
                      <a:cubicBezTo>
                        <a:pt x="1370" y="294"/>
                        <a:pt x="1372" y="285"/>
                        <a:pt x="1379" y="281"/>
                      </a:cubicBezTo>
                      <a:cubicBezTo>
                        <a:pt x="1386" y="277"/>
                        <a:pt x="1399" y="283"/>
                        <a:pt x="1408" y="278"/>
                      </a:cubicBezTo>
                      <a:cubicBezTo>
                        <a:pt x="1417" y="272"/>
                        <a:pt x="1406" y="267"/>
                        <a:pt x="1415" y="258"/>
                      </a:cubicBezTo>
                      <a:cubicBezTo>
                        <a:pt x="1423" y="249"/>
                        <a:pt x="1443" y="240"/>
                        <a:pt x="1443" y="240"/>
                      </a:cubicBezTo>
                      <a:cubicBezTo>
                        <a:pt x="1436" y="220"/>
                        <a:pt x="1436" y="220"/>
                        <a:pt x="1436" y="220"/>
                      </a:cubicBezTo>
                      <a:cubicBezTo>
                        <a:pt x="1384" y="242"/>
                        <a:pt x="1384" y="242"/>
                        <a:pt x="1384" y="242"/>
                      </a:cubicBezTo>
                      <a:cubicBezTo>
                        <a:pt x="1384" y="242"/>
                        <a:pt x="1396" y="255"/>
                        <a:pt x="1381" y="256"/>
                      </a:cubicBezTo>
                      <a:cubicBezTo>
                        <a:pt x="1366" y="257"/>
                        <a:pt x="1353" y="248"/>
                        <a:pt x="1344" y="248"/>
                      </a:cubicBezTo>
                      <a:cubicBezTo>
                        <a:pt x="1336" y="248"/>
                        <a:pt x="1321" y="261"/>
                        <a:pt x="1311" y="259"/>
                      </a:cubicBezTo>
                      <a:cubicBezTo>
                        <a:pt x="1300" y="256"/>
                        <a:pt x="1275" y="244"/>
                        <a:pt x="1268" y="244"/>
                      </a:cubicBezTo>
                      <a:cubicBezTo>
                        <a:pt x="1261" y="244"/>
                        <a:pt x="1245" y="244"/>
                        <a:pt x="1245" y="244"/>
                      </a:cubicBezTo>
                      <a:cubicBezTo>
                        <a:pt x="1253" y="232"/>
                        <a:pt x="1253" y="232"/>
                        <a:pt x="1253" y="232"/>
                      </a:cubicBezTo>
                      <a:cubicBezTo>
                        <a:pt x="1253" y="232"/>
                        <a:pt x="1226" y="225"/>
                        <a:pt x="1223" y="228"/>
                      </a:cubicBezTo>
                      <a:cubicBezTo>
                        <a:pt x="1219" y="232"/>
                        <a:pt x="1224" y="249"/>
                        <a:pt x="1212" y="256"/>
                      </a:cubicBezTo>
                      <a:cubicBezTo>
                        <a:pt x="1201" y="263"/>
                        <a:pt x="1179" y="261"/>
                        <a:pt x="1179" y="267"/>
                      </a:cubicBezTo>
                      <a:cubicBezTo>
                        <a:pt x="1179" y="273"/>
                        <a:pt x="1178" y="287"/>
                        <a:pt x="1178" y="287"/>
                      </a:cubicBezTo>
                      <a:cubicBezTo>
                        <a:pt x="1164" y="289"/>
                        <a:pt x="1164" y="289"/>
                        <a:pt x="1164" y="289"/>
                      </a:cubicBezTo>
                      <a:cubicBezTo>
                        <a:pt x="1174" y="336"/>
                        <a:pt x="1174" y="336"/>
                        <a:pt x="1174" y="336"/>
                      </a:cubicBezTo>
                      <a:cubicBezTo>
                        <a:pt x="1164" y="335"/>
                        <a:pt x="1164" y="335"/>
                        <a:pt x="1164" y="335"/>
                      </a:cubicBezTo>
                      <a:cubicBezTo>
                        <a:pt x="1164" y="335"/>
                        <a:pt x="1147" y="360"/>
                        <a:pt x="1145" y="370"/>
                      </a:cubicBezTo>
                      <a:close/>
                      <a:moveTo>
                        <a:pt x="1328" y="387"/>
                      </a:moveTo>
                      <a:cubicBezTo>
                        <a:pt x="1328" y="400"/>
                        <a:pt x="1328" y="400"/>
                        <a:pt x="1328" y="400"/>
                      </a:cubicBezTo>
                      <a:cubicBezTo>
                        <a:pt x="1328" y="400"/>
                        <a:pt x="1343" y="412"/>
                        <a:pt x="1350" y="395"/>
                      </a:cubicBezTo>
                      <a:cubicBezTo>
                        <a:pt x="1358" y="379"/>
                        <a:pt x="1328" y="387"/>
                        <a:pt x="1328" y="387"/>
                      </a:cubicBezTo>
                      <a:close/>
                      <a:moveTo>
                        <a:pt x="1127" y="743"/>
                      </a:moveTo>
                      <a:cubicBezTo>
                        <a:pt x="1118" y="740"/>
                        <a:pt x="1111" y="746"/>
                        <a:pt x="1111" y="746"/>
                      </a:cubicBezTo>
                      <a:cubicBezTo>
                        <a:pt x="1080" y="739"/>
                        <a:pt x="1080" y="739"/>
                        <a:pt x="1080" y="739"/>
                      </a:cubicBezTo>
                      <a:cubicBezTo>
                        <a:pt x="1099" y="766"/>
                        <a:pt x="1099" y="766"/>
                        <a:pt x="1099" y="766"/>
                      </a:cubicBezTo>
                      <a:cubicBezTo>
                        <a:pt x="1099" y="766"/>
                        <a:pt x="1126" y="793"/>
                        <a:pt x="1132" y="775"/>
                      </a:cubicBezTo>
                      <a:cubicBezTo>
                        <a:pt x="1137" y="758"/>
                        <a:pt x="1136" y="746"/>
                        <a:pt x="1127" y="743"/>
                      </a:cubicBezTo>
                      <a:close/>
                      <a:moveTo>
                        <a:pt x="1400" y="740"/>
                      </a:moveTo>
                      <a:cubicBezTo>
                        <a:pt x="1379" y="754"/>
                        <a:pt x="1379" y="754"/>
                        <a:pt x="1379" y="754"/>
                      </a:cubicBezTo>
                      <a:cubicBezTo>
                        <a:pt x="1400" y="759"/>
                        <a:pt x="1400" y="759"/>
                        <a:pt x="1400" y="759"/>
                      </a:cubicBezTo>
                      <a:lnTo>
                        <a:pt x="1400" y="740"/>
                      </a:lnTo>
                      <a:close/>
                      <a:moveTo>
                        <a:pt x="327" y="200"/>
                      </a:moveTo>
                      <a:cubicBezTo>
                        <a:pt x="315" y="190"/>
                        <a:pt x="304" y="196"/>
                        <a:pt x="310" y="212"/>
                      </a:cubicBezTo>
                      <a:cubicBezTo>
                        <a:pt x="314" y="226"/>
                        <a:pt x="339" y="209"/>
                        <a:pt x="327" y="200"/>
                      </a:cubicBezTo>
                      <a:close/>
                      <a:moveTo>
                        <a:pt x="1569" y="393"/>
                      </a:moveTo>
                      <a:cubicBezTo>
                        <a:pt x="1561" y="383"/>
                        <a:pt x="1542" y="370"/>
                        <a:pt x="1542" y="370"/>
                      </a:cubicBezTo>
                      <a:cubicBezTo>
                        <a:pt x="1540" y="400"/>
                        <a:pt x="1540" y="400"/>
                        <a:pt x="1540" y="400"/>
                      </a:cubicBezTo>
                      <a:cubicBezTo>
                        <a:pt x="1552" y="408"/>
                        <a:pt x="1578" y="404"/>
                        <a:pt x="1569" y="393"/>
                      </a:cubicBezTo>
                      <a:close/>
                      <a:moveTo>
                        <a:pt x="1543" y="318"/>
                      </a:moveTo>
                      <a:cubicBezTo>
                        <a:pt x="1552" y="325"/>
                        <a:pt x="1590" y="359"/>
                        <a:pt x="1599" y="356"/>
                      </a:cubicBezTo>
                      <a:cubicBezTo>
                        <a:pt x="1608" y="353"/>
                        <a:pt x="1598" y="340"/>
                        <a:pt x="1587" y="334"/>
                      </a:cubicBezTo>
                      <a:cubicBezTo>
                        <a:pt x="1577" y="328"/>
                        <a:pt x="1571" y="316"/>
                        <a:pt x="1581" y="306"/>
                      </a:cubicBezTo>
                      <a:cubicBezTo>
                        <a:pt x="1592" y="296"/>
                        <a:pt x="1611" y="306"/>
                        <a:pt x="1611" y="306"/>
                      </a:cubicBezTo>
                      <a:cubicBezTo>
                        <a:pt x="1620" y="299"/>
                        <a:pt x="1620" y="299"/>
                        <a:pt x="1620" y="299"/>
                      </a:cubicBezTo>
                      <a:cubicBezTo>
                        <a:pt x="1603" y="288"/>
                        <a:pt x="1603" y="288"/>
                        <a:pt x="1603" y="288"/>
                      </a:cubicBezTo>
                      <a:cubicBezTo>
                        <a:pt x="1603" y="288"/>
                        <a:pt x="1617" y="281"/>
                        <a:pt x="1620" y="269"/>
                      </a:cubicBezTo>
                      <a:cubicBezTo>
                        <a:pt x="1623" y="258"/>
                        <a:pt x="1608" y="250"/>
                        <a:pt x="1598" y="249"/>
                      </a:cubicBezTo>
                      <a:cubicBezTo>
                        <a:pt x="1587" y="247"/>
                        <a:pt x="1577" y="274"/>
                        <a:pt x="1565" y="275"/>
                      </a:cubicBezTo>
                      <a:cubicBezTo>
                        <a:pt x="1554" y="277"/>
                        <a:pt x="1557" y="250"/>
                        <a:pt x="1557" y="250"/>
                      </a:cubicBezTo>
                      <a:cubicBezTo>
                        <a:pt x="1557" y="250"/>
                        <a:pt x="1567" y="237"/>
                        <a:pt x="1570" y="227"/>
                      </a:cubicBezTo>
                      <a:cubicBezTo>
                        <a:pt x="1573" y="216"/>
                        <a:pt x="1567" y="211"/>
                        <a:pt x="1567" y="211"/>
                      </a:cubicBezTo>
                      <a:cubicBezTo>
                        <a:pt x="1576" y="184"/>
                        <a:pt x="1576" y="184"/>
                        <a:pt x="1576" y="184"/>
                      </a:cubicBezTo>
                      <a:cubicBezTo>
                        <a:pt x="1548" y="211"/>
                        <a:pt x="1548" y="211"/>
                        <a:pt x="1548" y="211"/>
                      </a:cubicBezTo>
                      <a:cubicBezTo>
                        <a:pt x="1548" y="230"/>
                        <a:pt x="1548" y="230"/>
                        <a:pt x="1548" y="230"/>
                      </a:cubicBezTo>
                      <a:cubicBezTo>
                        <a:pt x="1548" y="230"/>
                        <a:pt x="1525" y="240"/>
                        <a:pt x="1527" y="265"/>
                      </a:cubicBezTo>
                      <a:cubicBezTo>
                        <a:pt x="1529" y="281"/>
                        <a:pt x="1540" y="284"/>
                        <a:pt x="1543" y="293"/>
                      </a:cubicBezTo>
                      <a:cubicBezTo>
                        <a:pt x="1546" y="302"/>
                        <a:pt x="1535" y="310"/>
                        <a:pt x="1543" y="318"/>
                      </a:cubicBezTo>
                      <a:close/>
                      <a:moveTo>
                        <a:pt x="1505" y="474"/>
                      </a:moveTo>
                      <a:cubicBezTo>
                        <a:pt x="1496" y="464"/>
                        <a:pt x="1496" y="464"/>
                        <a:pt x="1496" y="464"/>
                      </a:cubicBezTo>
                      <a:cubicBezTo>
                        <a:pt x="1482" y="475"/>
                        <a:pt x="1482" y="475"/>
                        <a:pt x="1482" y="475"/>
                      </a:cubicBezTo>
                      <a:cubicBezTo>
                        <a:pt x="1482" y="475"/>
                        <a:pt x="1475" y="494"/>
                        <a:pt x="1489" y="503"/>
                      </a:cubicBezTo>
                      <a:cubicBezTo>
                        <a:pt x="1502" y="513"/>
                        <a:pt x="1521" y="509"/>
                        <a:pt x="1521" y="509"/>
                      </a:cubicBezTo>
                      <a:cubicBezTo>
                        <a:pt x="1529" y="498"/>
                        <a:pt x="1517" y="471"/>
                        <a:pt x="1517" y="471"/>
                      </a:cubicBezTo>
                      <a:lnTo>
                        <a:pt x="1505" y="474"/>
                      </a:lnTo>
                      <a:close/>
                      <a:moveTo>
                        <a:pt x="1437" y="740"/>
                      </a:moveTo>
                      <a:cubicBezTo>
                        <a:pt x="1487" y="728"/>
                        <a:pt x="1487" y="728"/>
                        <a:pt x="1487" y="728"/>
                      </a:cubicBezTo>
                      <a:cubicBezTo>
                        <a:pt x="1449" y="718"/>
                        <a:pt x="1449" y="718"/>
                        <a:pt x="1449" y="718"/>
                      </a:cubicBezTo>
                      <a:lnTo>
                        <a:pt x="1437" y="740"/>
                      </a:lnTo>
                      <a:close/>
                      <a:moveTo>
                        <a:pt x="1700" y="502"/>
                      </a:moveTo>
                      <a:cubicBezTo>
                        <a:pt x="1686" y="490"/>
                        <a:pt x="1686" y="490"/>
                        <a:pt x="1686" y="490"/>
                      </a:cubicBezTo>
                      <a:cubicBezTo>
                        <a:pt x="1687" y="479"/>
                        <a:pt x="1687" y="479"/>
                        <a:pt x="1687" y="479"/>
                      </a:cubicBezTo>
                      <a:cubicBezTo>
                        <a:pt x="1687" y="479"/>
                        <a:pt x="1681" y="458"/>
                        <a:pt x="1634" y="448"/>
                      </a:cubicBezTo>
                      <a:cubicBezTo>
                        <a:pt x="1618" y="444"/>
                        <a:pt x="1608" y="454"/>
                        <a:pt x="1597" y="459"/>
                      </a:cubicBezTo>
                      <a:cubicBezTo>
                        <a:pt x="1591" y="461"/>
                        <a:pt x="1583" y="457"/>
                        <a:pt x="1579" y="460"/>
                      </a:cubicBezTo>
                      <a:cubicBezTo>
                        <a:pt x="1566" y="468"/>
                        <a:pt x="1562" y="484"/>
                        <a:pt x="1566" y="487"/>
                      </a:cubicBezTo>
                      <a:cubicBezTo>
                        <a:pt x="1573" y="493"/>
                        <a:pt x="1580" y="479"/>
                        <a:pt x="1580" y="479"/>
                      </a:cubicBezTo>
                      <a:cubicBezTo>
                        <a:pt x="1580" y="479"/>
                        <a:pt x="1580" y="495"/>
                        <a:pt x="1591" y="497"/>
                      </a:cubicBezTo>
                      <a:cubicBezTo>
                        <a:pt x="1602" y="498"/>
                        <a:pt x="1604" y="478"/>
                        <a:pt x="1604" y="478"/>
                      </a:cubicBezTo>
                      <a:cubicBezTo>
                        <a:pt x="1604" y="478"/>
                        <a:pt x="1612" y="489"/>
                        <a:pt x="1619" y="489"/>
                      </a:cubicBezTo>
                      <a:cubicBezTo>
                        <a:pt x="1626" y="489"/>
                        <a:pt x="1644" y="474"/>
                        <a:pt x="1644" y="474"/>
                      </a:cubicBezTo>
                      <a:cubicBezTo>
                        <a:pt x="1654" y="509"/>
                        <a:pt x="1654" y="509"/>
                        <a:pt x="1654" y="509"/>
                      </a:cubicBezTo>
                      <a:cubicBezTo>
                        <a:pt x="1673" y="495"/>
                        <a:pt x="1673" y="495"/>
                        <a:pt x="1673" y="495"/>
                      </a:cubicBezTo>
                      <a:cubicBezTo>
                        <a:pt x="1695" y="519"/>
                        <a:pt x="1695" y="519"/>
                        <a:pt x="1695" y="519"/>
                      </a:cubicBezTo>
                      <a:lnTo>
                        <a:pt x="1700" y="502"/>
                      </a:lnTo>
                      <a:close/>
                      <a:moveTo>
                        <a:pt x="2179" y="454"/>
                      </a:moveTo>
                      <a:cubicBezTo>
                        <a:pt x="2153" y="435"/>
                        <a:pt x="2153" y="435"/>
                        <a:pt x="2153" y="435"/>
                      </a:cubicBezTo>
                      <a:cubicBezTo>
                        <a:pt x="2153" y="435"/>
                        <a:pt x="2134" y="437"/>
                        <a:pt x="2124" y="437"/>
                      </a:cubicBezTo>
                      <a:cubicBezTo>
                        <a:pt x="2113" y="437"/>
                        <a:pt x="2045" y="394"/>
                        <a:pt x="2032" y="390"/>
                      </a:cubicBezTo>
                      <a:cubicBezTo>
                        <a:pt x="2019" y="386"/>
                        <a:pt x="1998" y="405"/>
                        <a:pt x="1998" y="405"/>
                      </a:cubicBezTo>
                      <a:cubicBezTo>
                        <a:pt x="2007" y="423"/>
                        <a:pt x="2007" y="423"/>
                        <a:pt x="2007" y="423"/>
                      </a:cubicBezTo>
                      <a:cubicBezTo>
                        <a:pt x="1956" y="428"/>
                        <a:pt x="1956" y="428"/>
                        <a:pt x="1956" y="428"/>
                      </a:cubicBezTo>
                      <a:cubicBezTo>
                        <a:pt x="1960" y="446"/>
                        <a:pt x="1960" y="446"/>
                        <a:pt x="1960" y="446"/>
                      </a:cubicBezTo>
                      <a:cubicBezTo>
                        <a:pt x="1960" y="446"/>
                        <a:pt x="1950" y="477"/>
                        <a:pt x="1913" y="484"/>
                      </a:cubicBezTo>
                      <a:cubicBezTo>
                        <a:pt x="1876" y="492"/>
                        <a:pt x="1886" y="443"/>
                        <a:pt x="1880" y="443"/>
                      </a:cubicBezTo>
                      <a:cubicBezTo>
                        <a:pt x="1875" y="443"/>
                        <a:pt x="1869" y="465"/>
                        <a:pt x="1869" y="465"/>
                      </a:cubicBezTo>
                      <a:cubicBezTo>
                        <a:pt x="1869" y="465"/>
                        <a:pt x="1861" y="448"/>
                        <a:pt x="1861" y="439"/>
                      </a:cubicBezTo>
                      <a:cubicBezTo>
                        <a:pt x="1861" y="429"/>
                        <a:pt x="1862" y="402"/>
                        <a:pt x="1859" y="385"/>
                      </a:cubicBezTo>
                      <a:cubicBezTo>
                        <a:pt x="1857" y="368"/>
                        <a:pt x="1846" y="350"/>
                        <a:pt x="1846" y="350"/>
                      </a:cubicBezTo>
                      <a:cubicBezTo>
                        <a:pt x="1820" y="350"/>
                        <a:pt x="1820" y="350"/>
                        <a:pt x="1820" y="350"/>
                      </a:cubicBezTo>
                      <a:cubicBezTo>
                        <a:pt x="1820" y="350"/>
                        <a:pt x="1799" y="326"/>
                        <a:pt x="1781" y="326"/>
                      </a:cubicBezTo>
                      <a:cubicBezTo>
                        <a:pt x="1763" y="326"/>
                        <a:pt x="1744" y="351"/>
                        <a:pt x="1744" y="351"/>
                      </a:cubicBezTo>
                      <a:cubicBezTo>
                        <a:pt x="1728" y="355"/>
                        <a:pt x="1728" y="355"/>
                        <a:pt x="1728" y="355"/>
                      </a:cubicBezTo>
                      <a:cubicBezTo>
                        <a:pt x="1723" y="367"/>
                        <a:pt x="1723" y="367"/>
                        <a:pt x="1723" y="367"/>
                      </a:cubicBezTo>
                      <a:cubicBezTo>
                        <a:pt x="1711" y="373"/>
                        <a:pt x="1711" y="373"/>
                        <a:pt x="1711" y="373"/>
                      </a:cubicBezTo>
                      <a:cubicBezTo>
                        <a:pt x="1711" y="364"/>
                        <a:pt x="1711" y="364"/>
                        <a:pt x="1711" y="364"/>
                      </a:cubicBezTo>
                      <a:cubicBezTo>
                        <a:pt x="1711" y="364"/>
                        <a:pt x="1704" y="352"/>
                        <a:pt x="1693" y="356"/>
                      </a:cubicBezTo>
                      <a:cubicBezTo>
                        <a:pt x="1693" y="356"/>
                        <a:pt x="1693" y="369"/>
                        <a:pt x="1702" y="382"/>
                      </a:cubicBezTo>
                      <a:cubicBezTo>
                        <a:pt x="1711" y="395"/>
                        <a:pt x="1732" y="388"/>
                        <a:pt x="1749" y="393"/>
                      </a:cubicBezTo>
                      <a:cubicBezTo>
                        <a:pt x="1766" y="398"/>
                        <a:pt x="1751" y="406"/>
                        <a:pt x="1760" y="422"/>
                      </a:cubicBezTo>
                      <a:cubicBezTo>
                        <a:pt x="1769" y="437"/>
                        <a:pt x="1799" y="424"/>
                        <a:pt x="1821" y="424"/>
                      </a:cubicBezTo>
                      <a:cubicBezTo>
                        <a:pt x="1844" y="424"/>
                        <a:pt x="1845" y="429"/>
                        <a:pt x="1845" y="440"/>
                      </a:cubicBezTo>
                      <a:cubicBezTo>
                        <a:pt x="1845" y="450"/>
                        <a:pt x="1819" y="440"/>
                        <a:pt x="1811" y="441"/>
                      </a:cubicBezTo>
                      <a:cubicBezTo>
                        <a:pt x="1803" y="443"/>
                        <a:pt x="1785" y="454"/>
                        <a:pt x="1785" y="454"/>
                      </a:cubicBezTo>
                      <a:cubicBezTo>
                        <a:pt x="1785" y="454"/>
                        <a:pt x="1757" y="454"/>
                        <a:pt x="1751" y="461"/>
                      </a:cubicBezTo>
                      <a:cubicBezTo>
                        <a:pt x="1744" y="467"/>
                        <a:pt x="1774" y="474"/>
                        <a:pt x="1781" y="478"/>
                      </a:cubicBezTo>
                      <a:cubicBezTo>
                        <a:pt x="1787" y="482"/>
                        <a:pt x="1797" y="498"/>
                        <a:pt x="1797" y="498"/>
                      </a:cubicBezTo>
                      <a:cubicBezTo>
                        <a:pt x="1797" y="498"/>
                        <a:pt x="1781" y="517"/>
                        <a:pt x="1790" y="530"/>
                      </a:cubicBezTo>
                      <a:cubicBezTo>
                        <a:pt x="1799" y="543"/>
                        <a:pt x="1819" y="508"/>
                        <a:pt x="1819" y="504"/>
                      </a:cubicBezTo>
                      <a:cubicBezTo>
                        <a:pt x="1819" y="500"/>
                        <a:pt x="1838" y="471"/>
                        <a:pt x="1838" y="471"/>
                      </a:cubicBezTo>
                      <a:cubicBezTo>
                        <a:pt x="1836" y="496"/>
                        <a:pt x="1836" y="496"/>
                        <a:pt x="1836" y="496"/>
                      </a:cubicBezTo>
                      <a:cubicBezTo>
                        <a:pt x="1836" y="496"/>
                        <a:pt x="1849" y="509"/>
                        <a:pt x="1859" y="518"/>
                      </a:cubicBezTo>
                      <a:cubicBezTo>
                        <a:pt x="1870" y="528"/>
                        <a:pt x="1891" y="520"/>
                        <a:pt x="1891" y="520"/>
                      </a:cubicBezTo>
                      <a:cubicBezTo>
                        <a:pt x="1882" y="529"/>
                        <a:pt x="1882" y="529"/>
                        <a:pt x="1882" y="529"/>
                      </a:cubicBezTo>
                      <a:cubicBezTo>
                        <a:pt x="1903" y="549"/>
                        <a:pt x="1903" y="549"/>
                        <a:pt x="1903" y="549"/>
                      </a:cubicBezTo>
                      <a:cubicBezTo>
                        <a:pt x="1941" y="550"/>
                        <a:pt x="1941" y="550"/>
                        <a:pt x="1941" y="550"/>
                      </a:cubicBezTo>
                      <a:cubicBezTo>
                        <a:pt x="1964" y="567"/>
                        <a:pt x="1964" y="567"/>
                        <a:pt x="1964" y="567"/>
                      </a:cubicBezTo>
                      <a:cubicBezTo>
                        <a:pt x="1964" y="567"/>
                        <a:pt x="2006" y="581"/>
                        <a:pt x="2030" y="598"/>
                      </a:cubicBezTo>
                      <a:cubicBezTo>
                        <a:pt x="2053" y="615"/>
                        <a:pt x="2048" y="621"/>
                        <a:pt x="2049" y="640"/>
                      </a:cubicBezTo>
                      <a:cubicBezTo>
                        <a:pt x="2051" y="660"/>
                        <a:pt x="2073" y="669"/>
                        <a:pt x="2073" y="669"/>
                      </a:cubicBezTo>
                      <a:cubicBezTo>
                        <a:pt x="2073" y="669"/>
                        <a:pt x="2056" y="672"/>
                        <a:pt x="2056" y="681"/>
                      </a:cubicBezTo>
                      <a:cubicBezTo>
                        <a:pt x="2056" y="690"/>
                        <a:pt x="2082" y="691"/>
                        <a:pt x="2082" y="691"/>
                      </a:cubicBezTo>
                      <a:cubicBezTo>
                        <a:pt x="2066" y="697"/>
                        <a:pt x="2066" y="697"/>
                        <a:pt x="2066" y="697"/>
                      </a:cubicBezTo>
                      <a:cubicBezTo>
                        <a:pt x="2067" y="705"/>
                        <a:pt x="2067" y="705"/>
                        <a:pt x="2067" y="705"/>
                      </a:cubicBezTo>
                      <a:cubicBezTo>
                        <a:pt x="2072" y="708"/>
                        <a:pt x="2072" y="708"/>
                        <a:pt x="2072" y="708"/>
                      </a:cubicBezTo>
                      <a:cubicBezTo>
                        <a:pt x="2077" y="729"/>
                        <a:pt x="2077" y="729"/>
                        <a:pt x="2077" y="729"/>
                      </a:cubicBezTo>
                      <a:cubicBezTo>
                        <a:pt x="2067" y="750"/>
                        <a:pt x="2067" y="750"/>
                        <a:pt x="2067" y="750"/>
                      </a:cubicBezTo>
                      <a:cubicBezTo>
                        <a:pt x="2073" y="749"/>
                        <a:pt x="2078" y="748"/>
                        <a:pt x="2081" y="749"/>
                      </a:cubicBezTo>
                      <a:cubicBezTo>
                        <a:pt x="2086" y="752"/>
                        <a:pt x="2120" y="737"/>
                        <a:pt x="2120" y="737"/>
                      </a:cubicBezTo>
                      <a:cubicBezTo>
                        <a:pt x="2120" y="755"/>
                        <a:pt x="2120" y="755"/>
                        <a:pt x="2120" y="755"/>
                      </a:cubicBezTo>
                      <a:cubicBezTo>
                        <a:pt x="2120" y="755"/>
                        <a:pt x="2147" y="788"/>
                        <a:pt x="2159" y="797"/>
                      </a:cubicBezTo>
                      <a:cubicBezTo>
                        <a:pt x="2161" y="798"/>
                        <a:pt x="2162" y="799"/>
                        <a:pt x="2164" y="800"/>
                      </a:cubicBezTo>
                      <a:cubicBezTo>
                        <a:pt x="2166" y="768"/>
                        <a:pt x="2166" y="768"/>
                        <a:pt x="2166" y="768"/>
                      </a:cubicBezTo>
                      <a:cubicBezTo>
                        <a:pt x="2162" y="752"/>
                        <a:pt x="2162" y="752"/>
                        <a:pt x="2162" y="752"/>
                      </a:cubicBezTo>
                      <a:cubicBezTo>
                        <a:pt x="2162" y="752"/>
                        <a:pt x="2166" y="733"/>
                        <a:pt x="2168" y="726"/>
                      </a:cubicBezTo>
                      <a:cubicBezTo>
                        <a:pt x="2170" y="718"/>
                        <a:pt x="2173" y="681"/>
                        <a:pt x="2173" y="681"/>
                      </a:cubicBezTo>
                      <a:cubicBezTo>
                        <a:pt x="2173" y="681"/>
                        <a:pt x="2169" y="683"/>
                        <a:pt x="2158" y="676"/>
                      </a:cubicBezTo>
                      <a:cubicBezTo>
                        <a:pt x="2147" y="670"/>
                        <a:pt x="2174" y="652"/>
                        <a:pt x="2174" y="652"/>
                      </a:cubicBezTo>
                      <a:cubicBezTo>
                        <a:pt x="2174" y="652"/>
                        <a:pt x="2173" y="626"/>
                        <a:pt x="2171" y="611"/>
                      </a:cubicBezTo>
                      <a:cubicBezTo>
                        <a:pt x="2169" y="596"/>
                        <a:pt x="2177" y="574"/>
                        <a:pt x="2177" y="554"/>
                      </a:cubicBezTo>
                      <a:cubicBezTo>
                        <a:pt x="2177" y="538"/>
                        <a:pt x="2179" y="474"/>
                        <a:pt x="2179" y="454"/>
                      </a:cubicBezTo>
                      <a:close/>
                      <a:moveTo>
                        <a:pt x="228" y="446"/>
                      </a:moveTo>
                      <a:cubicBezTo>
                        <a:pt x="220" y="453"/>
                        <a:pt x="238" y="462"/>
                        <a:pt x="238" y="462"/>
                      </a:cubicBezTo>
                      <a:cubicBezTo>
                        <a:pt x="238" y="462"/>
                        <a:pt x="250" y="486"/>
                        <a:pt x="258" y="478"/>
                      </a:cubicBezTo>
                      <a:cubicBezTo>
                        <a:pt x="266" y="470"/>
                        <a:pt x="234" y="442"/>
                        <a:pt x="228" y="446"/>
                      </a:cubicBezTo>
                      <a:close/>
                      <a:moveTo>
                        <a:pt x="1691" y="739"/>
                      </a:moveTo>
                      <a:cubicBezTo>
                        <a:pt x="1701" y="745"/>
                        <a:pt x="1701" y="745"/>
                        <a:pt x="1701" y="745"/>
                      </a:cubicBezTo>
                      <a:cubicBezTo>
                        <a:pt x="1720" y="730"/>
                        <a:pt x="1720" y="730"/>
                        <a:pt x="1720" y="730"/>
                      </a:cubicBezTo>
                      <a:cubicBezTo>
                        <a:pt x="1720" y="730"/>
                        <a:pt x="1742" y="738"/>
                        <a:pt x="1742" y="716"/>
                      </a:cubicBezTo>
                      <a:cubicBezTo>
                        <a:pt x="1742" y="694"/>
                        <a:pt x="1691" y="720"/>
                        <a:pt x="1691" y="739"/>
                      </a:cubicBezTo>
                      <a:close/>
                      <a:moveTo>
                        <a:pt x="2068" y="714"/>
                      </a:moveTo>
                      <a:cubicBezTo>
                        <a:pt x="2067" y="713"/>
                        <a:pt x="2067" y="713"/>
                        <a:pt x="2067" y="713"/>
                      </a:cubicBezTo>
                      <a:cubicBezTo>
                        <a:pt x="2065" y="710"/>
                        <a:pt x="2056" y="702"/>
                        <a:pt x="2037" y="711"/>
                      </a:cubicBezTo>
                      <a:cubicBezTo>
                        <a:pt x="2015" y="721"/>
                        <a:pt x="2011" y="759"/>
                        <a:pt x="2011" y="759"/>
                      </a:cubicBezTo>
                      <a:cubicBezTo>
                        <a:pt x="2053" y="754"/>
                        <a:pt x="2053" y="754"/>
                        <a:pt x="2053" y="754"/>
                      </a:cubicBezTo>
                      <a:cubicBezTo>
                        <a:pt x="2053" y="754"/>
                        <a:pt x="2059" y="752"/>
                        <a:pt x="2066" y="750"/>
                      </a:cubicBezTo>
                      <a:cubicBezTo>
                        <a:pt x="2072" y="728"/>
                        <a:pt x="2072" y="728"/>
                        <a:pt x="2072" y="728"/>
                      </a:cubicBezTo>
                      <a:lnTo>
                        <a:pt x="2068" y="714"/>
                      </a:lnTo>
                      <a:close/>
                      <a:moveTo>
                        <a:pt x="1857" y="631"/>
                      </a:moveTo>
                      <a:cubicBezTo>
                        <a:pt x="1847" y="641"/>
                        <a:pt x="1847" y="641"/>
                        <a:pt x="1847" y="641"/>
                      </a:cubicBezTo>
                      <a:cubicBezTo>
                        <a:pt x="1849" y="676"/>
                        <a:pt x="1849" y="676"/>
                        <a:pt x="1849" y="676"/>
                      </a:cubicBezTo>
                      <a:cubicBezTo>
                        <a:pt x="1860" y="679"/>
                        <a:pt x="1860" y="679"/>
                        <a:pt x="1860" y="679"/>
                      </a:cubicBezTo>
                      <a:cubicBezTo>
                        <a:pt x="1859" y="666"/>
                        <a:pt x="1859" y="666"/>
                        <a:pt x="1859" y="666"/>
                      </a:cubicBezTo>
                      <a:cubicBezTo>
                        <a:pt x="1866" y="663"/>
                        <a:pt x="1866" y="663"/>
                        <a:pt x="1866" y="663"/>
                      </a:cubicBezTo>
                      <a:cubicBezTo>
                        <a:pt x="1865" y="648"/>
                        <a:pt x="1865" y="648"/>
                        <a:pt x="1865" y="648"/>
                      </a:cubicBezTo>
                      <a:cubicBezTo>
                        <a:pt x="1856" y="648"/>
                        <a:pt x="1856" y="648"/>
                        <a:pt x="1856" y="648"/>
                      </a:cubicBezTo>
                      <a:cubicBezTo>
                        <a:pt x="1868" y="628"/>
                        <a:pt x="1868" y="628"/>
                        <a:pt x="1868" y="628"/>
                      </a:cubicBezTo>
                      <a:cubicBezTo>
                        <a:pt x="1881" y="606"/>
                        <a:pt x="1881" y="606"/>
                        <a:pt x="1881" y="606"/>
                      </a:cubicBezTo>
                      <a:cubicBezTo>
                        <a:pt x="1862" y="610"/>
                        <a:pt x="1862" y="610"/>
                        <a:pt x="1862" y="610"/>
                      </a:cubicBezTo>
                      <a:lnTo>
                        <a:pt x="1857" y="631"/>
                      </a:lnTo>
                      <a:close/>
                      <a:moveTo>
                        <a:pt x="1427" y="403"/>
                      </a:moveTo>
                      <a:cubicBezTo>
                        <a:pt x="1427" y="403"/>
                        <a:pt x="1405" y="391"/>
                        <a:pt x="1398" y="394"/>
                      </a:cubicBezTo>
                      <a:cubicBezTo>
                        <a:pt x="1392" y="397"/>
                        <a:pt x="1389" y="406"/>
                        <a:pt x="1389" y="406"/>
                      </a:cubicBezTo>
                      <a:cubicBezTo>
                        <a:pt x="1396" y="420"/>
                        <a:pt x="1427" y="415"/>
                        <a:pt x="1427" y="415"/>
                      </a:cubicBezTo>
                      <a:cubicBezTo>
                        <a:pt x="1480" y="405"/>
                        <a:pt x="1480" y="405"/>
                        <a:pt x="1480" y="405"/>
                      </a:cubicBezTo>
                      <a:lnTo>
                        <a:pt x="1427" y="403"/>
                      </a:lnTo>
                      <a:close/>
                      <a:moveTo>
                        <a:pt x="879" y="696"/>
                      </a:moveTo>
                      <a:cubicBezTo>
                        <a:pt x="917" y="669"/>
                        <a:pt x="917" y="669"/>
                        <a:pt x="917" y="669"/>
                      </a:cubicBezTo>
                      <a:cubicBezTo>
                        <a:pt x="914" y="663"/>
                        <a:pt x="914" y="663"/>
                        <a:pt x="914" y="663"/>
                      </a:cubicBezTo>
                      <a:cubicBezTo>
                        <a:pt x="914" y="663"/>
                        <a:pt x="864" y="667"/>
                        <a:pt x="863" y="677"/>
                      </a:cubicBezTo>
                      <a:cubicBezTo>
                        <a:pt x="858" y="702"/>
                        <a:pt x="879" y="696"/>
                        <a:pt x="879" y="696"/>
                      </a:cubicBezTo>
                      <a:close/>
                      <a:moveTo>
                        <a:pt x="959" y="747"/>
                      </a:moveTo>
                      <a:cubicBezTo>
                        <a:pt x="949" y="747"/>
                        <a:pt x="933" y="747"/>
                        <a:pt x="933" y="747"/>
                      </a:cubicBezTo>
                      <a:cubicBezTo>
                        <a:pt x="930" y="766"/>
                        <a:pt x="930" y="766"/>
                        <a:pt x="930" y="766"/>
                      </a:cubicBezTo>
                      <a:cubicBezTo>
                        <a:pt x="930" y="766"/>
                        <a:pt x="940" y="794"/>
                        <a:pt x="953" y="783"/>
                      </a:cubicBezTo>
                      <a:cubicBezTo>
                        <a:pt x="966" y="773"/>
                        <a:pt x="969" y="747"/>
                        <a:pt x="959" y="747"/>
                      </a:cubicBezTo>
                      <a:close/>
                      <a:moveTo>
                        <a:pt x="475" y="622"/>
                      </a:moveTo>
                      <a:cubicBezTo>
                        <a:pt x="480" y="617"/>
                        <a:pt x="480" y="602"/>
                        <a:pt x="480" y="602"/>
                      </a:cubicBezTo>
                      <a:cubicBezTo>
                        <a:pt x="499" y="620"/>
                        <a:pt x="499" y="620"/>
                        <a:pt x="499" y="620"/>
                      </a:cubicBezTo>
                      <a:cubicBezTo>
                        <a:pt x="499" y="620"/>
                        <a:pt x="507" y="597"/>
                        <a:pt x="507" y="581"/>
                      </a:cubicBezTo>
                      <a:cubicBezTo>
                        <a:pt x="507" y="565"/>
                        <a:pt x="516" y="521"/>
                        <a:pt x="516" y="521"/>
                      </a:cubicBezTo>
                      <a:cubicBezTo>
                        <a:pt x="516" y="521"/>
                        <a:pt x="507" y="516"/>
                        <a:pt x="507" y="506"/>
                      </a:cubicBezTo>
                      <a:cubicBezTo>
                        <a:pt x="507" y="497"/>
                        <a:pt x="526" y="482"/>
                        <a:pt x="520" y="477"/>
                      </a:cubicBezTo>
                      <a:cubicBezTo>
                        <a:pt x="515" y="472"/>
                        <a:pt x="510" y="468"/>
                        <a:pt x="510" y="468"/>
                      </a:cubicBezTo>
                      <a:cubicBezTo>
                        <a:pt x="502" y="437"/>
                        <a:pt x="502" y="437"/>
                        <a:pt x="502" y="437"/>
                      </a:cubicBezTo>
                      <a:cubicBezTo>
                        <a:pt x="474" y="438"/>
                        <a:pt x="474" y="438"/>
                        <a:pt x="474" y="438"/>
                      </a:cubicBezTo>
                      <a:cubicBezTo>
                        <a:pt x="474" y="438"/>
                        <a:pt x="478" y="420"/>
                        <a:pt x="471" y="416"/>
                      </a:cubicBezTo>
                      <a:cubicBezTo>
                        <a:pt x="464" y="412"/>
                        <a:pt x="450" y="413"/>
                        <a:pt x="450" y="413"/>
                      </a:cubicBezTo>
                      <a:cubicBezTo>
                        <a:pt x="444" y="366"/>
                        <a:pt x="444" y="366"/>
                        <a:pt x="444" y="366"/>
                      </a:cubicBezTo>
                      <a:cubicBezTo>
                        <a:pt x="444" y="366"/>
                        <a:pt x="402" y="370"/>
                        <a:pt x="399" y="357"/>
                      </a:cubicBezTo>
                      <a:cubicBezTo>
                        <a:pt x="396" y="344"/>
                        <a:pt x="410" y="328"/>
                        <a:pt x="410" y="328"/>
                      </a:cubicBezTo>
                      <a:cubicBezTo>
                        <a:pt x="394" y="326"/>
                        <a:pt x="394" y="326"/>
                        <a:pt x="394" y="326"/>
                      </a:cubicBezTo>
                      <a:cubicBezTo>
                        <a:pt x="394" y="326"/>
                        <a:pt x="419" y="297"/>
                        <a:pt x="410" y="289"/>
                      </a:cubicBezTo>
                      <a:cubicBezTo>
                        <a:pt x="400" y="281"/>
                        <a:pt x="358" y="300"/>
                        <a:pt x="358" y="300"/>
                      </a:cubicBezTo>
                      <a:cubicBezTo>
                        <a:pt x="358" y="300"/>
                        <a:pt x="383" y="276"/>
                        <a:pt x="375" y="272"/>
                      </a:cubicBezTo>
                      <a:cubicBezTo>
                        <a:pt x="367" y="268"/>
                        <a:pt x="343" y="264"/>
                        <a:pt x="343" y="264"/>
                      </a:cubicBezTo>
                      <a:cubicBezTo>
                        <a:pt x="343" y="264"/>
                        <a:pt x="354" y="256"/>
                        <a:pt x="340" y="238"/>
                      </a:cubicBezTo>
                      <a:cubicBezTo>
                        <a:pt x="327" y="221"/>
                        <a:pt x="304" y="220"/>
                        <a:pt x="304" y="220"/>
                      </a:cubicBezTo>
                      <a:cubicBezTo>
                        <a:pt x="304" y="220"/>
                        <a:pt x="298" y="200"/>
                        <a:pt x="291" y="192"/>
                      </a:cubicBezTo>
                      <a:cubicBezTo>
                        <a:pt x="284" y="184"/>
                        <a:pt x="275" y="190"/>
                        <a:pt x="275" y="190"/>
                      </a:cubicBezTo>
                      <a:cubicBezTo>
                        <a:pt x="279" y="205"/>
                        <a:pt x="279" y="205"/>
                        <a:pt x="279" y="205"/>
                      </a:cubicBezTo>
                      <a:cubicBezTo>
                        <a:pt x="279" y="205"/>
                        <a:pt x="254" y="186"/>
                        <a:pt x="248" y="180"/>
                      </a:cubicBezTo>
                      <a:cubicBezTo>
                        <a:pt x="243" y="173"/>
                        <a:pt x="232" y="146"/>
                        <a:pt x="232" y="146"/>
                      </a:cubicBezTo>
                      <a:cubicBezTo>
                        <a:pt x="232" y="146"/>
                        <a:pt x="202" y="125"/>
                        <a:pt x="188" y="113"/>
                      </a:cubicBezTo>
                      <a:cubicBezTo>
                        <a:pt x="175" y="101"/>
                        <a:pt x="152" y="82"/>
                        <a:pt x="152" y="82"/>
                      </a:cubicBezTo>
                      <a:cubicBezTo>
                        <a:pt x="152" y="82"/>
                        <a:pt x="156" y="77"/>
                        <a:pt x="151" y="72"/>
                      </a:cubicBezTo>
                      <a:cubicBezTo>
                        <a:pt x="146" y="66"/>
                        <a:pt x="139" y="60"/>
                        <a:pt x="139" y="60"/>
                      </a:cubicBezTo>
                      <a:cubicBezTo>
                        <a:pt x="139" y="60"/>
                        <a:pt x="128" y="41"/>
                        <a:pt x="120" y="34"/>
                      </a:cubicBezTo>
                      <a:cubicBezTo>
                        <a:pt x="112" y="28"/>
                        <a:pt x="104" y="29"/>
                        <a:pt x="104" y="29"/>
                      </a:cubicBezTo>
                      <a:cubicBezTo>
                        <a:pt x="47" y="25"/>
                        <a:pt x="47" y="25"/>
                        <a:pt x="47" y="25"/>
                      </a:cubicBezTo>
                      <a:cubicBezTo>
                        <a:pt x="47" y="25"/>
                        <a:pt x="27" y="0"/>
                        <a:pt x="16" y="2"/>
                      </a:cubicBezTo>
                      <a:cubicBezTo>
                        <a:pt x="6" y="5"/>
                        <a:pt x="0" y="29"/>
                        <a:pt x="7" y="41"/>
                      </a:cubicBezTo>
                      <a:cubicBezTo>
                        <a:pt x="14" y="53"/>
                        <a:pt x="88" y="121"/>
                        <a:pt x="88" y="121"/>
                      </a:cubicBezTo>
                      <a:cubicBezTo>
                        <a:pt x="111" y="157"/>
                        <a:pt x="111" y="157"/>
                        <a:pt x="111" y="157"/>
                      </a:cubicBezTo>
                      <a:cubicBezTo>
                        <a:pt x="119" y="154"/>
                        <a:pt x="119" y="154"/>
                        <a:pt x="119" y="154"/>
                      </a:cubicBezTo>
                      <a:cubicBezTo>
                        <a:pt x="119" y="154"/>
                        <a:pt x="122" y="178"/>
                        <a:pt x="128" y="184"/>
                      </a:cubicBezTo>
                      <a:cubicBezTo>
                        <a:pt x="135" y="189"/>
                        <a:pt x="170" y="202"/>
                        <a:pt x="178" y="218"/>
                      </a:cubicBezTo>
                      <a:cubicBezTo>
                        <a:pt x="186" y="234"/>
                        <a:pt x="194" y="266"/>
                        <a:pt x="194" y="266"/>
                      </a:cubicBezTo>
                      <a:cubicBezTo>
                        <a:pt x="194" y="266"/>
                        <a:pt x="191" y="301"/>
                        <a:pt x="199" y="301"/>
                      </a:cubicBezTo>
                      <a:cubicBezTo>
                        <a:pt x="207" y="301"/>
                        <a:pt x="219" y="293"/>
                        <a:pt x="222" y="302"/>
                      </a:cubicBezTo>
                      <a:cubicBezTo>
                        <a:pt x="224" y="312"/>
                        <a:pt x="230" y="328"/>
                        <a:pt x="230" y="328"/>
                      </a:cubicBezTo>
                      <a:cubicBezTo>
                        <a:pt x="255" y="349"/>
                        <a:pt x="255" y="349"/>
                        <a:pt x="255" y="349"/>
                      </a:cubicBezTo>
                      <a:cubicBezTo>
                        <a:pt x="254" y="365"/>
                        <a:pt x="254" y="365"/>
                        <a:pt x="254" y="365"/>
                      </a:cubicBezTo>
                      <a:cubicBezTo>
                        <a:pt x="275" y="408"/>
                        <a:pt x="275" y="408"/>
                        <a:pt x="275" y="408"/>
                      </a:cubicBezTo>
                      <a:cubicBezTo>
                        <a:pt x="275" y="408"/>
                        <a:pt x="268" y="421"/>
                        <a:pt x="278" y="436"/>
                      </a:cubicBezTo>
                      <a:cubicBezTo>
                        <a:pt x="287" y="450"/>
                        <a:pt x="296" y="453"/>
                        <a:pt x="296" y="453"/>
                      </a:cubicBezTo>
                      <a:cubicBezTo>
                        <a:pt x="296" y="453"/>
                        <a:pt x="306" y="477"/>
                        <a:pt x="314" y="485"/>
                      </a:cubicBezTo>
                      <a:cubicBezTo>
                        <a:pt x="322" y="493"/>
                        <a:pt x="343" y="501"/>
                        <a:pt x="343" y="501"/>
                      </a:cubicBezTo>
                      <a:cubicBezTo>
                        <a:pt x="343" y="526"/>
                        <a:pt x="343" y="526"/>
                        <a:pt x="343" y="526"/>
                      </a:cubicBezTo>
                      <a:cubicBezTo>
                        <a:pt x="343" y="526"/>
                        <a:pt x="392" y="568"/>
                        <a:pt x="395" y="572"/>
                      </a:cubicBezTo>
                      <a:cubicBezTo>
                        <a:pt x="398" y="576"/>
                        <a:pt x="411" y="577"/>
                        <a:pt x="411" y="577"/>
                      </a:cubicBezTo>
                      <a:cubicBezTo>
                        <a:pt x="411" y="577"/>
                        <a:pt x="422" y="602"/>
                        <a:pt x="430" y="606"/>
                      </a:cubicBezTo>
                      <a:cubicBezTo>
                        <a:pt x="438" y="610"/>
                        <a:pt x="440" y="632"/>
                        <a:pt x="444" y="630"/>
                      </a:cubicBezTo>
                      <a:cubicBezTo>
                        <a:pt x="448" y="629"/>
                        <a:pt x="442" y="608"/>
                        <a:pt x="447" y="605"/>
                      </a:cubicBezTo>
                      <a:cubicBezTo>
                        <a:pt x="452" y="602"/>
                        <a:pt x="470" y="628"/>
                        <a:pt x="475" y="622"/>
                      </a:cubicBezTo>
                      <a:close/>
                      <a:moveTo>
                        <a:pt x="1416" y="798"/>
                      </a:moveTo>
                      <a:cubicBezTo>
                        <a:pt x="1409" y="784"/>
                        <a:pt x="1409" y="784"/>
                        <a:pt x="1409" y="784"/>
                      </a:cubicBezTo>
                      <a:cubicBezTo>
                        <a:pt x="1404" y="785"/>
                        <a:pt x="1397" y="786"/>
                        <a:pt x="1392" y="790"/>
                      </a:cubicBezTo>
                      <a:cubicBezTo>
                        <a:pt x="1380" y="797"/>
                        <a:pt x="1380" y="812"/>
                        <a:pt x="1380" y="812"/>
                      </a:cubicBezTo>
                      <a:cubicBezTo>
                        <a:pt x="1380" y="812"/>
                        <a:pt x="1369" y="809"/>
                        <a:pt x="1357" y="820"/>
                      </a:cubicBezTo>
                      <a:cubicBezTo>
                        <a:pt x="1345" y="832"/>
                        <a:pt x="1322" y="855"/>
                        <a:pt x="1342" y="870"/>
                      </a:cubicBezTo>
                      <a:cubicBezTo>
                        <a:pt x="1353" y="879"/>
                        <a:pt x="1393" y="842"/>
                        <a:pt x="1408" y="828"/>
                      </a:cubicBezTo>
                      <a:cubicBezTo>
                        <a:pt x="1405" y="827"/>
                        <a:pt x="1402" y="823"/>
                        <a:pt x="1406" y="817"/>
                      </a:cubicBezTo>
                      <a:cubicBezTo>
                        <a:pt x="1412" y="805"/>
                        <a:pt x="1416" y="798"/>
                        <a:pt x="1416" y="798"/>
                      </a:cubicBezTo>
                      <a:close/>
                      <a:moveTo>
                        <a:pt x="921" y="753"/>
                      </a:moveTo>
                      <a:cubicBezTo>
                        <a:pt x="921" y="734"/>
                        <a:pt x="894" y="734"/>
                        <a:pt x="879" y="731"/>
                      </a:cubicBezTo>
                      <a:cubicBezTo>
                        <a:pt x="865" y="728"/>
                        <a:pt x="866" y="759"/>
                        <a:pt x="866" y="759"/>
                      </a:cubicBezTo>
                      <a:cubicBezTo>
                        <a:pt x="841" y="740"/>
                        <a:pt x="841" y="740"/>
                        <a:pt x="841" y="740"/>
                      </a:cubicBezTo>
                      <a:cubicBezTo>
                        <a:pt x="841" y="740"/>
                        <a:pt x="847" y="724"/>
                        <a:pt x="847" y="700"/>
                      </a:cubicBezTo>
                      <a:cubicBezTo>
                        <a:pt x="847" y="677"/>
                        <a:pt x="799" y="686"/>
                        <a:pt x="799" y="686"/>
                      </a:cubicBezTo>
                      <a:cubicBezTo>
                        <a:pt x="778" y="674"/>
                        <a:pt x="778" y="674"/>
                        <a:pt x="778" y="674"/>
                      </a:cubicBezTo>
                      <a:cubicBezTo>
                        <a:pt x="775" y="659"/>
                        <a:pt x="775" y="659"/>
                        <a:pt x="775" y="659"/>
                      </a:cubicBezTo>
                      <a:cubicBezTo>
                        <a:pt x="749" y="659"/>
                        <a:pt x="749" y="659"/>
                        <a:pt x="749" y="659"/>
                      </a:cubicBezTo>
                      <a:cubicBezTo>
                        <a:pt x="749" y="659"/>
                        <a:pt x="744" y="680"/>
                        <a:pt x="744" y="684"/>
                      </a:cubicBezTo>
                      <a:cubicBezTo>
                        <a:pt x="744" y="688"/>
                        <a:pt x="709" y="677"/>
                        <a:pt x="693" y="674"/>
                      </a:cubicBezTo>
                      <a:cubicBezTo>
                        <a:pt x="677" y="671"/>
                        <a:pt x="648" y="672"/>
                        <a:pt x="648" y="672"/>
                      </a:cubicBezTo>
                      <a:cubicBezTo>
                        <a:pt x="648" y="672"/>
                        <a:pt x="630" y="650"/>
                        <a:pt x="621" y="640"/>
                      </a:cubicBezTo>
                      <a:cubicBezTo>
                        <a:pt x="612" y="630"/>
                        <a:pt x="598" y="641"/>
                        <a:pt x="598" y="641"/>
                      </a:cubicBezTo>
                      <a:cubicBezTo>
                        <a:pt x="598" y="641"/>
                        <a:pt x="573" y="628"/>
                        <a:pt x="567" y="627"/>
                      </a:cubicBezTo>
                      <a:cubicBezTo>
                        <a:pt x="561" y="625"/>
                        <a:pt x="535" y="624"/>
                        <a:pt x="535" y="624"/>
                      </a:cubicBezTo>
                      <a:cubicBezTo>
                        <a:pt x="535" y="624"/>
                        <a:pt x="524" y="615"/>
                        <a:pt x="511" y="619"/>
                      </a:cubicBezTo>
                      <a:cubicBezTo>
                        <a:pt x="498" y="624"/>
                        <a:pt x="498" y="652"/>
                        <a:pt x="491" y="656"/>
                      </a:cubicBezTo>
                      <a:cubicBezTo>
                        <a:pt x="483" y="661"/>
                        <a:pt x="469" y="666"/>
                        <a:pt x="472" y="677"/>
                      </a:cubicBezTo>
                      <a:cubicBezTo>
                        <a:pt x="496" y="672"/>
                        <a:pt x="496" y="672"/>
                        <a:pt x="496" y="672"/>
                      </a:cubicBezTo>
                      <a:cubicBezTo>
                        <a:pt x="527" y="675"/>
                        <a:pt x="527" y="675"/>
                        <a:pt x="527" y="675"/>
                      </a:cubicBezTo>
                      <a:cubicBezTo>
                        <a:pt x="527" y="675"/>
                        <a:pt x="504" y="688"/>
                        <a:pt x="514" y="699"/>
                      </a:cubicBezTo>
                      <a:cubicBezTo>
                        <a:pt x="524" y="709"/>
                        <a:pt x="558" y="691"/>
                        <a:pt x="558" y="691"/>
                      </a:cubicBezTo>
                      <a:cubicBezTo>
                        <a:pt x="558" y="691"/>
                        <a:pt x="608" y="718"/>
                        <a:pt x="623" y="722"/>
                      </a:cubicBezTo>
                      <a:cubicBezTo>
                        <a:pt x="637" y="727"/>
                        <a:pt x="687" y="728"/>
                        <a:pt x="705" y="728"/>
                      </a:cubicBezTo>
                      <a:cubicBezTo>
                        <a:pt x="722" y="728"/>
                        <a:pt x="727" y="747"/>
                        <a:pt x="737" y="756"/>
                      </a:cubicBezTo>
                      <a:cubicBezTo>
                        <a:pt x="747" y="765"/>
                        <a:pt x="780" y="771"/>
                        <a:pt x="794" y="772"/>
                      </a:cubicBezTo>
                      <a:cubicBezTo>
                        <a:pt x="809" y="774"/>
                        <a:pt x="815" y="771"/>
                        <a:pt x="837" y="772"/>
                      </a:cubicBezTo>
                      <a:cubicBezTo>
                        <a:pt x="859" y="774"/>
                        <a:pt x="877" y="801"/>
                        <a:pt x="885" y="806"/>
                      </a:cubicBezTo>
                      <a:cubicBezTo>
                        <a:pt x="894" y="810"/>
                        <a:pt x="904" y="801"/>
                        <a:pt x="904" y="801"/>
                      </a:cubicBezTo>
                      <a:cubicBezTo>
                        <a:pt x="904" y="801"/>
                        <a:pt x="921" y="810"/>
                        <a:pt x="921" y="804"/>
                      </a:cubicBezTo>
                      <a:cubicBezTo>
                        <a:pt x="921" y="793"/>
                        <a:pt x="910" y="778"/>
                        <a:pt x="910" y="778"/>
                      </a:cubicBezTo>
                      <a:cubicBezTo>
                        <a:pt x="910" y="778"/>
                        <a:pt x="921" y="772"/>
                        <a:pt x="921" y="753"/>
                      </a:cubicBezTo>
                      <a:close/>
                      <a:moveTo>
                        <a:pt x="1004" y="484"/>
                      </a:moveTo>
                      <a:cubicBezTo>
                        <a:pt x="1004" y="484"/>
                        <a:pt x="1025" y="467"/>
                        <a:pt x="1031" y="460"/>
                      </a:cubicBezTo>
                      <a:cubicBezTo>
                        <a:pt x="1036" y="453"/>
                        <a:pt x="1055" y="403"/>
                        <a:pt x="1055" y="403"/>
                      </a:cubicBezTo>
                      <a:cubicBezTo>
                        <a:pt x="1055" y="403"/>
                        <a:pt x="1037" y="401"/>
                        <a:pt x="1034" y="388"/>
                      </a:cubicBezTo>
                      <a:cubicBezTo>
                        <a:pt x="1031" y="376"/>
                        <a:pt x="1037" y="361"/>
                        <a:pt x="1042" y="348"/>
                      </a:cubicBezTo>
                      <a:cubicBezTo>
                        <a:pt x="1048" y="334"/>
                        <a:pt x="1070" y="336"/>
                        <a:pt x="1083" y="334"/>
                      </a:cubicBezTo>
                      <a:cubicBezTo>
                        <a:pt x="1095" y="333"/>
                        <a:pt x="1102" y="309"/>
                        <a:pt x="1101" y="301"/>
                      </a:cubicBezTo>
                      <a:cubicBezTo>
                        <a:pt x="1099" y="293"/>
                        <a:pt x="1079" y="301"/>
                        <a:pt x="1079" y="301"/>
                      </a:cubicBezTo>
                      <a:cubicBezTo>
                        <a:pt x="1079" y="301"/>
                        <a:pt x="1076" y="288"/>
                        <a:pt x="1088" y="275"/>
                      </a:cubicBezTo>
                      <a:cubicBezTo>
                        <a:pt x="1101" y="264"/>
                        <a:pt x="1128" y="269"/>
                        <a:pt x="1139" y="271"/>
                      </a:cubicBezTo>
                      <a:cubicBezTo>
                        <a:pt x="1150" y="274"/>
                        <a:pt x="1150" y="257"/>
                        <a:pt x="1150" y="257"/>
                      </a:cubicBezTo>
                      <a:cubicBezTo>
                        <a:pt x="1124" y="235"/>
                        <a:pt x="1124" y="235"/>
                        <a:pt x="1124" y="235"/>
                      </a:cubicBezTo>
                      <a:cubicBezTo>
                        <a:pt x="1124" y="208"/>
                        <a:pt x="1124" y="208"/>
                        <a:pt x="1124" y="208"/>
                      </a:cubicBezTo>
                      <a:cubicBezTo>
                        <a:pt x="1124" y="208"/>
                        <a:pt x="1105" y="207"/>
                        <a:pt x="1105" y="199"/>
                      </a:cubicBezTo>
                      <a:cubicBezTo>
                        <a:pt x="1105" y="191"/>
                        <a:pt x="1117" y="179"/>
                        <a:pt x="1116" y="168"/>
                      </a:cubicBezTo>
                      <a:cubicBezTo>
                        <a:pt x="1115" y="156"/>
                        <a:pt x="1082" y="153"/>
                        <a:pt x="1082" y="153"/>
                      </a:cubicBezTo>
                      <a:cubicBezTo>
                        <a:pt x="1093" y="135"/>
                        <a:pt x="1093" y="135"/>
                        <a:pt x="1093" y="135"/>
                      </a:cubicBezTo>
                      <a:cubicBezTo>
                        <a:pt x="1082" y="130"/>
                        <a:pt x="1082" y="130"/>
                        <a:pt x="1082" y="130"/>
                      </a:cubicBezTo>
                      <a:cubicBezTo>
                        <a:pt x="1086" y="110"/>
                        <a:pt x="1086" y="110"/>
                        <a:pt x="1086" y="110"/>
                      </a:cubicBezTo>
                      <a:cubicBezTo>
                        <a:pt x="1078" y="99"/>
                        <a:pt x="1078" y="99"/>
                        <a:pt x="1078" y="99"/>
                      </a:cubicBezTo>
                      <a:cubicBezTo>
                        <a:pt x="1070" y="92"/>
                        <a:pt x="1051" y="75"/>
                        <a:pt x="1047" y="75"/>
                      </a:cubicBezTo>
                      <a:cubicBezTo>
                        <a:pt x="1043" y="74"/>
                        <a:pt x="1002" y="73"/>
                        <a:pt x="987" y="74"/>
                      </a:cubicBezTo>
                      <a:cubicBezTo>
                        <a:pt x="973" y="75"/>
                        <a:pt x="980" y="97"/>
                        <a:pt x="978" y="113"/>
                      </a:cubicBezTo>
                      <a:cubicBezTo>
                        <a:pt x="977" y="129"/>
                        <a:pt x="968" y="144"/>
                        <a:pt x="968" y="144"/>
                      </a:cubicBezTo>
                      <a:cubicBezTo>
                        <a:pt x="968" y="144"/>
                        <a:pt x="961" y="143"/>
                        <a:pt x="955" y="152"/>
                      </a:cubicBezTo>
                      <a:cubicBezTo>
                        <a:pt x="948" y="161"/>
                        <a:pt x="960" y="177"/>
                        <a:pt x="960" y="177"/>
                      </a:cubicBezTo>
                      <a:cubicBezTo>
                        <a:pt x="938" y="196"/>
                        <a:pt x="938" y="196"/>
                        <a:pt x="938" y="196"/>
                      </a:cubicBezTo>
                      <a:cubicBezTo>
                        <a:pt x="939" y="208"/>
                        <a:pt x="939" y="208"/>
                        <a:pt x="939" y="208"/>
                      </a:cubicBezTo>
                      <a:cubicBezTo>
                        <a:pt x="922" y="231"/>
                        <a:pt x="922" y="231"/>
                        <a:pt x="922" y="231"/>
                      </a:cubicBezTo>
                      <a:cubicBezTo>
                        <a:pt x="906" y="231"/>
                        <a:pt x="906" y="231"/>
                        <a:pt x="906" y="231"/>
                      </a:cubicBezTo>
                      <a:cubicBezTo>
                        <a:pt x="906" y="231"/>
                        <a:pt x="888" y="244"/>
                        <a:pt x="885" y="244"/>
                      </a:cubicBezTo>
                      <a:cubicBezTo>
                        <a:pt x="882" y="245"/>
                        <a:pt x="857" y="229"/>
                        <a:pt x="853" y="227"/>
                      </a:cubicBezTo>
                      <a:cubicBezTo>
                        <a:pt x="849" y="224"/>
                        <a:pt x="824" y="227"/>
                        <a:pt x="824" y="227"/>
                      </a:cubicBezTo>
                      <a:cubicBezTo>
                        <a:pt x="824" y="227"/>
                        <a:pt x="811" y="248"/>
                        <a:pt x="801" y="254"/>
                      </a:cubicBezTo>
                      <a:cubicBezTo>
                        <a:pt x="791" y="260"/>
                        <a:pt x="778" y="251"/>
                        <a:pt x="764" y="251"/>
                      </a:cubicBezTo>
                      <a:cubicBezTo>
                        <a:pt x="749" y="251"/>
                        <a:pt x="750" y="259"/>
                        <a:pt x="746" y="261"/>
                      </a:cubicBezTo>
                      <a:cubicBezTo>
                        <a:pt x="742" y="264"/>
                        <a:pt x="720" y="256"/>
                        <a:pt x="712" y="247"/>
                      </a:cubicBezTo>
                      <a:cubicBezTo>
                        <a:pt x="708" y="243"/>
                        <a:pt x="706" y="237"/>
                        <a:pt x="703" y="231"/>
                      </a:cubicBezTo>
                      <a:cubicBezTo>
                        <a:pt x="703" y="231"/>
                        <a:pt x="703" y="231"/>
                        <a:pt x="703" y="231"/>
                      </a:cubicBezTo>
                      <a:cubicBezTo>
                        <a:pt x="703" y="231"/>
                        <a:pt x="684" y="213"/>
                        <a:pt x="671" y="227"/>
                      </a:cubicBezTo>
                      <a:cubicBezTo>
                        <a:pt x="657" y="242"/>
                        <a:pt x="650" y="278"/>
                        <a:pt x="650" y="278"/>
                      </a:cubicBezTo>
                      <a:cubicBezTo>
                        <a:pt x="666" y="300"/>
                        <a:pt x="666" y="300"/>
                        <a:pt x="666" y="300"/>
                      </a:cubicBezTo>
                      <a:cubicBezTo>
                        <a:pt x="673" y="335"/>
                        <a:pt x="673" y="335"/>
                        <a:pt x="673" y="335"/>
                      </a:cubicBezTo>
                      <a:cubicBezTo>
                        <a:pt x="704" y="353"/>
                        <a:pt x="704" y="353"/>
                        <a:pt x="704" y="353"/>
                      </a:cubicBezTo>
                      <a:cubicBezTo>
                        <a:pt x="699" y="377"/>
                        <a:pt x="699" y="377"/>
                        <a:pt x="699" y="377"/>
                      </a:cubicBezTo>
                      <a:cubicBezTo>
                        <a:pt x="716" y="388"/>
                        <a:pt x="716" y="388"/>
                        <a:pt x="716" y="388"/>
                      </a:cubicBezTo>
                      <a:cubicBezTo>
                        <a:pt x="705" y="407"/>
                        <a:pt x="705" y="407"/>
                        <a:pt x="705" y="407"/>
                      </a:cubicBezTo>
                      <a:cubicBezTo>
                        <a:pt x="718" y="425"/>
                        <a:pt x="718" y="425"/>
                        <a:pt x="718" y="425"/>
                      </a:cubicBezTo>
                      <a:cubicBezTo>
                        <a:pt x="707" y="432"/>
                        <a:pt x="707" y="432"/>
                        <a:pt x="707" y="432"/>
                      </a:cubicBezTo>
                      <a:cubicBezTo>
                        <a:pt x="717" y="470"/>
                        <a:pt x="717" y="470"/>
                        <a:pt x="717" y="470"/>
                      </a:cubicBezTo>
                      <a:cubicBezTo>
                        <a:pt x="745" y="466"/>
                        <a:pt x="745" y="466"/>
                        <a:pt x="745" y="466"/>
                      </a:cubicBezTo>
                      <a:cubicBezTo>
                        <a:pt x="765" y="473"/>
                        <a:pt x="765" y="473"/>
                        <a:pt x="765" y="473"/>
                      </a:cubicBezTo>
                      <a:cubicBezTo>
                        <a:pt x="765" y="473"/>
                        <a:pt x="777" y="451"/>
                        <a:pt x="789" y="451"/>
                      </a:cubicBezTo>
                      <a:cubicBezTo>
                        <a:pt x="801" y="451"/>
                        <a:pt x="789" y="483"/>
                        <a:pt x="801" y="493"/>
                      </a:cubicBezTo>
                      <a:cubicBezTo>
                        <a:pt x="812" y="502"/>
                        <a:pt x="822" y="472"/>
                        <a:pt x="822" y="472"/>
                      </a:cubicBezTo>
                      <a:cubicBezTo>
                        <a:pt x="840" y="484"/>
                        <a:pt x="840" y="484"/>
                        <a:pt x="840" y="484"/>
                      </a:cubicBezTo>
                      <a:cubicBezTo>
                        <a:pt x="840" y="484"/>
                        <a:pt x="856" y="470"/>
                        <a:pt x="865" y="470"/>
                      </a:cubicBezTo>
                      <a:cubicBezTo>
                        <a:pt x="874" y="469"/>
                        <a:pt x="868" y="495"/>
                        <a:pt x="878" y="498"/>
                      </a:cubicBezTo>
                      <a:cubicBezTo>
                        <a:pt x="888" y="502"/>
                        <a:pt x="919" y="486"/>
                        <a:pt x="935" y="489"/>
                      </a:cubicBezTo>
                      <a:cubicBezTo>
                        <a:pt x="951" y="493"/>
                        <a:pt x="936" y="542"/>
                        <a:pt x="936" y="542"/>
                      </a:cubicBezTo>
                      <a:cubicBezTo>
                        <a:pt x="936" y="542"/>
                        <a:pt x="950" y="538"/>
                        <a:pt x="966" y="531"/>
                      </a:cubicBezTo>
                      <a:cubicBezTo>
                        <a:pt x="982" y="523"/>
                        <a:pt x="1004" y="484"/>
                        <a:pt x="1004" y="484"/>
                      </a:cubicBezTo>
                      <a:close/>
                      <a:moveTo>
                        <a:pt x="990" y="745"/>
                      </a:moveTo>
                      <a:cubicBezTo>
                        <a:pt x="980" y="744"/>
                        <a:pt x="974" y="755"/>
                        <a:pt x="974" y="755"/>
                      </a:cubicBezTo>
                      <a:cubicBezTo>
                        <a:pt x="974" y="755"/>
                        <a:pt x="991" y="770"/>
                        <a:pt x="1002" y="763"/>
                      </a:cubicBezTo>
                      <a:cubicBezTo>
                        <a:pt x="1012" y="755"/>
                        <a:pt x="1000" y="747"/>
                        <a:pt x="990" y="745"/>
                      </a:cubicBezTo>
                      <a:close/>
                      <a:moveTo>
                        <a:pt x="1148" y="822"/>
                      </a:moveTo>
                      <a:cubicBezTo>
                        <a:pt x="1125" y="815"/>
                        <a:pt x="1125" y="815"/>
                        <a:pt x="1125" y="815"/>
                      </a:cubicBezTo>
                      <a:cubicBezTo>
                        <a:pt x="1118" y="821"/>
                        <a:pt x="1119" y="822"/>
                        <a:pt x="1129" y="838"/>
                      </a:cubicBezTo>
                      <a:cubicBezTo>
                        <a:pt x="1140" y="854"/>
                        <a:pt x="1147" y="843"/>
                        <a:pt x="1160" y="843"/>
                      </a:cubicBezTo>
                      <a:cubicBezTo>
                        <a:pt x="1173" y="843"/>
                        <a:pt x="1163" y="852"/>
                        <a:pt x="1173" y="862"/>
                      </a:cubicBezTo>
                      <a:cubicBezTo>
                        <a:pt x="1184" y="872"/>
                        <a:pt x="1204" y="863"/>
                        <a:pt x="1204" y="863"/>
                      </a:cubicBezTo>
                      <a:cubicBezTo>
                        <a:pt x="1204" y="863"/>
                        <a:pt x="1200" y="844"/>
                        <a:pt x="1187" y="827"/>
                      </a:cubicBezTo>
                      <a:cubicBezTo>
                        <a:pt x="1173" y="809"/>
                        <a:pt x="1148" y="822"/>
                        <a:pt x="1148" y="822"/>
                      </a:cubicBezTo>
                      <a:close/>
                      <a:moveTo>
                        <a:pt x="1312" y="751"/>
                      </a:moveTo>
                      <a:cubicBezTo>
                        <a:pt x="1293" y="767"/>
                        <a:pt x="1293" y="767"/>
                        <a:pt x="1293" y="767"/>
                      </a:cubicBezTo>
                      <a:cubicBezTo>
                        <a:pt x="1293" y="767"/>
                        <a:pt x="1282" y="755"/>
                        <a:pt x="1271" y="756"/>
                      </a:cubicBezTo>
                      <a:cubicBezTo>
                        <a:pt x="1261" y="758"/>
                        <a:pt x="1249" y="771"/>
                        <a:pt x="1249" y="771"/>
                      </a:cubicBezTo>
                      <a:cubicBezTo>
                        <a:pt x="1249" y="771"/>
                        <a:pt x="1239" y="745"/>
                        <a:pt x="1221" y="748"/>
                      </a:cubicBezTo>
                      <a:cubicBezTo>
                        <a:pt x="1204" y="751"/>
                        <a:pt x="1182" y="777"/>
                        <a:pt x="1182" y="777"/>
                      </a:cubicBezTo>
                      <a:cubicBezTo>
                        <a:pt x="1158" y="775"/>
                        <a:pt x="1158" y="775"/>
                        <a:pt x="1158" y="775"/>
                      </a:cubicBezTo>
                      <a:cubicBezTo>
                        <a:pt x="1151" y="787"/>
                        <a:pt x="1151" y="787"/>
                        <a:pt x="1151" y="787"/>
                      </a:cubicBezTo>
                      <a:cubicBezTo>
                        <a:pt x="1167" y="784"/>
                        <a:pt x="1167" y="784"/>
                        <a:pt x="1167" y="784"/>
                      </a:cubicBezTo>
                      <a:cubicBezTo>
                        <a:pt x="1167" y="784"/>
                        <a:pt x="1179" y="790"/>
                        <a:pt x="1191" y="795"/>
                      </a:cubicBezTo>
                      <a:cubicBezTo>
                        <a:pt x="1202" y="799"/>
                        <a:pt x="1214" y="781"/>
                        <a:pt x="1214" y="781"/>
                      </a:cubicBezTo>
                      <a:cubicBezTo>
                        <a:pt x="1276" y="780"/>
                        <a:pt x="1276" y="780"/>
                        <a:pt x="1276" y="780"/>
                      </a:cubicBezTo>
                      <a:cubicBezTo>
                        <a:pt x="1308" y="775"/>
                        <a:pt x="1308" y="775"/>
                        <a:pt x="1308" y="775"/>
                      </a:cubicBezTo>
                      <a:cubicBezTo>
                        <a:pt x="1334" y="752"/>
                        <a:pt x="1334" y="752"/>
                        <a:pt x="1334" y="752"/>
                      </a:cubicBezTo>
                      <a:cubicBezTo>
                        <a:pt x="1333" y="742"/>
                        <a:pt x="1333" y="742"/>
                        <a:pt x="1333" y="742"/>
                      </a:cubicBezTo>
                      <a:lnTo>
                        <a:pt x="1312" y="751"/>
                      </a:lnTo>
                      <a:close/>
                      <a:moveTo>
                        <a:pt x="1056" y="774"/>
                      </a:moveTo>
                      <a:cubicBezTo>
                        <a:pt x="1056" y="774"/>
                        <a:pt x="1042" y="759"/>
                        <a:pt x="1034" y="761"/>
                      </a:cubicBezTo>
                      <a:cubicBezTo>
                        <a:pt x="1025" y="762"/>
                        <a:pt x="1006" y="791"/>
                        <a:pt x="1006" y="791"/>
                      </a:cubicBezTo>
                      <a:cubicBezTo>
                        <a:pt x="1041" y="796"/>
                        <a:pt x="1041" y="796"/>
                        <a:pt x="1041" y="796"/>
                      </a:cubicBezTo>
                      <a:cubicBezTo>
                        <a:pt x="1042" y="810"/>
                        <a:pt x="1042" y="810"/>
                        <a:pt x="1042" y="810"/>
                      </a:cubicBezTo>
                      <a:cubicBezTo>
                        <a:pt x="1057" y="808"/>
                        <a:pt x="1057" y="808"/>
                        <a:pt x="1057" y="808"/>
                      </a:cubicBezTo>
                      <a:cubicBezTo>
                        <a:pt x="1063" y="794"/>
                        <a:pt x="1063" y="794"/>
                        <a:pt x="1063" y="794"/>
                      </a:cubicBezTo>
                      <a:cubicBezTo>
                        <a:pt x="1082" y="805"/>
                        <a:pt x="1082" y="805"/>
                        <a:pt x="1082" y="805"/>
                      </a:cubicBezTo>
                      <a:cubicBezTo>
                        <a:pt x="1101" y="783"/>
                        <a:pt x="1101" y="783"/>
                        <a:pt x="1101" y="783"/>
                      </a:cubicBezTo>
                      <a:cubicBezTo>
                        <a:pt x="1067" y="771"/>
                        <a:pt x="1067" y="771"/>
                        <a:pt x="1067" y="771"/>
                      </a:cubicBezTo>
                      <a:lnTo>
                        <a:pt x="1056" y="774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8" name="India">
                  <a:extLst>
                    <a:ext uri="{FF2B5EF4-FFF2-40B4-BE49-F238E27FC236}">
                      <a16:creationId xmlns:a16="http://schemas.microsoft.com/office/drawing/2014/main" id="{9FA26B53-9663-3812-735D-1D06DC1002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392920" y="2998205"/>
                  <a:ext cx="730377" cy="883829"/>
                </a:xfrm>
                <a:custGeom>
                  <a:avLst/>
                  <a:gdLst>
                    <a:gd name="T0" fmla="*/ 1202 w 1304"/>
                    <a:gd name="T1" fmla="*/ 1237 h 1578"/>
                    <a:gd name="T2" fmla="*/ 1259 w 1304"/>
                    <a:gd name="T3" fmla="*/ 1543 h 1578"/>
                    <a:gd name="T4" fmla="*/ 1302 w 1304"/>
                    <a:gd name="T5" fmla="*/ 417 h 1578"/>
                    <a:gd name="T6" fmla="*/ 1231 w 1304"/>
                    <a:gd name="T7" fmla="*/ 379 h 1578"/>
                    <a:gd name="T8" fmla="*/ 1133 w 1304"/>
                    <a:gd name="T9" fmla="*/ 390 h 1578"/>
                    <a:gd name="T10" fmla="*/ 1045 w 1304"/>
                    <a:gd name="T11" fmla="*/ 450 h 1578"/>
                    <a:gd name="T12" fmla="*/ 1042 w 1304"/>
                    <a:gd name="T13" fmla="*/ 497 h 1578"/>
                    <a:gd name="T14" fmla="*/ 926 w 1304"/>
                    <a:gd name="T15" fmla="*/ 487 h 1578"/>
                    <a:gd name="T16" fmla="*/ 882 w 1304"/>
                    <a:gd name="T17" fmla="*/ 450 h 1578"/>
                    <a:gd name="T18" fmla="*/ 853 w 1304"/>
                    <a:gd name="T19" fmla="*/ 520 h 1578"/>
                    <a:gd name="T20" fmla="*/ 766 w 1304"/>
                    <a:gd name="T21" fmla="*/ 495 h 1578"/>
                    <a:gd name="T22" fmla="*/ 695 w 1304"/>
                    <a:gd name="T23" fmla="*/ 457 h 1578"/>
                    <a:gd name="T24" fmla="*/ 640 w 1304"/>
                    <a:gd name="T25" fmla="*/ 459 h 1578"/>
                    <a:gd name="T26" fmla="*/ 564 w 1304"/>
                    <a:gd name="T27" fmla="*/ 423 h 1578"/>
                    <a:gd name="T28" fmla="*/ 499 w 1304"/>
                    <a:gd name="T29" fmla="*/ 382 h 1578"/>
                    <a:gd name="T30" fmla="*/ 518 w 1304"/>
                    <a:gd name="T31" fmla="*/ 323 h 1578"/>
                    <a:gd name="T32" fmla="*/ 481 w 1304"/>
                    <a:gd name="T33" fmla="*/ 283 h 1578"/>
                    <a:gd name="T34" fmla="*/ 412 w 1304"/>
                    <a:gd name="T35" fmla="*/ 221 h 1578"/>
                    <a:gd name="T36" fmla="*/ 423 w 1304"/>
                    <a:gd name="T37" fmla="*/ 194 h 1578"/>
                    <a:gd name="T38" fmla="*/ 395 w 1304"/>
                    <a:gd name="T39" fmla="*/ 129 h 1578"/>
                    <a:gd name="T40" fmla="*/ 438 w 1304"/>
                    <a:gd name="T41" fmla="*/ 69 h 1578"/>
                    <a:gd name="T42" fmla="*/ 319 w 1304"/>
                    <a:gd name="T43" fmla="*/ 29 h 1578"/>
                    <a:gd name="T44" fmla="*/ 266 w 1304"/>
                    <a:gd name="T45" fmla="*/ 74 h 1578"/>
                    <a:gd name="T46" fmla="*/ 156 w 1304"/>
                    <a:gd name="T47" fmla="*/ 89 h 1578"/>
                    <a:gd name="T48" fmla="*/ 186 w 1304"/>
                    <a:gd name="T49" fmla="*/ 141 h 1578"/>
                    <a:gd name="T50" fmla="*/ 219 w 1304"/>
                    <a:gd name="T51" fmla="*/ 196 h 1578"/>
                    <a:gd name="T52" fmla="*/ 235 w 1304"/>
                    <a:gd name="T53" fmla="*/ 268 h 1578"/>
                    <a:gd name="T54" fmla="*/ 179 w 1304"/>
                    <a:gd name="T55" fmla="*/ 372 h 1578"/>
                    <a:gd name="T56" fmla="*/ 107 w 1304"/>
                    <a:gd name="T57" fmla="*/ 437 h 1578"/>
                    <a:gd name="T58" fmla="*/ 33 w 1304"/>
                    <a:gd name="T59" fmla="*/ 493 h 1578"/>
                    <a:gd name="T60" fmla="*/ 74 w 1304"/>
                    <a:gd name="T61" fmla="*/ 551 h 1578"/>
                    <a:gd name="T62" fmla="*/ 98 w 1304"/>
                    <a:gd name="T63" fmla="*/ 635 h 1578"/>
                    <a:gd name="T64" fmla="*/ 15 w 1304"/>
                    <a:gd name="T65" fmla="*/ 630 h 1578"/>
                    <a:gd name="T66" fmla="*/ 78 w 1304"/>
                    <a:gd name="T67" fmla="*/ 697 h 1578"/>
                    <a:gd name="T68" fmla="*/ 70 w 1304"/>
                    <a:gd name="T69" fmla="*/ 779 h 1578"/>
                    <a:gd name="T70" fmla="*/ 213 w 1304"/>
                    <a:gd name="T71" fmla="*/ 781 h 1578"/>
                    <a:gd name="T72" fmla="*/ 267 w 1304"/>
                    <a:gd name="T73" fmla="*/ 1062 h 1578"/>
                    <a:gd name="T74" fmla="*/ 407 w 1304"/>
                    <a:gd name="T75" fmla="*/ 1335 h 1578"/>
                    <a:gd name="T76" fmla="*/ 550 w 1304"/>
                    <a:gd name="T77" fmla="*/ 1443 h 1578"/>
                    <a:gd name="T78" fmla="*/ 601 w 1304"/>
                    <a:gd name="T79" fmla="*/ 1311 h 1578"/>
                    <a:gd name="T80" fmla="*/ 594 w 1304"/>
                    <a:gd name="T81" fmla="*/ 1107 h 1578"/>
                    <a:gd name="T82" fmla="*/ 688 w 1304"/>
                    <a:gd name="T83" fmla="*/ 1044 h 1578"/>
                    <a:gd name="T84" fmla="*/ 820 w 1304"/>
                    <a:gd name="T85" fmla="*/ 866 h 1578"/>
                    <a:gd name="T86" fmla="*/ 873 w 1304"/>
                    <a:gd name="T87" fmla="*/ 795 h 1578"/>
                    <a:gd name="T88" fmla="*/ 942 w 1304"/>
                    <a:gd name="T89" fmla="*/ 744 h 1578"/>
                    <a:gd name="T90" fmla="*/ 959 w 1304"/>
                    <a:gd name="T91" fmla="*/ 697 h 1578"/>
                    <a:gd name="T92" fmla="*/ 917 w 1304"/>
                    <a:gd name="T93" fmla="*/ 604 h 1578"/>
                    <a:gd name="T94" fmla="*/ 897 w 1304"/>
                    <a:gd name="T95" fmla="*/ 546 h 1578"/>
                    <a:gd name="T96" fmla="*/ 925 w 1304"/>
                    <a:gd name="T97" fmla="*/ 515 h 1578"/>
                    <a:gd name="T98" fmla="*/ 972 w 1304"/>
                    <a:gd name="T99" fmla="*/ 534 h 1578"/>
                    <a:gd name="T100" fmla="*/ 1049 w 1304"/>
                    <a:gd name="T101" fmla="*/ 590 h 1578"/>
                    <a:gd name="T102" fmla="*/ 1063 w 1304"/>
                    <a:gd name="T103" fmla="*/ 641 h 1578"/>
                    <a:gd name="T104" fmla="*/ 1099 w 1304"/>
                    <a:gd name="T105" fmla="*/ 664 h 1578"/>
                    <a:gd name="T106" fmla="*/ 1161 w 1304"/>
                    <a:gd name="T107" fmla="*/ 750 h 1578"/>
                    <a:gd name="T108" fmla="*/ 1143 w 1304"/>
                    <a:gd name="T109" fmla="*/ 648 h 1578"/>
                    <a:gd name="T110" fmla="*/ 1199 w 1304"/>
                    <a:gd name="T111" fmla="*/ 576 h 1578"/>
                    <a:gd name="T112" fmla="*/ 1238 w 1304"/>
                    <a:gd name="T113" fmla="*/ 497 h 15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304" h="1578">
                      <a:moveTo>
                        <a:pt x="1204" y="1196"/>
                      </a:moveTo>
                      <a:cubicBezTo>
                        <a:pt x="1184" y="1198"/>
                        <a:pt x="1188" y="1259"/>
                        <a:pt x="1188" y="1259"/>
                      </a:cubicBezTo>
                      <a:cubicBezTo>
                        <a:pt x="1191" y="1325"/>
                        <a:pt x="1191" y="1325"/>
                        <a:pt x="1191" y="1325"/>
                      </a:cubicBezTo>
                      <a:cubicBezTo>
                        <a:pt x="1202" y="1305"/>
                        <a:pt x="1202" y="1305"/>
                        <a:pt x="1202" y="1305"/>
                      </a:cubicBezTo>
                      <a:cubicBezTo>
                        <a:pt x="1202" y="1237"/>
                        <a:pt x="1202" y="1237"/>
                        <a:pt x="1202" y="1237"/>
                      </a:cubicBezTo>
                      <a:cubicBezTo>
                        <a:pt x="1202" y="1237"/>
                        <a:pt x="1220" y="1194"/>
                        <a:pt x="1204" y="1196"/>
                      </a:cubicBezTo>
                      <a:close/>
                      <a:moveTo>
                        <a:pt x="1195" y="1357"/>
                      </a:moveTo>
                      <a:cubicBezTo>
                        <a:pt x="1180" y="1357"/>
                        <a:pt x="1196" y="1389"/>
                        <a:pt x="1196" y="1389"/>
                      </a:cubicBezTo>
                      <a:cubicBezTo>
                        <a:pt x="1196" y="1389"/>
                        <a:pt x="1209" y="1357"/>
                        <a:pt x="1195" y="1357"/>
                      </a:cubicBezTo>
                      <a:close/>
                      <a:moveTo>
                        <a:pt x="1259" y="1543"/>
                      </a:moveTo>
                      <a:cubicBezTo>
                        <a:pt x="1251" y="1544"/>
                        <a:pt x="1255" y="1578"/>
                        <a:pt x="1270" y="1578"/>
                      </a:cubicBezTo>
                      <a:cubicBezTo>
                        <a:pt x="1270" y="1578"/>
                        <a:pt x="1267" y="1542"/>
                        <a:pt x="1259" y="1543"/>
                      </a:cubicBezTo>
                      <a:close/>
                      <a:moveTo>
                        <a:pt x="1280" y="454"/>
                      </a:moveTo>
                      <a:cubicBezTo>
                        <a:pt x="1280" y="445"/>
                        <a:pt x="1304" y="436"/>
                        <a:pt x="1304" y="436"/>
                      </a:cubicBezTo>
                      <a:cubicBezTo>
                        <a:pt x="1302" y="417"/>
                        <a:pt x="1302" y="417"/>
                        <a:pt x="1302" y="417"/>
                      </a:cubicBezTo>
                      <a:cubicBezTo>
                        <a:pt x="1302" y="417"/>
                        <a:pt x="1287" y="413"/>
                        <a:pt x="1280" y="413"/>
                      </a:cubicBezTo>
                      <a:cubicBezTo>
                        <a:pt x="1273" y="413"/>
                        <a:pt x="1258" y="413"/>
                        <a:pt x="1250" y="411"/>
                      </a:cubicBezTo>
                      <a:cubicBezTo>
                        <a:pt x="1242" y="409"/>
                        <a:pt x="1262" y="400"/>
                        <a:pt x="1262" y="400"/>
                      </a:cubicBezTo>
                      <a:cubicBezTo>
                        <a:pt x="1251" y="380"/>
                        <a:pt x="1251" y="380"/>
                        <a:pt x="1251" y="380"/>
                      </a:cubicBezTo>
                      <a:cubicBezTo>
                        <a:pt x="1251" y="380"/>
                        <a:pt x="1240" y="381"/>
                        <a:pt x="1231" y="379"/>
                      </a:cubicBezTo>
                      <a:cubicBezTo>
                        <a:pt x="1222" y="377"/>
                        <a:pt x="1238" y="369"/>
                        <a:pt x="1238" y="369"/>
                      </a:cubicBezTo>
                      <a:cubicBezTo>
                        <a:pt x="1238" y="369"/>
                        <a:pt x="1237" y="364"/>
                        <a:pt x="1219" y="355"/>
                      </a:cubicBezTo>
                      <a:cubicBezTo>
                        <a:pt x="1201" y="346"/>
                        <a:pt x="1209" y="377"/>
                        <a:pt x="1198" y="377"/>
                      </a:cubicBezTo>
                      <a:cubicBezTo>
                        <a:pt x="1187" y="377"/>
                        <a:pt x="1173" y="363"/>
                        <a:pt x="1165" y="363"/>
                      </a:cubicBezTo>
                      <a:cubicBezTo>
                        <a:pt x="1157" y="363"/>
                        <a:pt x="1140" y="382"/>
                        <a:pt x="1133" y="390"/>
                      </a:cubicBezTo>
                      <a:cubicBezTo>
                        <a:pt x="1126" y="398"/>
                        <a:pt x="1102" y="394"/>
                        <a:pt x="1102" y="394"/>
                      </a:cubicBezTo>
                      <a:cubicBezTo>
                        <a:pt x="1102" y="394"/>
                        <a:pt x="1109" y="410"/>
                        <a:pt x="1107" y="415"/>
                      </a:cubicBezTo>
                      <a:cubicBezTo>
                        <a:pt x="1105" y="420"/>
                        <a:pt x="1084" y="422"/>
                        <a:pt x="1084" y="422"/>
                      </a:cubicBezTo>
                      <a:cubicBezTo>
                        <a:pt x="1084" y="422"/>
                        <a:pt x="1092" y="438"/>
                        <a:pt x="1084" y="445"/>
                      </a:cubicBezTo>
                      <a:cubicBezTo>
                        <a:pt x="1076" y="452"/>
                        <a:pt x="1045" y="450"/>
                        <a:pt x="1045" y="450"/>
                      </a:cubicBezTo>
                      <a:cubicBezTo>
                        <a:pt x="1045" y="450"/>
                        <a:pt x="1039" y="452"/>
                        <a:pt x="1043" y="459"/>
                      </a:cubicBezTo>
                      <a:cubicBezTo>
                        <a:pt x="1047" y="466"/>
                        <a:pt x="1064" y="465"/>
                        <a:pt x="1064" y="465"/>
                      </a:cubicBezTo>
                      <a:cubicBezTo>
                        <a:pt x="1064" y="479"/>
                        <a:pt x="1064" y="479"/>
                        <a:pt x="1064" y="479"/>
                      </a:cubicBezTo>
                      <a:cubicBezTo>
                        <a:pt x="1064" y="479"/>
                        <a:pt x="1079" y="490"/>
                        <a:pt x="1065" y="497"/>
                      </a:cubicBezTo>
                      <a:cubicBezTo>
                        <a:pt x="1051" y="504"/>
                        <a:pt x="1042" y="497"/>
                        <a:pt x="1042" y="497"/>
                      </a:cubicBezTo>
                      <a:cubicBezTo>
                        <a:pt x="1042" y="497"/>
                        <a:pt x="1034" y="501"/>
                        <a:pt x="1016" y="501"/>
                      </a:cubicBezTo>
                      <a:cubicBezTo>
                        <a:pt x="998" y="501"/>
                        <a:pt x="1000" y="495"/>
                        <a:pt x="991" y="495"/>
                      </a:cubicBezTo>
                      <a:cubicBezTo>
                        <a:pt x="982" y="495"/>
                        <a:pt x="988" y="503"/>
                        <a:pt x="969" y="503"/>
                      </a:cubicBezTo>
                      <a:cubicBezTo>
                        <a:pt x="950" y="503"/>
                        <a:pt x="953" y="492"/>
                        <a:pt x="953" y="492"/>
                      </a:cubicBezTo>
                      <a:cubicBezTo>
                        <a:pt x="953" y="492"/>
                        <a:pt x="949" y="503"/>
                        <a:pt x="926" y="487"/>
                      </a:cubicBezTo>
                      <a:cubicBezTo>
                        <a:pt x="903" y="471"/>
                        <a:pt x="921" y="467"/>
                        <a:pt x="921" y="467"/>
                      </a:cubicBezTo>
                      <a:cubicBezTo>
                        <a:pt x="921" y="467"/>
                        <a:pt x="916" y="468"/>
                        <a:pt x="911" y="466"/>
                      </a:cubicBezTo>
                      <a:cubicBezTo>
                        <a:pt x="906" y="464"/>
                        <a:pt x="917" y="436"/>
                        <a:pt x="906" y="427"/>
                      </a:cubicBezTo>
                      <a:cubicBezTo>
                        <a:pt x="899" y="422"/>
                        <a:pt x="888" y="428"/>
                        <a:pt x="876" y="435"/>
                      </a:cubicBezTo>
                      <a:cubicBezTo>
                        <a:pt x="882" y="450"/>
                        <a:pt x="882" y="450"/>
                        <a:pt x="882" y="450"/>
                      </a:cubicBezTo>
                      <a:cubicBezTo>
                        <a:pt x="882" y="482"/>
                        <a:pt x="882" y="482"/>
                        <a:pt x="882" y="482"/>
                      </a:cubicBezTo>
                      <a:cubicBezTo>
                        <a:pt x="892" y="497"/>
                        <a:pt x="892" y="497"/>
                        <a:pt x="892" y="497"/>
                      </a:cubicBezTo>
                      <a:cubicBezTo>
                        <a:pt x="892" y="497"/>
                        <a:pt x="892" y="506"/>
                        <a:pt x="891" y="515"/>
                      </a:cubicBezTo>
                      <a:cubicBezTo>
                        <a:pt x="890" y="524"/>
                        <a:pt x="869" y="521"/>
                        <a:pt x="869" y="521"/>
                      </a:cubicBezTo>
                      <a:cubicBezTo>
                        <a:pt x="869" y="521"/>
                        <a:pt x="862" y="520"/>
                        <a:pt x="853" y="520"/>
                      </a:cubicBezTo>
                      <a:cubicBezTo>
                        <a:pt x="844" y="520"/>
                        <a:pt x="849" y="510"/>
                        <a:pt x="843" y="510"/>
                      </a:cubicBezTo>
                      <a:cubicBezTo>
                        <a:pt x="837" y="510"/>
                        <a:pt x="829" y="521"/>
                        <a:pt x="829" y="521"/>
                      </a:cubicBezTo>
                      <a:cubicBezTo>
                        <a:pt x="829" y="521"/>
                        <a:pt x="818" y="508"/>
                        <a:pt x="805" y="504"/>
                      </a:cubicBezTo>
                      <a:cubicBezTo>
                        <a:pt x="792" y="500"/>
                        <a:pt x="788" y="509"/>
                        <a:pt x="788" y="509"/>
                      </a:cubicBezTo>
                      <a:cubicBezTo>
                        <a:pt x="766" y="495"/>
                        <a:pt x="766" y="495"/>
                        <a:pt x="766" y="495"/>
                      </a:cubicBezTo>
                      <a:cubicBezTo>
                        <a:pt x="754" y="504"/>
                        <a:pt x="754" y="504"/>
                        <a:pt x="754" y="504"/>
                      </a:cubicBezTo>
                      <a:cubicBezTo>
                        <a:pt x="754" y="504"/>
                        <a:pt x="745" y="493"/>
                        <a:pt x="736" y="485"/>
                      </a:cubicBezTo>
                      <a:cubicBezTo>
                        <a:pt x="727" y="477"/>
                        <a:pt x="719" y="467"/>
                        <a:pt x="719" y="467"/>
                      </a:cubicBezTo>
                      <a:cubicBezTo>
                        <a:pt x="705" y="470"/>
                        <a:pt x="705" y="470"/>
                        <a:pt x="705" y="470"/>
                      </a:cubicBezTo>
                      <a:cubicBezTo>
                        <a:pt x="705" y="470"/>
                        <a:pt x="704" y="462"/>
                        <a:pt x="695" y="457"/>
                      </a:cubicBezTo>
                      <a:cubicBezTo>
                        <a:pt x="686" y="452"/>
                        <a:pt x="687" y="471"/>
                        <a:pt x="687" y="471"/>
                      </a:cubicBezTo>
                      <a:cubicBezTo>
                        <a:pt x="687" y="471"/>
                        <a:pt x="686" y="464"/>
                        <a:pt x="677" y="464"/>
                      </a:cubicBezTo>
                      <a:cubicBezTo>
                        <a:pt x="668" y="464"/>
                        <a:pt x="663" y="472"/>
                        <a:pt x="663" y="472"/>
                      </a:cubicBezTo>
                      <a:cubicBezTo>
                        <a:pt x="660" y="465"/>
                        <a:pt x="660" y="465"/>
                        <a:pt x="660" y="465"/>
                      </a:cubicBezTo>
                      <a:cubicBezTo>
                        <a:pt x="660" y="465"/>
                        <a:pt x="653" y="461"/>
                        <a:pt x="640" y="459"/>
                      </a:cubicBezTo>
                      <a:cubicBezTo>
                        <a:pt x="627" y="457"/>
                        <a:pt x="639" y="452"/>
                        <a:pt x="634" y="450"/>
                      </a:cubicBezTo>
                      <a:cubicBezTo>
                        <a:pt x="629" y="448"/>
                        <a:pt x="624" y="451"/>
                        <a:pt x="616" y="451"/>
                      </a:cubicBezTo>
                      <a:cubicBezTo>
                        <a:pt x="608" y="451"/>
                        <a:pt x="601" y="437"/>
                        <a:pt x="601" y="437"/>
                      </a:cubicBezTo>
                      <a:cubicBezTo>
                        <a:pt x="592" y="438"/>
                        <a:pt x="592" y="438"/>
                        <a:pt x="592" y="438"/>
                      </a:cubicBezTo>
                      <a:cubicBezTo>
                        <a:pt x="564" y="423"/>
                        <a:pt x="564" y="423"/>
                        <a:pt x="564" y="423"/>
                      </a:cubicBezTo>
                      <a:cubicBezTo>
                        <a:pt x="557" y="413"/>
                        <a:pt x="557" y="413"/>
                        <a:pt x="557" y="413"/>
                      </a:cubicBezTo>
                      <a:cubicBezTo>
                        <a:pt x="539" y="413"/>
                        <a:pt x="539" y="413"/>
                        <a:pt x="539" y="413"/>
                      </a:cubicBezTo>
                      <a:cubicBezTo>
                        <a:pt x="528" y="395"/>
                        <a:pt x="528" y="395"/>
                        <a:pt x="528" y="395"/>
                      </a:cubicBezTo>
                      <a:cubicBezTo>
                        <a:pt x="518" y="401"/>
                        <a:pt x="518" y="401"/>
                        <a:pt x="518" y="401"/>
                      </a:cubicBezTo>
                      <a:cubicBezTo>
                        <a:pt x="518" y="401"/>
                        <a:pt x="506" y="390"/>
                        <a:pt x="499" y="382"/>
                      </a:cubicBezTo>
                      <a:cubicBezTo>
                        <a:pt x="492" y="374"/>
                        <a:pt x="511" y="364"/>
                        <a:pt x="511" y="364"/>
                      </a:cubicBezTo>
                      <a:cubicBezTo>
                        <a:pt x="511" y="364"/>
                        <a:pt x="506" y="364"/>
                        <a:pt x="502" y="358"/>
                      </a:cubicBezTo>
                      <a:cubicBezTo>
                        <a:pt x="498" y="352"/>
                        <a:pt x="509" y="350"/>
                        <a:pt x="509" y="350"/>
                      </a:cubicBezTo>
                      <a:cubicBezTo>
                        <a:pt x="503" y="341"/>
                        <a:pt x="503" y="341"/>
                        <a:pt x="503" y="341"/>
                      </a:cubicBezTo>
                      <a:cubicBezTo>
                        <a:pt x="518" y="323"/>
                        <a:pt x="518" y="323"/>
                        <a:pt x="518" y="323"/>
                      </a:cubicBezTo>
                      <a:cubicBezTo>
                        <a:pt x="524" y="310"/>
                        <a:pt x="524" y="310"/>
                        <a:pt x="524" y="310"/>
                      </a:cubicBezTo>
                      <a:cubicBezTo>
                        <a:pt x="509" y="296"/>
                        <a:pt x="509" y="296"/>
                        <a:pt x="509" y="296"/>
                      </a:cubicBezTo>
                      <a:cubicBezTo>
                        <a:pt x="509" y="296"/>
                        <a:pt x="498" y="296"/>
                        <a:pt x="492" y="293"/>
                      </a:cubicBezTo>
                      <a:cubicBezTo>
                        <a:pt x="486" y="290"/>
                        <a:pt x="492" y="282"/>
                        <a:pt x="492" y="282"/>
                      </a:cubicBezTo>
                      <a:cubicBezTo>
                        <a:pt x="481" y="283"/>
                        <a:pt x="481" y="283"/>
                        <a:pt x="481" y="283"/>
                      </a:cubicBezTo>
                      <a:cubicBezTo>
                        <a:pt x="466" y="272"/>
                        <a:pt x="466" y="272"/>
                        <a:pt x="466" y="272"/>
                      </a:cubicBezTo>
                      <a:cubicBezTo>
                        <a:pt x="466" y="272"/>
                        <a:pt x="456" y="270"/>
                        <a:pt x="445" y="266"/>
                      </a:cubicBezTo>
                      <a:cubicBezTo>
                        <a:pt x="434" y="262"/>
                        <a:pt x="430" y="247"/>
                        <a:pt x="430" y="247"/>
                      </a:cubicBezTo>
                      <a:cubicBezTo>
                        <a:pt x="430" y="247"/>
                        <a:pt x="419" y="252"/>
                        <a:pt x="412" y="249"/>
                      </a:cubicBezTo>
                      <a:cubicBezTo>
                        <a:pt x="405" y="246"/>
                        <a:pt x="412" y="221"/>
                        <a:pt x="412" y="221"/>
                      </a:cubicBezTo>
                      <a:cubicBezTo>
                        <a:pt x="412" y="221"/>
                        <a:pt x="392" y="210"/>
                        <a:pt x="390" y="200"/>
                      </a:cubicBezTo>
                      <a:cubicBezTo>
                        <a:pt x="388" y="190"/>
                        <a:pt x="401" y="185"/>
                        <a:pt x="405" y="185"/>
                      </a:cubicBezTo>
                      <a:cubicBezTo>
                        <a:pt x="409" y="185"/>
                        <a:pt x="407" y="195"/>
                        <a:pt x="407" y="195"/>
                      </a:cubicBezTo>
                      <a:cubicBezTo>
                        <a:pt x="417" y="203"/>
                        <a:pt x="417" y="203"/>
                        <a:pt x="417" y="203"/>
                      </a:cubicBezTo>
                      <a:cubicBezTo>
                        <a:pt x="423" y="194"/>
                        <a:pt x="423" y="194"/>
                        <a:pt x="423" y="194"/>
                      </a:cubicBezTo>
                      <a:cubicBezTo>
                        <a:pt x="423" y="194"/>
                        <a:pt x="432" y="191"/>
                        <a:pt x="440" y="186"/>
                      </a:cubicBezTo>
                      <a:cubicBezTo>
                        <a:pt x="448" y="181"/>
                        <a:pt x="429" y="166"/>
                        <a:pt x="429" y="166"/>
                      </a:cubicBezTo>
                      <a:cubicBezTo>
                        <a:pt x="424" y="157"/>
                        <a:pt x="424" y="157"/>
                        <a:pt x="424" y="157"/>
                      </a:cubicBezTo>
                      <a:cubicBezTo>
                        <a:pt x="424" y="157"/>
                        <a:pt x="419" y="154"/>
                        <a:pt x="404" y="147"/>
                      </a:cubicBezTo>
                      <a:cubicBezTo>
                        <a:pt x="389" y="140"/>
                        <a:pt x="395" y="129"/>
                        <a:pt x="395" y="129"/>
                      </a:cubicBezTo>
                      <a:cubicBezTo>
                        <a:pt x="406" y="123"/>
                        <a:pt x="406" y="123"/>
                        <a:pt x="406" y="123"/>
                      </a:cubicBezTo>
                      <a:cubicBezTo>
                        <a:pt x="394" y="107"/>
                        <a:pt x="394" y="107"/>
                        <a:pt x="394" y="107"/>
                      </a:cubicBezTo>
                      <a:cubicBezTo>
                        <a:pt x="394" y="107"/>
                        <a:pt x="413" y="108"/>
                        <a:pt x="422" y="103"/>
                      </a:cubicBezTo>
                      <a:cubicBezTo>
                        <a:pt x="431" y="98"/>
                        <a:pt x="425" y="74"/>
                        <a:pt x="425" y="74"/>
                      </a:cubicBezTo>
                      <a:cubicBezTo>
                        <a:pt x="425" y="74"/>
                        <a:pt x="434" y="74"/>
                        <a:pt x="438" y="69"/>
                      </a:cubicBezTo>
                      <a:cubicBezTo>
                        <a:pt x="442" y="64"/>
                        <a:pt x="438" y="28"/>
                        <a:pt x="438" y="28"/>
                      </a:cubicBezTo>
                      <a:cubicBezTo>
                        <a:pt x="438" y="28"/>
                        <a:pt x="424" y="30"/>
                        <a:pt x="413" y="28"/>
                      </a:cubicBezTo>
                      <a:cubicBezTo>
                        <a:pt x="402" y="26"/>
                        <a:pt x="400" y="12"/>
                        <a:pt x="383" y="6"/>
                      </a:cubicBezTo>
                      <a:cubicBezTo>
                        <a:pt x="366" y="0"/>
                        <a:pt x="335" y="29"/>
                        <a:pt x="335" y="29"/>
                      </a:cubicBezTo>
                      <a:cubicBezTo>
                        <a:pt x="335" y="29"/>
                        <a:pt x="328" y="29"/>
                        <a:pt x="319" y="29"/>
                      </a:cubicBezTo>
                      <a:cubicBezTo>
                        <a:pt x="304" y="51"/>
                        <a:pt x="304" y="51"/>
                        <a:pt x="304" y="51"/>
                      </a:cubicBezTo>
                      <a:cubicBezTo>
                        <a:pt x="289" y="57"/>
                        <a:pt x="289" y="57"/>
                        <a:pt x="289" y="57"/>
                      </a:cubicBezTo>
                      <a:cubicBezTo>
                        <a:pt x="289" y="57"/>
                        <a:pt x="289" y="68"/>
                        <a:pt x="286" y="69"/>
                      </a:cubicBezTo>
                      <a:cubicBezTo>
                        <a:pt x="283" y="70"/>
                        <a:pt x="272" y="69"/>
                        <a:pt x="272" y="69"/>
                      </a:cubicBezTo>
                      <a:cubicBezTo>
                        <a:pt x="266" y="74"/>
                        <a:pt x="266" y="74"/>
                        <a:pt x="266" y="74"/>
                      </a:cubicBezTo>
                      <a:cubicBezTo>
                        <a:pt x="262" y="70"/>
                        <a:pt x="262" y="70"/>
                        <a:pt x="262" y="70"/>
                      </a:cubicBezTo>
                      <a:cubicBezTo>
                        <a:pt x="262" y="70"/>
                        <a:pt x="244" y="83"/>
                        <a:pt x="237" y="84"/>
                      </a:cubicBezTo>
                      <a:cubicBezTo>
                        <a:pt x="230" y="85"/>
                        <a:pt x="227" y="73"/>
                        <a:pt x="227" y="73"/>
                      </a:cubicBezTo>
                      <a:cubicBezTo>
                        <a:pt x="227" y="73"/>
                        <a:pt x="198" y="67"/>
                        <a:pt x="176" y="70"/>
                      </a:cubicBezTo>
                      <a:cubicBezTo>
                        <a:pt x="154" y="73"/>
                        <a:pt x="156" y="89"/>
                        <a:pt x="156" y="89"/>
                      </a:cubicBezTo>
                      <a:cubicBezTo>
                        <a:pt x="171" y="99"/>
                        <a:pt x="171" y="99"/>
                        <a:pt x="171" y="99"/>
                      </a:cubicBezTo>
                      <a:cubicBezTo>
                        <a:pt x="167" y="108"/>
                        <a:pt x="167" y="108"/>
                        <a:pt x="167" y="108"/>
                      </a:cubicBezTo>
                      <a:cubicBezTo>
                        <a:pt x="187" y="112"/>
                        <a:pt x="187" y="112"/>
                        <a:pt x="187" y="112"/>
                      </a:cubicBezTo>
                      <a:cubicBezTo>
                        <a:pt x="187" y="112"/>
                        <a:pt x="178" y="120"/>
                        <a:pt x="175" y="130"/>
                      </a:cubicBezTo>
                      <a:cubicBezTo>
                        <a:pt x="172" y="140"/>
                        <a:pt x="186" y="141"/>
                        <a:pt x="186" y="141"/>
                      </a:cubicBezTo>
                      <a:cubicBezTo>
                        <a:pt x="186" y="141"/>
                        <a:pt x="185" y="149"/>
                        <a:pt x="184" y="157"/>
                      </a:cubicBezTo>
                      <a:cubicBezTo>
                        <a:pt x="183" y="165"/>
                        <a:pt x="194" y="162"/>
                        <a:pt x="194" y="162"/>
                      </a:cubicBezTo>
                      <a:cubicBezTo>
                        <a:pt x="202" y="172"/>
                        <a:pt x="202" y="172"/>
                        <a:pt x="202" y="172"/>
                      </a:cubicBezTo>
                      <a:cubicBezTo>
                        <a:pt x="216" y="173"/>
                        <a:pt x="216" y="173"/>
                        <a:pt x="216" y="173"/>
                      </a:cubicBezTo>
                      <a:cubicBezTo>
                        <a:pt x="219" y="196"/>
                        <a:pt x="219" y="196"/>
                        <a:pt x="219" y="196"/>
                      </a:cubicBezTo>
                      <a:cubicBezTo>
                        <a:pt x="243" y="195"/>
                        <a:pt x="243" y="195"/>
                        <a:pt x="243" y="195"/>
                      </a:cubicBezTo>
                      <a:cubicBezTo>
                        <a:pt x="243" y="195"/>
                        <a:pt x="255" y="200"/>
                        <a:pt x="256" y="209"/>
                      </a:cubicBezTo>
                      <a:cubicBezTo>
                        <a:pt x="257" y="218"/>
                        <a:pt x="228" y="222"/>
                        <a:pt x="224" y="224"/>
                      </a:cubicBezTo>
                      <a:cubicBezTo>
                        <a:pt x="220" y="226"/>
                        <a:pt x="223" y="240"/>
                        <a:pt x="223" y="244"/>
                      </a:cubicBezTo>
                      <a:cubicBezTo>
                        <a:pt x="223" y="248"/>
                        <a:pt x="235" y="268"/>
                        <a:pt x="235" y="268"/>
                      </a:cubicBezTo>
                      <a:cubicBezTo>
                        <a:pt x="217" y="281"/>
                        <a:pt x="217" y="281"/>
                        <a:pt x="217" y="281"/>
                      </a:cubicBezTo>
                      <a:cubicBezTo>
                        <a:pt x="200" y="305"/>
                        <a:pt x="200" y="305"/>
                        <a:pt x="200" y="305"/>
                      </a:cubicBezTo>
                      <a:cubicBezTo>
                        <a:pt x="211" y="322"/>
                        <a:pt x="211" y="322"/>
                        <a:pt x="211" y="322"/>
                      </a:cubicBezTo>
                      <a:cubicBezTo>
                        <a:pt x="211" y="322"/>
                        <a:pt x="192" y="323"/>
                        <a:pt x="188" y="332"/>
                      </a:cubicBezTo>
                      <a:cubicBezTo>
                        <a:pt x="184" y="341"/>
                        <a:pt x="187" y="359"/>
                        <a:pt x="179" y="372"/>
                      </a:cubicBezTo>
                      <a:cubicBezTo>
                        <a:pt x="171" y="385"/>
                        <a:pt x="155" y="388"/>
                        <a:pt x="151" y="391"/>
                      </a:cubicBezTo>
                      <a:cubicBezTo>
                        <a:pt x="147" y="394"/>
                        <a:pt x="146" y="414"/>
                        <a:pt x="146" y="414"/>
                      </a:cubicBezTo>
                      <a:cubicBezTo>
                        <a:pt x="137" y="419"/>
                        <a:pt x="137" y="419"/>
                        <a:pt x="137" y="419"/>
                      </a:cubicBezTo>
                      <a:cubicBezTo>
                        <a:pt x="137" y="419"/>
                        <a:pt x="136" y="429"/>
                        <a:pt x="129" y="437"/>
                      </a:cubicBezTo>
                      <a:cubicBezTo>
                        <a:pt x="122" y="445"/>
                        <a:pt x="107" y="437"/>
                        <a:pt x="107" y="437"/>
                      </a:cubicBezTo>
                      <a:cubicBezTo>
                        <a:pt x="107" y="437"/>
                        <a:pt x="102" y="445"/>
                        <a:pt x="89" y="447"/>
                      </a:cubicBezTo>
                      <a:cubicBezTo>
                        <a:pt x="76" y="449"/>
                        <a:pt x="84" y="432"/>
                        <a:pt x="70" y="434"/>
                      </a:cubicBezTo>
                      <a:cubicBezTo>
                        <a:pt x="56" y="436"/>
                        <a:pt x="57" y="450"/>
                        <a:pt x="57" y="450"/>
                      </a:cubicBezTo>
                      <a:cubicBezTo>
                        <a:pt x="57" y="450"/>
                        <a:pt x="50" y="462"/>
                        <a:pt x="42" y="469"/>
                      </a:cubicBezTo>
                      <a:cubicBezTo>
                        <a:pt x="34" y="476"/>
                        <a:pt x="33" y="476"/>
                        <a:pt x="33" y="493"/>
                      </a:cubicBezTo>
                      <a:cubicBezTo>
                        <a:pt x="33" y="510"/>
                        <a:pt x="48" y="508"/>
                        <a:pt x="48" y="508"/>
                      </a:cubicBezTo>
                      <a:cubicBezTo>
                        <a:pt x="66" y="506"/>
                        <a:pt x="66" y="506"/>
                        <a:pt x="66" y="506"/>
                      </a:cubicBezTo>
                      <a:cubicBezTo>
                        <a:pt x="67" y="516"/>
                        <a:pt x="67" y="516"/>
                        <a:pt x="67" y="516"/>
                      </a:cubicBezTo>
                      <a:cubicBezTo>
                        <a:pt x="65" y="536"/>
                        <a:pt x="65" y="536"/>
                        <a:pt x="65" y="536"/>
                      </a:cubicBezTo>
                      <a:cubicBezTo>
                        <a:pt x="65" y="536"/>
                        <a:pt x="67" y="544"/>
                        <a:pt x="74" y="551"/>
                      </a:cubicBezTo>
                      <a:cubicBezTo>
                        <a:pt x="81" y="558"/>
                        <a:pt x="97" y="558"/>
                        <a:pt x="97" y="558"/>
                      </a:cubicBezTo>
                      <a:cubicBezTo>
                        <a:pt x="97" y="573"/>
                        <a:pt x="97" y="573"/>
                        <a:pt x="97" y="573"/>
                      </a:cubicBezTo>
                      <a:cubicBezTo>
                        <a:pt x="111" y="601"/>
                        <a:pt x="111" y="601"/>
                        <a:pt x="111" y="601"/>
                      </a:cubicBezTo>
                      <a:cubicBezTo>
                        <a:pt x="111" y="601"/>
                        <a:pt x="122" y="616"/>
                        <a:pt x="120" y="625"/>
                      </a:cubicBezTo>
                      <a:cubicBezTo>
                        <a:pt x="118" y="634"/>
                        <a:pt x="109" y="635"/>
                        <a:pt x="98" y="635"/>
                      </a:cubicBezTo>
                      <a:cubicBezTo>
                        <a:pt x="87" y="635"/>
                        <a:pt x="97" y="624"/>
                        <a:pt x="86" y="626"/>
                      </a:cubicBezTo>
                      <a:cubicBezTo>
                        <a:pt x="75" y="628"/>
                        <a:pt x="77" y="638"/>
                        <a:pt x="63" y="638"/>
                      </a:cubicBezTo>
                      <a:cubicBezTo>
                        <a:pt x="49" y="638"/>
                        <a:pt x="52" y="630"/>
                        <a:pt x="52" y="630"/>
                      </a:cubicBezTo>
                      <a:cubicBezTo>
                        <a:pt x="35" y="636"/>
                        <a:pt x="35" y="636"/>
                        <a:pt x="35" y="636"/>
                      </a:cubicBezTo>
                      <a:cubicBezTo>
                        <a:pt x="35" y="636"/>
                        <a:pt x="26" y="629"/>
                        <a:pt x="15" y="630"/>
                      </a:cubicBezTo>
                      <a:cubicBezTo>
                        <a:pt x="4" y="631"/>
                        <a:pt x="13" y="647"/>
                        <a:pt x="13" y="647"/>
                      </a:cubicBezTo>
                      <a:cubicBezTo>
                        <a:pt x="0" y="652"/>
                        <a:pt x="0" y="652"/>
                        <a:pt x="0" y="652"/>
                      </a:cubicBezTo>
                      <a:cubicBezTo>
                        <a:pt x="11" y="653"/>
                        <a:pt x="23" y="653"/>
                        <a:pt x="23" y="653"/>
                      </a:cubicBezTo>
                      <a:cubicBezTo>
                        <a:pt x="23" y="653"/>
                        <a:pt x="13" y="677"/>
                        <a:pt x="26" y="686"/>
                      </a:cubicBezTo>
                      <a:cubicBezTo>
                        <a:pt x="38" y="696"/>
                        <a:pt x="71" y="699"/>
                        <a:pt x="78" y="697"/>
                      </a:cubicBezTo>
                      <a:cubicBezTo>
                        <a:pt x="84" y="695"/>
                        <a:pt x="108" y="678"/>
                        <a:pt x="108" y="678"/>
                      </a:cubicBezTo>
                      <a:cubicBezTo>
                        <a:pt x="108" y="678"/>
                        <a:pt x="118" y="690"/>
                        <a:pt x="106" y="701"/>
                      </a:cubicBezTo>
                      <a:cubicBezTo>
                        <a:pt x="94" y="712"/>
                        <a:pt x="70" y="719"/>
                        <a:pt x="70" y="719"/>
                      </a:cubicBezTo>
                      <a:cubicBezTo>
                        <a:pt x="70" y="719"/>
                        <a:pt x="32" y="724"/>
                        <a:pt x="30" y="735"/>
                      </a:cubicBezTo>
                      <a:cubicBezTo>
                        <a:pt x="28" y="746"/>
                        <a:pt x="58" y="770"/>
                        <a:pt x="70" y="779"/>
                      </a:cubicBezTo>
                      <a:cubicBezTo>
                        <a:pt x="83" y="788"/>
                        <a:pt x="106" y="816"/>
                        <a:pt x="136" y="818"/>
                      </a:cubicBezTo>
                      <a:cubicBezTo>
                        <a:pt x="167" y="821"/>
                        <a:pt x="205" y="794"/>
                        <a:pt x="201" y="775"/>
                      </a:cubicBezTo>
                      <a:cubicBezTo>
                        <a:pt x="197" y="757"/>
                        <a:pt x="207" y="742"/>
                        <a:pt x="217" y="733"/>
                      </a:cubicBezTo>
                      <a:cubicBezTo>
                        <a:pt x="226" y="723"/>
                        <a:pt x="248" y="718"/>
                        <a:pt x="238" y="735"/>
                      </a:cubicBezTo>
                      <a:cubicBezTo>
                        <a:pt x="229" y="752"/>
                        <a:pt x="206" y="767"/>
                        <a:pt x="213" y="781"/>
                      </a:cubicBezTo>
                      <a:cubicBezTo>
                        <a:pt x="220" y="795"/>
                        <a:pt x="238" y="793"/>
                        <a:pt x="238" y="808"/>
                      </a:cubicBezTo>
                      <a:cubicBezTo>
                        <a:pt x="237" y="822"/>
                        <a:pt x="233" y="838"/>
                        <a:pt x="227" y="861"/>
                      </a:cubicBezTo>
                      <a:cubicBezTo>
                        <a:pt x="220" y="885"/>
                        <a:pt x="220" y="907"/>
                        <a:pt x="227" y="936"/>
                      </a:cubicBezTo>
                      <a:cubicBezTo>
                        <a:pt x="235" y="964"/>
                        <a:pt x="247" y="1014"/>
                        <a:pt x="258" y="1029"/>
                      </a:cubicBezTo>
                      <a:cubicBezTo>
                        <a:pt x="269" y="1045"/>
                        <a:pt x="272" y="1039"/>
                        <a:pt x="267" y="1062"/>
                      </a:cubicBezTo>
                      <a:cubicBezTo>
                        <a:pt x="262" y="1085"/>
                        <a:pt x="299" y="1092"/>
                        <a:pt x="299" y="1092"/>
                      </a:cubicBezTo>
                      <a:cubicBezTo>
                        <a:pt x="299" y="1092"/>
                        <a:pt x="304" y="1124"/>
                        <a:pt x="312" y="1135"/>
                      </a:cubicBezTo>
                      <a:cubicBezTo>
                        <a:pt x="321" y="1147"/>
                        <a:pt x="339" y="1156"/>
                        <a:pt x="339" y="1156"/>
                      </a:cubicBezTo>
                      <a:cubicBezTo>
                        <a:pt x="339" y="1156"/>
                        <a:pt x="344" y="1222"/>
                        <a:pt x="354" y="1252"/>
                      </a:cubicBezTo>
                      <a:cubicBezTo>
                        <a:pt x="365" y="1282"/>
                        <a:pt x="402" y="1323"/>
                        <a:pt x="407" y="1335"/>
                      </a:cubicBezTo>
                      <a:cubicBezTo>
                        <a:pt x="412" y="1348"/>
                        <a:pt x="414" y="1374"/>
                        <a:pt x="413" y="1386"/>
                      </a:cubicBezTo>
                      <a:cubicBezTo>
                        <a:pt x="411" y="1398"/>
                        <a:pt x="479" y="1502"/>
                        <a:pt x="479" y="1502"/>
                      </a:cubicBezTo>
                      <a:cubicBezTo>
                        <a:pt x="479" y="1502"/>
                        <a:pt x="512" y="1493"/>
                        <a:pt x="518" y="1484"/>
                      </a:cubicBezTo>
                      <a:cubicBezTo>
                        <a:pt x="523" y="1474"/>
                        <a:pt x="515" y="1452"/>
                        <a:pt x="526" y="1445"/>
                      </a:cubicBezTo>
                      <a:cubicBezTo>
                        <a:pt x="536" y="1438"/>
                        <a:pt x="540" y="1446"/>
                        <a:pt x="550" y="1443"/>
                      </a:cubicBezTo>
                      <a:cubicBezTo>
                        <a:pt x="561" y="1440"/>
                        <a:pt x="578" y="1427"/>
                        <a:pt x="578" y="1427"/>
                      </a:cubicBezTo>
                      <a:cubicBezTo>
                        <a:pt x="578" y="1427"/>
                        <a:pt x="563" y="1431"/>
                        <a:pt x="566" y="1414"/>
                      </a:cubicBezTo>
                      <a:cubicBezTo>
                        <a:pt x="568" y="1397"/>
                        <a:pt x="575" y="1394"/>
                        <a:pt x="587" y="1388"/>
                      </a:cubicBezTo>
                      <a:cubicBezTo>
                        <a:pt x="599" y="1382"/>
                        <a:pt x="613" y="1379"/>
                        <a:pt x="613" y="1371"/>
                      </a:cubicBezTo>
                      <a:cubicBezTo>
                        <a:pt x="614" y="1362"/>
                        <a:pt x="601" y="1330"/>
                        <a:pt x="601" y="1311"/>
                      </a:cubicBezTo>
                      <a:cubicBezTo>
                        <a:pt x="600" y="1293"/>
                        <a:pt x="599" y="1264"/>
                        <a:pt x="605" y="1261"/>
                      </a:cubicBezTo>
                      <a:cubicBezTo>
                        <a:pt x="612" y="1257"/>
                        <a:pt x="609" y="1249"/>
                        <a:pt x="610" y="1217"/>
                      </a:cubicBezTo>
                      <a:cubicBezTo>
                        <a:pt x="612" y="1185"/>
                        <a:pt x="592" y="1185"/>
                        <a:pt x="590" y="1172"/>
                      </a:cubicBezTo>
                      <a:cubicBezTo>
                        <a:pt x="588" y="1160"/>
                        <a:pt x="598" y="1154"/>
                        <a:pt x="599" y="1142"/>
                      </a:cubicBezTo>
                      <a:cubicBezTo>
                        <a:pt x="601" y="1130"/>
                        <a:pt x="594" y="1123"/>
                        <a:pt x="594" y="1107"/>
                      </a:cubicBezTo>
                      <a:cubicBezTo>
                        <a:pt x="595" y="1091"/>
                        <a:pt x="631" y="1089"/>
                        <a:pt x="631" y="1082"/>
                      </a:cubicBezTo>
                      <a:cubicBezTo>
                        <a:pt x="631" y="1075"/>
                        <a:pt x="631" y="1059"/>
                        <a:pt x="638" y="1054"/>
                      </a:cubicBezTo>
                      <a:cubicBezTo>
                        <a:pt x="646" y="1049"/>
                        <a:pt x="660" y="1050"/>
                        <a:pt x="660" y="1050"/>
                      </a:cubicBezTo>
                      <a:cubicBezTo>
                        <a:pt x="663" y="1044"/>
                        <a:pt x="663" y="1044"/>
                        <a:pt x="663" y="1044"/>
                      </a:cubicBezTo>
                      <a:cubicBezTo>
                        <a:pt x="663" y="1044"/>
                        <a:pt x="686" y="1055"/>
                        <a:pt x="688" y="1044"/>
                      </a:cubicBezTo>
                      <a:cubicBezTo>
                        <a:pt x="690" y="1033"/>
                        <a:pt x="709" y="998"/>
                        <a:pt x="715" y="988"/>
                      </a:cubicBezTo>
                      <a:cubicBezTo>
                        <a:pt x="722" y="979"/>
                        <a:pt x="744" y="980"/>
                        <a:pt x="751" y="966"/>
                      </a:cubicBezTo>
                      <a:cubicBezTo>
                        <a:pt x="758" y="953"/>
                        <a:pt x="769" y="925"/>
                        <a:pt x="779" y="916"/>
                      </a:cubicBezTo>
                      <a:cubicBezTo>
                        <a:pt x="788" y="906"/>
                        <a:pt x="827" y="886"/>
                        <a:pt x="827" y="886"/>
                      </a:cubicBezTo>
                      <a:cubicBezTo>
                        <a:pt x="820" y="866"/>
                        <a:pt x="820" y="866"/>
                        <a:pt x="820" y="866"/>
                      </a:cubicBezTo>
                      <a:cubicBezTo>
                        <a:pt x="826" y="861"/>
                        <a:pt x="826" y="861"/>
                        <a:pt x="826" y="861"/>
                      </a:cubicBezTo>
                      <a:cubicBezTo>
                        <a:pt x="839" y="880"/>
                        <a:pt x="839" y="880"/>
                        <a:pt x="839" y="880"/>
                      </a:cubicBezTo>
                      <a:cubicBezTo>
                        <a:pt x="880" y="841"/>
                        <a:pt x="880" y="841"/>
                        <a:pt x="880" y="841"/>
                      </a:cubicBezTo>
                      <a:cubicBezTo>
                        <a:pt x="887" y="823"/>
                        <a:pt x="887" y="823"/>
                        <a:pt x="887" y="823"/>
                      </a:cubicBezTo>
                      <a:cubicBezTo>
                        <a:pt x="887" y="823"/>
                        <a:pt x="873" y="806"/>
                        <a:pt x="873" y="795"/>
                      </a:cubicBezTo>
                      <a:cubicBezTo>
                        <a:pt x="874" y="784"/>
                        <a:pt x="897" y="788"/>
                        <a:pt x="909" y="773"/>
                      </a:cubicBezTo>
                      <a:cubicBezTo>
                        <a:pt x="921" y="757"/>
                        <a:pt x="917" y="744"/>
                        <a:pt x="917" y="744"/>
                      </a:cubicBezTo>
                      <a:cubicBezTo>
                        <a:pt x="928" y="749"/>
                        <a:pt x="928" y="749"/>
                        <a:pt x="928" y="749"/>
                      </a:cubicBezTo>
                      <a:cubicBezTo>
                        <a:pt x="934" y="767"/>
                        <a:pt x="934" y="767"/>
                        <a:pt x="934" y="767"/>
                      </a:cubicBezTo>
                      <a:cubicBezTo>
                        <a:pt x="942" y="744"/>
                        <a:pt x="942" y="744"/>
                        <a:pt x="942" y="744"/>
                      </a:cubicBezTo>
                      <a:cubicBezTo>
                        <a:pt x="942" y="744"/>
                        <a:pt x="950" y="786"/>
                        <a:pt x="957" y="789"/>
                      </a:cubicBezTo>
                      <a:cubicBezTo>
                        <a:pt x="965" y="791"/>
                        <a:pt x="968" y="763"/>
                        <a:pt x="968" y="763"/>
                      </a:cubicBezTo>
                      <a:cubicBezTo>
                        <a:pt x="970" y="745"/>
                        <a:pt x="970" y="745"/>
                        <a:pt x="970" y="745"/>
                      </a:cubicBezTo>
                      <a:cubicBezTo>
                        <a:pt x="958" y="717"/>
                        <a:pt x="958" y="717"/>
                        <a:pt x="958" y="717"/>
                      </a:cubicBezTo>
                      <a:cubicBezTo>
                        <a:pt x="959" y="697"/>
                        <a:pt x="959" y="697"/>
                        <a:pt x="959" y="697"/>
                      </a:cubicBezTo>
                      <a:cubicBezTo>
                        <a:pt x="939" y="681"/>
                        <a:pt x="939" y="681"/>
                        <a:pt x="939" y="681"/>
                      </a:cubicBezTo>
                      <a:cubicBezTo>
                        <a:pt x="930" y="661"/>
                        <a:pt x="930" y="661"/>
                        <a:pt x="930" y="661"/>
                      </a:cubicBezTo>
                      <a:cubicBezTo>
                        <a:pt x="930" y="661"/>
                        <a:pt x="939" y="653"/>
                        <a:pt x="942" y="637"/>
                      </a:cubicBezTo>
                      <a:cubicBezTo>
                        <a:pt x="945" y="621"/>
                        <a:pt x="918" y="627"/>
                        <a:pt x="908" y="617"/>
                      </a:cubicBezTo>
                      <a:cubicBezTo>
                        <a:pt x="898" y="607"/>
                        <a:pt x="917" y="604"/>
                        <a:pt x="917" y="604"/>
                      </a:cubicBezTo>
                      <a:cubicBezTo>
                        <a:pt x="917" y="585"/>
                        <a:pt x="917" y="585"/>
                        <a:pt x="917" y="585"/>
                      </a:cubicBezTo>
                      <a:cubicBezTo>
                        <a:pt x="939" y="584"/>
                        <a:pt x="939" y="584"/>
                        <a:pt x="939" y="584"/>
                      </a:cubicBezTo>
                      <a:cubicBezTo>
                        <a:pt x="938" y="576"/>
                        <a:pt x="938" y="576"/>
                        <a:pt x="938" y="576"/>
                      </a:cubicBezTo>
                      <a:cubicBezTo>
                        <a:pt x="921" y="565"/>
                        <a:pt x="921" y="565"/>
                        <a:pt x="921" y="565"/>
                      </a:cubicBezTo>
                      <a:cubicBezTo>
                        <a:pt x="921" y="565"/>
                        <a:pt x="899" y="557"/>
                        <a:pt x="897" y="546"/>
                      </a:cubicBezTo>
                      <a:cubicBezTo>
                        <a:pt x="895" y="535"/>
                        <a:pt x="906" y="523"/>
                        <a:pt x="906" y="523"/>
                      </a:cubicBezTo>
                      <a:cubicBezTo>
                        <a:pt x="901" y="511"/>
                        <a:pt x="901" y="511"/>
                        <a:pt x="901" y="511"/>
                      </a:cubicBezTo>
                      <a:cubicBezTo>
                        <a:pt x="912" y="514"/>
                        <a:pt x="912" y="514"/>
                        <a:pt x="912" y="514"/>
                      </a:cubicBezTo>
                      <a:cubicBezTo>
                        <a:pt x="928" y="522"/>
                        <a:pt x="928" y="522"/>
                        <a:pt x="928" y="522"/>
                      </a:cubicBezTo>
                      <a:cubicBezTo>
                        <a:pt x="925" y="515"/>
                        <a:pt x="925" y="515"/>
                        <a:pt x="925" y="515"/>
                      </a:cubicBezTo>
                      <a:cubicBezTo>
                        <a:pt x="936" y="514"/>
                        <a:pt x="936" y="514"/>
                        <a:pt x="936" y="514"/>
                      </a:cubicBezTo>
                      <a:cubicBezTo>
                        <a:pt x="936" y="514"/>
                        <a:pt x="939" y="526"/>
                        <a:pt x="945" y="532"/>
                      </a:cubicBezTo>
                      <a:cubicBezTo>
                        <a:pt x="951" y="538"/>
                        <a:pt x="961" y="540"/>
                        <a:pt x="961" y="540"/>
                      </a:cubicBezTo>
                      <a:cubicBezTo>
                        <a:pt x="962" y="528"/>
                        <a:pt x="962" y="528"/>
                        <a:pt x="962" y="528"/>
                      </a:cubicBezTo>
                      <a:cubicBezTo>
                        <a:pt x="962" y="528"/>
                        <a:pt x="968" y="531"/>
                        <a:pt x="972" y="534"/>
                      </a:cubicBezTo>
                      <a:cubicBezTo>
                        <a:pt x="976" y="537"/>
                        <a:pt x="976" y="555"/>
                        <a:pt x="976" y="555"/>
                      </a:cubicBezTo>
                      <a:cubicBezTo>
                        <a:pt x="980" y="557"/>
                        <a:pt x="980" y="557"/>
                        <a:pt x="980" y="557"/>
                      </a:cubicBezTo>
                      <a:cubicBezTo>
                        <a:pt x="980" y="557"/>
                        <a:pt x="981" y="577"/>
                        <a:pt x="981" y="580"/>
                      </a:cubicBezTo>
                      <a:cubicBezTo>
                        <a:pt x="981" y="583"/>
                        <a:pt x="998" y="586"/>
                        <a:pt x="1008" y="586"/>
                      </a:cubicBezTo>
                      <a:cubicBezTo>
                        <a:pt x="1018" y="586"/>
                        <a:pt x="1049" y="590"/>
                        <a:pt x="1049" y="590"/>
                      </a:cubicBezTo>
                      <a:cubicBezTo>
                        <a:pt x="1079" y="579"/>
                        <a:pt x="1079" y="579"/>
                        <a:pt x="1079" y="579"/>
                      </a:cubicBezTo>
                      <a:cubicBezTo>
                        <a:pt x="1079" y="579"/>
                        <a:pt x="1101" y="587"/>
                        <a:pt x="1101" y="597"/>
                      </a:cubicBezTo>
                      <a:cubicBezTo>
                        <a:pt x="1101" y="607"/>
                        <a:pt x="1091" y="603"/>
                        <a:pt x="1091" y="603"/>
                      </a:cubicBezTo>
                      <a:cubicBezTo>
                        <a:pt x="1091" y="603"/>
                        <a:pt x="1091" y="612"/>
                        <a:pt x="1088" y="626"/>
                      </a:cubicBezTo>
                      <a:cubicBezTo>
                        <a:pt x="1085" y="640"/>
                        <a:pt x="1071" y="638"/>
                        <a:pt x="1063" y="641"/>
                      </a:cubicBezTo>
                      <a:cubicBezTo>
                        <a:pt x="1055" y="644"/>
                        <a:pt x="1053" y="654"/>
                        <a:pt x="1053" y="670"/>
                      </a:cubicBezTo>
                      <a:cubicBezTo>
                        <a:pt x="1053" y="686"/>
                        <a:pt x="1073" y="689"/>
                        <a:pt x="1073" y="689"/>
                      </a:cubicBezTo>
                      <a:cubicBezTo>
                        <a:pt x="1082" y="704"/>
                        <a:pt x="1082" y="704"/>
                        <a:pt x="1082" y="704"/>
                      </a:cubicBezTo>
                      <a:cubicBezTo>
                        <a:pt x="1089" y="681"/>
                        <a:pt x="1089" y="681"/>
                        <a:pt x="1089" y="681"/>
                      </a:cubicBezTo>
                      <a:cubicBezTo>
                        <a:pt x="1089" y="681"/>
                        <a:pt x="1081" y="660"/>
                        <a:pt x="1099" y="664"/>
                      </a:cubicBezTo>
                      <a:cubicBezTo>
                        <a:pt x="1117" y="668"/>
                        <a:pt x="1111" y="687"/>
                        <a:pt x="1115" y="698"/>
                      </a:cubicBezTo>
                      <a:cubicBezTo>
                        <a:pt x="1119" y="709"/>
                        <a:pt x="1135" y="748"/>
                        <a:pt x="1135" y="748"/>
                      </a:cubicBezTo>
                      <a:cubicBezTo>
                        <a:pt x="1149" y="760"/>
                        <a:pt x="1149" y="760"/>
                        <a:pt x="1149" y="760"/>
                      </a:cubicBezTo>
                      <a:cubicBezTo>
                        <a:pt x="1149" y="760"/>
                        <a:pt x="1148" y="752"/>
                        <a:pt x="1148" y="746"/>
                      </a:cubicBezTo>
                      <a:cubicBezTo>
                        <a:pt x="1148" y="740"/>
                        <a:pt x="1152" y="752"/>
                        <a:pt x="1161" y="750"/>
                      </a:cubicBezTo>
                      <a:cubicBezTo>
                        <a:pt x="1170" y="748"/>
                        <a:pt x="1160" y="736"/>
                        <a:pt x="1156" y="732"/>
                      </a:cubicBezTo>
                      <a:cubicBezTo>
                        <a:pt x="1152" y="728"/>
                        <a:pt x="1152" y="714"/>
                        <a:pt x="1149" y="705"/>
                      </a:cubicBezTo>
                      <a:cubicBezTo>
                        <a:pt x="1146" y="696"/>
                        <a:pt x="1163" y="694"/>
                        <a:pt x="1163" y="694"/>
                      </a:cubicBezTo>
                      <a:cubicBezTo>
                        <a:pt x="1161" y="661"/>
                        <a:pt x="1161" y="661"/>
                        <a:pt x="1161" y="661"/>
                      </a:cubicBezTo>
                      <a:cubicBezTo>
                        <a:pt x="1161" y="661"/>
                        <a:pt x="1147" y="650"/>
                        <a:pt x="1143" y="648"/>
                      </a:cubicBezTo>
                      <a:cubicBezTo>
                        <a:pt x="1139" y="646"/>
                        <a:pt x="1164" y="647"/>
                        <a:pt x="1168" y="648"/>
                      </a:cubicBezTo>
                      <a:cubicBezTo>
                        <a:pt x="1172" y="649"/>
                        <a:pt x="1197" y="653"/>
                        <a:pt x="1197" y="653"/>
                      </a:cubicBezTo>
                      <a:cubicBezTo>
                        <a:pt x="1197" y="629"/>
                        <a:pt x="1197" y="629"/>
                        <a:pt x="1197" y="629"/>
                      </a:cubicBezTo>
                      <a:cubicBezTo>
                        <a:pt x="1209" y="594"/>
                        <a:pt x="1209" y="594"/>
                        <a:pt x="1209" y="594"/>
                      </a:cubicBezTo>
                      <a:cubicBezTo>
                        <a:pt x="1209" y="594"/>
                        <a:pt x="1199" y="586"/>
                        <a:pt x="1199" y="576"/>
                      </a:cubicBezTo>
                      <a:cubicBezTo>
                        <a:pt x="1199" y="566"/>
                        <a:pt x="1213" y="562"/>
                        <a:pt x="1213" y="562"/>
                      </a:cubicBezTo>
                      <a:cubicBezTo>
                        <a:pt x="1225" y="541"/>
                        <a:pt x="1225" y="541"/>
                        <a:pt x="1225" y="541"/>
                      </a:cubicBezTo>
                      <a:cubicBezTo>
                        <a:pt x="1225" y="541"/>
                        <a:pt x="1219" y="530"/>
                        <a:pt x="1218" y="525"/>
                      </a:cubicBezTo>
                      <a:cubicBezTo>
                        <a:pt x="1217" y="520"/>
                        <a:pt x="1215" y="506"/>
                        <a:pt x="1215" y="506"/>
                      </a:cubicBezTo>
                      <a:cubicBezTo>
                        <a:pt x="1215" y="506"/>
                        <a:pt x="1226" y="501"/>
                        <a:pt x="1238" y="497"/>
                      </a:cubicBezTo>
                      <a:cubicBezTo>
                        <a:pt x="1250" y="493"/>
                        <a:pt x="1245" y="478"/>
                        <a:pt x="1253" y="476"/>
                      </a:cubicBezTo>
                      <a:cubicBezTo>
                        <a:pt x="1261" y="474"/>
                        <a:pt x="1276" y="473"/>
                        <a:pt x="1276" y="473"/>
                      </a:cubicBezTo>
                      <a:cubicBezTo>
                        <a:pt x="1276" y="473"/>
                        <a:pt x="1299" y="481"/>
                        <a:pt x="1301" y="477"/>
                      </a:cubicBezTo>
                      <a:cubicBezTo>
                        <a:pt x="1303" y="473"/>
                        <a:pt x="1280" y="463"/>
                        <a:pt x="1280" y="454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09" name="Georgia">
                  <a:extLst>
                    <a:ext uri="{FF2B5EF4-FFF2-40B4-BE49-F238E27FC236}">
                      <a16:creationId xmlns:a16="http://schemas.microsoft.com/office/drawing/2014/main" id="{9FE56F7D-2C5E-1C1B-F4AB-7946CEB6957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600619" y="2772885"/>
                  <a:ext cx="173067" cy="80926"/>
                </a:xfrm>
                <a:custGeom>
                  <a:avLst/>
                  <a:gdLst>
                    <a:gd name="T0" fmla="*/ 4 w 308"/>
                    <a:gd name="T1" fmla="*/ 12 h 144"/>
                    <a:gd name="T2" fmla="*/ 52 w 308"/>
                    <a:gd name="T3" fmla="*/ 37 h 144"/>
                    <a:gd name="T4" fmla="*/ 75 w 308"/>
                    <a:gd name="T5" fmla="*/ 54 h 144"/>
                    <a:gd name="T6" fmla="*/ 79 w 308"/>
                    <a:gd name="T7" fmla="*/ 85 h 144"/>
                    <a:gd name="T8" fmla="*/ 92 w 308"/>
                    <a:gd name="T9" fmla="*/ 103 h 144"/>
                    <a:gd name="T10" fmla="*/ 85 w 308"/>
                    <a:gd name="T11" fmla="*/ 110 h 144"/>
                    <a:gd name="T12" fmla="*/ 111 w 308"/>
                    <a:gd name="T13" fmla="*/ 115 h 144"/>
                    <a:gd name="T14" fmla="*/ 131 w 308"/>
                    <a:gd name="T15" fmla="*/ 108 h 144"/>
                    <a:gd name="T16" fmla="*/ 147 w 308"/>
                    <a:gd name="T17" fmla="*/ 126 h 144"/>
                    <a:gd name="T18" fmla="*/ 164 w 308"/>
                    <a:gd name="T19" fmla="*/ 126 h 144"/>
                    <a:gd name="T20" fmla="*/ 166 w 308"/>
                    <a:gd name="T21" fmla="*/ 134 h 144"/>
                    <a:gd name="T22" fmla="*/ 183 w 308"/>
                    <a:gd name="T23" fmla="*/ 133 h 144"/>
                    <a:gd name="T24" fmla="*/ 188 w 308"/>
                    <a:gd name="T25" fmla="*/ 126 h 144"/>
                    <a:gd name="T26" fmla="*/ 221 w 308"/>
                    <a:gd name="T27" fmla="*/ 130 h 144"/>
                    <a:gd name="T28" fmla="*/ 227 w 308"/>
                    <a:gd name="T29" fmla="*/ 120 h 144"/>
                    <a:gd name="T30" fmla="*/ 235 w 308"/>
                    <a:gd name="T31" fmla="*/ 123 h 144"/>
                    <a:gd name="T32" fmla="*/ 235 w 308"/>
                    <a:gd name="T33" fmla="*/ 123 h 144"/>
                    <a:gd name="T34" fmla="*/ 250 w 308"/>
                    <a:gd name="T35" fmla="*/ 112 h 144"/>
                    <a:gd name="T36" fmla="*/ 261 w 308"/>
                    <a:gd name="T37" fmla="*/ 120 h 144"/>
                    <a:gd name="T38" fmla="*/ 275 w 308"/>
                    <a:gd name="T39" fmla="*/ 130 h 144"/>
                    <a:gd name="T40" fmla="*/ 289 w 308"/>
                    <a:gd name="T41" fmla="*/ 127 h 144"/>
                    <a:gd name="T42" fmla="*/ 306 w 308"/>
                    <a:gd name="T43" fmla="*/ 134 h 144"/>
                    <a:gd name="T44" fmla="*/ 287 w 308"/>
                    <a:gd name="T45" fmla="*/ 113 h 144"/>
                    <a:gd name="T46" fmla="*/ 278 w 308"/>
                    <a:gd name="T47" fmla="*/ 97 h 144"/>
                    <a:gd name="T48" fmla="*/ 286 w 308"/>
                    <a:gd name="T49" fmla="*/ 93 h 144"/>
                    <a:gd name="T50" fmla="*/ 251 w 308"/>
                    <a:gd name="T51" fmla="*/ 75 h 144"/>
                    <a:gd name="T52" fmla="*/ 256 w 308"/>
                    <a:gd name="T53" fmla="*/ 58 h 144"/>
                    <a:gd name="T54" fmla="*/ 236 w 308"/>
                    <a:gd name="T55" fmla="*/ 55 h 144"/>
                    <a:gd name="T56" fmla="*/ 208 w 308"/>
                    <a:gd name="T57" fmla="*/ 42 h 144"/>
                    <a:gd name="T58" fmla="*/ 179 w 308"/>
                    <a:gd name="T59" fmla="*/ 53 h 144"/>
                    <a:gd name="T60" fmla="*/ 160 w 308"/>
                    <a:gd name="T61" fmla="*/ 42 h 144"/>
                    <a:gd name="T62" fmla="*/ 128 w 308"/>
                    <a:gd name="T63" fmla="*/ 22 h 144"/>
                    <a:gd name="T64" fmla="*/ 95 w 308"/>
                    <a:gd name="T65" fmla="*/ 18 h 144"/>
                    <a:gd name="T66" fmla="*/ 54 w 308"/>
                    <a:gd name="T67" fmla="*/ 10 h 144"/>
                    <a:gd name="T68" fmla="*/ 13 w 308"/>
                    <a:gd name="T69" fmla="*/ 0 h 144"/>
                    <a:gd name="T70" fmla="*/ 0 w 308"/>
                    <a:gd name="T71" fmla="*/ 11 h 144"/>
                    <a:gd name="T72" fmla="*/ 4 w 308"/>
                    <a:gd name="T73" fmla="*/ 12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08" h="144">
                      <a:moveTo>
                        <a:pt x="4" y="12"/>
                      </a:moveTo>
                      <a:cubicBezTo>
                        <a:pt x="4" y="12"/>
                        <a:pt x="44" y="34"/>
                        <a:pt x="52" y="37"/>
                      </a:cubicBezTo>
                      <a:cubicBezTo>
                        <a:pt x="60" y="40"/>
                        <a:pt x="75" y="54"/>
                        <a:pt x="75" y="54"/>
                      </a:cubicBezTo>
                      <a:cubicBezTo>
                        <a:pt x="75" y="54"/>
                        <a:pt x="79" y="82"/>
                        <a:pt x="79" y="85"/>
                      </a:cubicBezTo>
                      <a:cubicBezTo>
                        <a:pt x="79" y="88"/>
                        <a:pt x="92" y="103"/>
                        <a:pt x="92" y="103"/>
                      </a:cubicBezTo>
                      <a:cubicBezTo>
                        <a:pt x="92" y="103"/>
                        <a:pt x="90" y="105"/>
                        <a:pt x="85" y="110"/>
                      </a:cubicBezTo>
                      <a:cubicBezTo>
                        <a:pt x="111" y="115"/>
                        <a:pt x="111" y="115"/>
                        <a:pt x="111" y="115"/>
                      </a:cubicBezTo>
                      <a:cubicBezTo>
                        <a:pt x="111" y="115"/>
                        <a:pt x="117" y="105"/>
                        <a:pt x="131" y="108"/>
                      </a:cubicBezTo>
                      <a:cubicBezTo>
                        <a:pt x="145" y="111"/>
                        <a:pt x="147" y="126"/>
                        <a:pt x="147" y="126"/>
                      </a:cubicBezTo>
                      <a:cubicBezTo>
                        <a:pt x="164" y="126"/>
                        <a:pt x="164" y="126"/>
                        <a:pt x="164" y="126"/>
                      </a:cubicBezTo>
                      <a:cubicBezTo>
                        <a:pt x="164" y="126"/>
                        <a:pt x="165" y="129"/>
                        <a:pt x="166" y="134"/>
                      </a:cubicBezTo>
                      <a:cubicBezTo>
                        <a:pt x="183" y="133"/>
                        <a:pt x="183" y="133"/>
                        <a:pt x="183" y="133"/>
                      </a:cubicBezTo>
                      <a:cubicBezTo>
                        <a:pt x="188" y="126"/>
                        <a:pt x="188" y="126"/>
                        <a:pt x="188" y="126"/>
                      </a:cubicBezTo>
                      <a:cubicBezTo>
                        <a:pt x="221" y="130"/>
                        <a:pt x="221" y="130"/>
                        <a:pt x="221" y="130"/>
                      </a:cubicBezTo>
                      <a:cubicBezTo>
                        <a:pt x="221" y="130"/>
                        <a:pt x="224" y="120"/>
                        <a:pt x="227" y="120"/>
                      </a:cubicBezTo>
                      <a:cubicBezTo>
                        <a:pt x="228" y="120"/>
                        <a:pt x="232" y="121"/>
                        <a:pt x="235" y="123"/>
                      </a:cubicBezTo>
                      <a:cubicBezTo>
                        <a:pt x="235" y="123"/>
                        <a:pt x="235" y="123"/>
                        <a:pt x="235" y="123"/>
                      </a:cubicBezTo>
                      <a:cubicBezTo>
                        <a:pt x="236" y="119"/>
                        <a:pt x="240" y="111"/>
                        <a:pt x="250" y="112"/>
                      </a:cubicBezTo>
                      <a:cubicBezTo>
                        <a:pt x="263" y="113"/>
                        <a:pt x="261" y="120"/>
                        <a:pt x="261" y="120"/>
                      </a:cubicBezTo>
                      <a:cubicBezTo>
                        <a:pt x="275" y="130"/>
                        <a:pt x="275" y="130"/>
                        <a:pt x="275" y="130"/>
                      </a:cubicBezTo>
                      <a:cubicBezTo>
                        <a:pt x="275" y="130"/>
                        <a:pt x="286" y="127"/>
                        <a:pt x="289" y="127"/>
                      </a:cubicBezTo>
                      <a:cubicBezTo>
                        <a:pt x="292" y="127"/>
                        <a:pt x="304" y="144"/>
                        <a:pt x="306" y="134"/>
                      </a:cubicBezTo>
                      <a:cubicBezTo>
                        <a:pt x="308" y="124"/>
                        <a:pt x="287" y="113"/>
                        <a:pt x="287" y="113"/>
                      </a:cubicBezTo>
                      <a:cubicBezTo>
                        <a:pt x="287" y="113"/>
                        <a:pt x="272" y="102"/>
                        <a:pt x="278" y="97"/>
                      </a:cubicBezTo>
                      <a:cubicBezTo>
                        <a:pt x="280" y="95"/>
                        <a:pt x="283" y="94"/>
                        <a:pt x="286" y="93"/>
                      </a:cubicBezTo>
                      <a:cubicBezTo>
                        <a:pt x="279" y="86"/>
                        <a:pt x="268" y="76"/>
                        <a:pt x="251" y="75"/>
                      </a:cubicBezTo>
                      <a:cubicBezTo>
                        <a:pt x="251" y="76"/>
                        <a:pt x="256" y="58"/>
                        <a:pt x="256" y="58"/>
                      </a:cubicBezTo>
                      <a:cubicBezTo>
                        <a:pt x="236" y="55"/>
                        <a:pt x="236" y="55"/>
                        <a:pt x="236" y="55"/>
                      </a:cubicBezTo>
                      <a:cubicBezTo>
                        <a:pt x="236" y="55"/>
                        <a:pt x="226" y="40"/>
                        <a:pt x="208" y="42"/>
                      </a:cubicBezTo>
                      <a:cubicBezTo>
                        <a:pt x="190" y="44"/>
                        <a:pt x="198" y="53"/>
                        <a:pt x="179" y="53"/>
                      </a:cubicBezTo>
                      <a:cubicBezTo>
                        <a:pt x="160" y="53"/>
                        <a:pt x="160" y="42"/>
                        <a:pt x="160" y="42"/>
                      </a:cubicBezTo>
                      <a:cubicBezTo>
                        <a:pt x="128" y="22"/>
                        <a:pt x="128" y="22"/>
                        <a:pt x="128" y="22"/>
                      </a:cubicBezTo>
                      <a:cubicBezTo>
                        <a:pt x="128" y="22"/>
                        <a:pt x="108" y="17"/>
                        <a:pt x="95" y="18"/>
                      </a:cubicBezTo>
                      <a:cubicBezTo>
                        <a:pt x="82" y="19"/>
                        <a:pt x="70" y="17"/>
                        <a:pt x="54" y="10"/>
                      </a:cubicBezTo>
                      <a:cubicBezTo>
                        <a:pt x="38" y="3"/>
                        <a:pt x="13" y="0"/>
                        <a:pt x="13" y="0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3" y="12"/>
                        <a:pt x="4" y="12"/>
                        <a:pt x="4" y="1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0" name="Djibouti">
                  <a:extLst>
                    <a:ext uri="{FF2B5EF4-FFF2-40B4-BE49-F238E27FC236}">
                      <a16:creationId xmlns:a16="http://schemas.microsoft.com/office/drawing/2014/main" id="{F8B42F23-1BDF-7299-7F3B-F33C3013070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16526" y="3701141"/>
                  <a:ext cx="47633" cy="52364"/>
                </a:xfrm>
                <a:custGeom>
                  <a:avLst/>
                  <a:gdLst>
                    <a:gd name="T0" fmla="*/ 47 w 85"/>
                    <a:gd name="T1" fmla="*/ 18 h 95"/>
                    <a:gd name="T2" fmla="*/ 31 w 85"/>
                    <a:gd name="T3" fmla="*/ 8 h 95"/>
                    <a:gd name="T4" fmla="*/ 13 w 85"/>
                    <a:gd name="T5" fmla="*/ 47 h 95"/>
                    <a:gd name="T6" fmla="*/ 0 w 85"/>
                    <a:gd name="T7" fmla="*/ 56 h 95"/>
                    <a:gd name="T8" fmla="*/ 11 w 85"/>
                    <a:gd name="T9" fmla="*/ 94 h 95"/>
                    <a:gd name="T10" fmla="*/ 36 w 85"/>
                    <a:gd name="T11" fmla="*/ 91 h 95"/>
                    <a:gd name="T12" fmla="*/ 46 w 85"/>
                    <a:gd name="T13" fmla="*/ 84 h 95"/>
                    <a:gd name="T14" fmla="*/ 59 w 85"/>
                    <a:gd name="T15" fmla="*/ 93 h 95"/>
                    <a:gd name="T16" fmla="*/ 60 w 85"/>
                    <a:gd name="T17" fmla="*/ 91 h 95"/>
                    <a:gd name="T18" fmla="*/ 75 w 85"/>
                    <a:gd name="T19" fmla="*/ 71 h 95"/>
                    <a:gd name="T20" fmla="*/ 74 w 85"/>
                    <a:gd name="T21" fmla="*/ 71 h 95"/>
                    <a:gd name="T22" fmla="*/ 67 w 85"/>
                    <a:gd name="T23" fmla="*/ 61 h 95"/>
                    <a:gd name="T24" fmla="*/ 44 w 85"/>
                    <a:gd name="T25" fmla="*/ 63 h 95"/>
                    <a:gd name="T26" fmla="*/ 76 w 85"/>
                    <a:gd name="T27" fmla="*/ 17 h 95"/>
                    <a:gd name="T28" fmla="*/ 63 w 85"/>
                    <a:gd name="T29" fmla="*/ 0 h 95"/>
                    <a:gd name="T30" fmla="*/ 54 w 85"/>
                    <a:gd name="T31" fmla="*/ 6 h 95"/>
                    <a:gd name="T32" fmla="*/ 47 w 85"/>
                    <a:gd name="T33" fmla="*/ 18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5" h="95">
                      <a:moveTo>
                        <a:pt x="47" y="18"/>
                      </a:moveTo>
                      <a:cubicBezTo>
                        <a:pt x="31" y="8"/>
                        <a:pt x="31" y="8"/>
                        <a:pt x="31" y="8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56"/>
                        <a:pt x="3" y="93"/>
                        <a:pt x="11" y="94"/>
                      </a:cubicBezTo>
                      <a:cubicBezTo>
                        <a:pt x="19" y="95"/>
                        <a:pt x="36" y="91"/>
                        <a:pt x="36" y="91"/>
                      </a:cubicBezTo>
                      <a:cubicBezTo>
                        <a:pt x="36" y="91"/>
                        <a:pt x="39" y="83"/>
                        <a:pt x="46" y="84"/>
                      </a:cubicBezTo>
                      <a:cubicBezTo>
                        <a:pt x="50" y="85"/>
                        <a:pt x="55" y="89"/>
                        <a:pt x="59" y="93"/>
                      </a:cubicBezTo>
                      <a:cubicBezTo>
                        <a:pt x="60" y="91"/>
                        <a:pt x="60" y="91"/>
                        <a:pt x="60" y="91"/>
                      </a:cubicBezTo>
                      <a:cubicBezTo>
                        <a:pt x="75" y="71"/>
                        <a:pt x="75" y="71"/>
                        <a:pt x="75" y="71"/>
                      </a:cubicBezTo>
                      <a:cubicBezTo>
                        <a:pt x="74" y="71"/>
                        <a:pt x="74" y="71"/>
                        <a:pt x="74" y="71"/>
                      </a:cubicBezTo>
                      <a:cubicBezTo>
                        <a:pt x="67" y="61"/>
                        <a:pt x="67" y="61"/>
                        <a:pt x="67" y="61"/>
                      </a:cubicBezTo>
                      <a:cubicBezTo>
                        <a:pt x="44" y="63"/>
                        <a:pt x="44" y="63"/>
                        <a:pt x="44" y="63"/>
                      </a:cubicBezTo>
                      <a:cubicBezTo>
                        <a:pt x="44" y="63"/>
                        <a:pt x="85" y="30"/>
                        <a:pt x="76" y="17"/>
                      </a:cubicBezTo>
                      <a:cubicBezTo>
                        <a:pt x="73" y="12"/>
                        <a:pt x="68" y="6"/>
                        <a:pt x="63" y="0"/>
                      </a:cubicBezTo>
                      <a:cubicBezTo>
                        <a:pt x="54" y="6"/>
                        <a:pt x="54" y="6"/>
                        <a:pt x="54" y="6"/>
                      </a:cubicBezTo>
                      <a:lnTo>
                        <a:pt x="47" y="18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1" name="China">
                  <a:extLst>
                    <a:ext uri="{FF2B5EF4-FFF2-40B4-BE49-F238E27FC236}">
                      <a16:creationId xmlns:a16="http://schemas.microsoft.com/office/drawing/2014/main" id="{70FA3325-A128-72CD-C75C-EB1F6BDC98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442141" y="2479332"/>
                  <a:ext cx="1367074" cy="1053613"/>
                </a:xfrm>
                <a:custGeom>
                  <a:avLst/>
                  <a:gdLst>
                    <a:gd name="T0" fmla="*/ 1905 w 2441"/>
                    <a:gd name="T1" fmla="*/ 1857 h 1882"/>
                    <a:gd name="T2" fmla="*/ 2423 w 2441"/>
                    <a:gd name="T3" fmla="*/ 352 h 1882"/>
                    <a:gd name="T4" fmla="*/ 2365 w 2441"/>
                    <a:gd name="T5" fmla="*/ 288 h 1882"/>
                    <a:gd name="T6" fmla="*/ 2248 w 2441"/>
                    <a:gd name="T7" fmla="*/ 288 h 1882"/>
                    <a:gd name="T8" fmla="*/ 2077 w 2441"/>
                    <a:gd name="T9" fmla="*/ 209 h 1882"/>
                    <a:gd name="T10" fmla="*/ 1934 w 2441"/>
                    <a:gd name="T11" fmla="*/ 76 h 1882"/>
                    <a:gd name="T12" fmla="*/ 1769 w 2441"/>
                    <a:gd name="T13" fmla="*/ 0 h 1882"/>
                    <a:gd name="T14" fmla="*/ 1704 w 2441"/>
                    <a:gd name="T15" fmla="*/ 80 h 1882"/>
                    <a:gd name="T16" fmla="*/ 1653 w 2441"/>
                    <a:gd name="T17" fmla="*/ 209 h 1882"/>
                    <a:gd name="T18" fmla="*/ 1639 w 2441"/>
                    <a:gd name="T19" fmla="*/ 310 h 1882"/>
                    <a:gd name="T20" fmla="*/ 1786 w 2441"/>
                    <a:gd name="T21" fmla="*/ 322 h 1882"/>
                    <a:gd name="T22" fmla="*/ 1753 w 2441"/>
                    <a:gd name="T23" fmla="*/ 371 h 1882"/>
                    <a:gd name="T24" fmla="*/ 1627 w 2441"/>
                    <a:gd name="T25" fmla="*/ 462 h 1882"/>
                    <a:gd name="T26" fmla="*/ 1536 w 2441"/>
                    <a:gd name="T27" fmla="*/ 569 h 1882"/>
                    <a:gd name="T28" fmla="*/ 1228 w 2441"/>
                    <a:gd name="T29" fmla="*/ 608 h 1882"/>
                    <a:gd name="T30" fmla="*/ 973 w 2441"/>
                    <a:gd name="T31" fmla="*/ 571 h 1882"/>
                    <a:gd name="T32" fmla="*/ 775 w 2441"/>
                    <a:gd name="T33" fmla="*/ 459 h 1882"/>
                    <a:gd name="T34" fmla="*/ 612 w 2441"/>
                    <a:gd name="T35" fmla="*/ 353 h 1882"/>
                    <a:gd name="T36" fmla="*/ 452 w 2441"/>
                    <a:gd name="T37" fmla="*/ 264 h 1882"/>
                    <a:gd name="T38" fmla="*/ 373 w 2441"/>
                    <a:gd name="T39" fmla="*/ 309 h 1882"/>
                    <a:gd name="T40" fmla="*/ 273 w 2441"/>
                    <a:gd name="T41" fmla="*/ 425 h 1882"/>
                    <a:gd name="T42" fmla="*/ 216 w 2441"/>
                    <a:gd name="T43" fmla="*/ 499 h 1882"/>
                    <a:gd name="T44" fmla="*/ 199 w 2441"/>
                    <a:gd name="T45" fmla="*/ 625 h 1882"/>
                    <a:gd name="T46" fmla="*/ 63 w 2441"/>
                    <a:gd name="T47" fmla="*/ 683 h 1882"/>
                    <a:gd name="T48" fmla="*/ 15 w 2441"/>
                    <a:gd name="T49" fmla="*/ 765 h 1882"/>
                    <a:gd name="T50" fmla="*/ 111 w 2441"/>
                    <a:gd name="T51" fmla="*/ 880 h 1882"/>
                    <a:gd name="T52" fmla="*/ 294 w 2441"/>
                    <a:gd name="T53" fmla="*/ 934 h 1882"/>
                    <a:gd name="T54" fmla="*/ 306 w 2441"/>
                    <a:gd name="T55" fmla="*/ 1057 h 1882"/>
                    <a:gd name="T56" fmla="*/ 316 w 2441"/>
                    <a:gd name="T57" fmla="*/ 1113 h 1882"/>
                    <a:gd name="T58" fmla="*/ 403 w 2441"/>
                    <a:gd name="T59" fmla="*/ 1210 h 1882"/>
                    <a:gd name="T60" fmla="*/ 571 w 2441"/>
                    <a:gd name="T61" fmla="*/ 1302 h 1882"/>
                    <a:gd name="T62" fmla="*/ 698 w 2441"/>
                    <a:gd name="T63" fmla="*/ 1349 h 1882"/>
                    <a:gd name="T64" fmla="*/ 894 w 2441"/>
                    <a:gd name="T65" fmla="*/ 1350 h 1882"/>
                    <a:gd name="T66" fmla="*/ 1044 w 2441"/>
                    <a:gd name="T67" fmla="*/ 1318 h 1882"/>
                    <a:gd name="T68" fmla="*/ 1161 w 2441"/>
                    <a:gd name="T69" fmla="*/ 1339 h 1882"/>
                    <a:gd name="T70" fmla="*/ 1291 w 2441"/>
                    <a:gd name="T71" fmla="*/ 1422 h 1882"/>
                    <a:gd name="T72" fmla="*/ 1261 w 2441"/>
                    <a:gd name="T73" fmla="*/ 1535 h 1882"/>
                    <a:gd name="T74" fmla="*/ 1324 w 2441"/>
                    <a:gd name="T75" fmla="*/ 1597 h 1882"/>
                    <a:gd name="T76" fmla="*/ 1400 w 2441"/>
                    <a:gd name="T77" fmla="*/ 1701 h 1882"/>
                    <a:gd name="T78" fmla="*/ 1461 w 2441"/>
                    <a:gd name="T79" fmla="*/ 1679 h 1882"/>
                    <a:gd name="T80" fmla="*/ 1554 w 2441"/>
                    <a:gd name="T81" fmla="*/ 1639 h 1882"/>
                    <a:gd name="T82" fmla="*/ 1625 w 2441"/>
                    <a:gd name="T83" fmla="*/ 1610 h 1882"/>
                    <a:gd name="T84" fmla="*/ 1698 w 2441"/>
                    <a:gd name="T85" fmla="*/ 1684 h 1882"/>
                    <a:gd name="T86" fmla="*/ 1846 w 2441"/>
                    <a:gd name="T87" fmla="*/ 1750 h 1882"/>
                    <a:gd name="T88" fmla="*/ 2036 w 2441"/>
                    <a:gd name="T89" fmla="*/ 1660 h 1882"/>
                    <a:gd name="T90" fmla="*/ 2205 w 2441"/>
                    <a:gd name="T91" fmla="*/ 1544 h 1882"/>
                    <a:gd name="T92" fmla="*/ 2274 w 2441"/>
                    <a:gd name="T93" fmla="*/ 1405 h 1882"/>
                    <a:gd name="T94" fmla="*/ 2335 w 2441"/>
                    <a:gd name="T95" fmla="*/ 1231 h 1882"/>
                    <a:gd name="T96" fmla="*/ 2240 w 2441"/>
                    <a:gd name="T97" fmla="*/ 1164 h 1882"/>
                    <a:gd name="T98" fmla="*/ 2236 w 2441"/>
                    <a:gd name="T99" fmla="*/ 1155 h 1882"/>
                    <a:gd name="T100" fmla="*/ 2157 w 2441"/>
                    <a:gd name="T101" fmla="*/ 1022 h 1882"/>
                    <a:gd name="T102" fmla="*/ 2131 w 2441"/>
                    <a:gd name="T103" fmla="*/ 897 h 1882"/>
                    <a:gd name="T104" fmla="*/ 2161 w 2441"/>
                    <a:gd name="T105" fmla="*/ 854 h 1882"/>
                    <a:gd name="T106" fmla="*/ 2004 w 2441"/>
                    <a:gd name="T107" fmla="*/ 828 h 1882"/>
                    <a:gd name="T108" fmla="*/ 1997 w 2441"/>
                    <a:gd name="T109" fmla="*/ 758 h 1882"/>
                    <a:gd name="T110" fmla="*/ 2079 w 2441"/>
                    <a:gd name="T111" fmla="*/ 665 h 1882"/>
                    <a:gd name="T112" fmla="*/ 2131 w 2441"/>
                    <a:gd name="T113" fmla="*/ 770 h 1882"/>
                    <a:gd name="T114" fmla="*/ 2292 w 2441"/>
                    <a:gd name="T115" fmla="*/ 637 h 1882"/>
                    <a:gd name="T116" fmla="*/ 2387 w 2441"/>
                    <a:gd name="T117" fmla="*/ 560 h 1882"/>
                    <a:gd name="T118" fmla="*/ 2379 w 2441"/>
                    <a:gd name="T119" fmla="*/ 455 h 18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441" h="1882">
                      <a:moveTo>
                        <a:pt x="1912" y="1793"/>
                      </a:moveTo>
                      <a:cubicBezTo>
                        <a:pt x="1898" y="1783"/>
                        <a:pt x="1850" y="1789"/>
                        <a:pt x="1850" y="1789"/>
                      </a:cubicBezTo>
                      <a:cubicBezTo>
                        <a:pt x="1846" y="1801"/>
                        <a:pt x="1846" y="1801"/>
                        <a:pt x="1846" y="1801"/>
                      </a:cubicBezTo>
                      <a:cubicBezTo>
                        <a:pt x="1835" y="1795"/>
                        <a:pt x="1835" y="1795"/>
                        <a:pt x="1835" y="1795"/>
                      </a:cubicBezTo>
                      <a:cubicBezTo>
                        <a:pt x="1829" y="1812"/>
                        <a:pt x="1829" y="1812"/>
                        <a:pt x="1829" y="1812"/>
                      </a:cubicBezTo>
                      <a:cubicBezTo>
                        <a:pt x="1829" y="1812"/>
                        <a:pt x="1799" y="1835"/>
                        <a:pt x="1818" y="1859"/>
                      </a:cubicBezTo>
                      <a:cubicBezTo>
                        <a:pt x="1838" y="1882"/>
                        <a:pt x="1851" y="1882"/>
                        <a:pt x="1851" y="1882"/>
                      </a:cubicBezTo>
                      <a:cubicBezTo>
                        <a:pt x="1907" y="1881"/>
                        <a:pt x="1903" y="1864"/>
                        <a:pt x="1905" y="1857"/>
                      </a:cubicBezTo>
                      <a:cubicBezTo>
                        <a:pt x="1906" y="1851"/>
                        <a:pt x="1902" y="1836"/>
                        <a:pt x="1902" y="1836"/>
                      </a:cubicBezTo>
                      <a:cubicBezTo>
                        <a:pt x="1902" y="1836"/>
                        <a:pt x="1927" y="1804"/>
                        <a:pt x="1912" y="1793"/>
                      </a:cubicBezTo>
                      <a:close/>
                      <a:moveTo>
                        <a:pt x="2441" y="416"/>
                      </a:moveTo>
                      <a:cubicBezTo>
                        <a:pt x="2438" y="399"/>
                        <a:pt x="2438" y="399"/>
                        <a:pt x="2438" y="399"/>
                      </a:cubicBezTo>
                      <a:cubicBezTo>
                        <a:pt x="2441" y="382"/>
                        <a:pt x="2441" y="382"/>
                        <a:pt x="2441" y="382"/>
                      </a:cubicBezTo>
                      <a:cubicBezTo>
                        <a:pt x="2430" y="375"/>
                        <a:pt x="2430" y="375"/>
                        <a:pt x="2430" y="375"/>
                      </a:cubicBezTo>
                      <a:cubicBezTo>
                        <a:pt x="2430" y="362"/>
                        <a:pt x="2430" y="362"/>
                        <a:pt x="2430" y="362"/>
                      </a:cubicBezTo>
                      <a:cubicBezTo>
                        <a:pt x="2423" y="352"/>
                        <a:pt x="2423" y="352"/>
                        <a:pt x="2423" y="352"/>
                      </a:cubicBezTo>
                      <a:cubicBezTo>
                        <a:pt x="2423" y="340"/>
                        <a:pt x="2423" y="340"/>
                        <a:pt x="2423" y="340"/>
                      </a:cubicBezTo>
                      <a:cubicBezTo>
                        <a:pt x="2415" y="330"/>
                        <a:pt x="2415" y="330"/>
                        <a:pt x="2415" y="330"/>
                      </a:cubicBezTo>
                      <a:cubicBezTo>
                        <a:pt x="2427" y="325"/>
                        <a:pt x="2427" y="325"/>
                        <a:pt x="2427" y="325"/>
                      </a:cubicBezTo>
                      <a:cubicBezTo>
                        <a:pt x="2427" y="305"/>
                        <a:pt x="2427" y="305"/>
                        <a:pt x="2427" y="305"/>
                      </a:cubicBezTo>
                      <a:cubicBezTo>
                        <a:pt x="2409" y="297"/>
                        <a:pt x="2409" y="297"/>
                        <a:pt x="2409" y="297"/>
                      </a:cubicBezTo>
                      <a:cubicBezTo>
                        <a:pt x="2409" y="297"/>
                        <a:pt x="2415" y="284"/>
                        <a:pt x="2405" y="276"/>
                      </a:cubicBezTo>
                      <a:cubicBezTo>
                        <a:pt x="2395" y="268"/>
                        <a:pt x="2370" y="274"/>
                        <a:pt x="2370" y="274"/>
                      </a:cubicBezTo>
                      <a:cubicBezTo>
                        <a:pt x="2365" y="288"/>
                        <a:pt x="2365" y="288"/>
                        <a:pt x="2365" y="288"/>
                      </a:cubicBezTo>
                      <a:cubicBezTo>
                        <a:pt x="2365" y="288"/>
                        <a:pt x="2337" y="287"/>
                        <a:pt x="2334" y="292"/>
                      </a:cubicBezTo>
                      <a:cubicBezTo>
                        <a:pt x="2331" y="297"/>
                        <a:pt x="2330" y="308"/>
                        <a:pt x="2330" y="308"/>
                      </a:cubicBezTo>
                      <a:cubicBezTo>
                        <a:pt x="2311" y="306"/>
                        <a:pt x="2311" y="306"/>
                        <a:pt x="2311" y="306"/>
                      </a:cubicBezTo>
                      <a:cubicBezTo>
                        <a:pt x="2311" y="313"/>
                        <a:pt x="2311" y="313"/>
                        <a:pt x="2311" y="313"/>
                      </a:cubicBezTo>
                      <a:cubicBezTo>
                        <a:pt x="2298" y="314"/>
                        <a:pt x="2298" y="314"/>
                        <a:pt x="2298" y="314"/>
                      </a:cubicBezTo>
                      <a:cubicBezTo>
                        <a:pt x="2290" y="304"/>
                        <a:pt x="2290" y="304"/>
                        <a:pt x="2290" y="304"/>
                      </a:cubicBezTo>
                      <a:cubicBezTo>
                        <a:pt x="2273" y="308"/>
                        <a:pt x="2273" y="308"/>
                        <a:pt x="2273" y="308"/>
                      </a:cubicBezTo>
                      <a:cubicBezTo>
                        <a:pt x="2248" y="288"/>
                        <a:pt x="2248" y="288"/>
                        <a:pt x="2248" y="288"/>
                      </a:cubicBezTo>
                      <a:cubicBezTo>
                        <a:pt x="2248" y="288"/>
                        <a:pt x="2247" y="280"/>
                        <a:pt x="2244" y="273"/>
                      </a:cubicBezTo>
                      <a:cubicBezTo>
                        <a:pt x="2241" y="266"/>
                        <a:pt x="2225" y="265"/>
                        <a:pt x="2225" y="265"/>
                      </a:cubicBezTo>
                      <a:cubicBezTo>
                        <a:pt x="2216" y="246"/>
                        <a:pt x="2216" y="246"/>
                        <a:pt x="2216" y="246"/>
                      </a:cubicBezTo>
                      <a:cubicBezTo>
                        <a:pt x="2192" y="246"/>
                        <a:pt x="2192" y="246"/>
                        <a:pt x="2192" y="246"/>
                      </a:cubicBezTo>
                      <a:cubicBezTo>
                        <a:pt x="2192" y="246"/>
                        <a:pt x="2154" y="218"/>
                        <a:pt x="2150" y="218"/>
                      </a:cubicBezTo>
                      <a:cubicBezTo>
                        <a:pt x="2146" y="218"/>
                        <a:pt x="2138" y="225"/>
                        <a:pt x="2138" y="225"/>
                      </a:cubicBezTo>
                      <a:cubicBezTo>
                        <a:pt x="2138" y="225"/>
                        <a:pt x="2122" y="209"/>
                        <a:pt x="2112" y="211"/>
                      </a:cubicBezTo>
                      <a:cubicBezTo>
                        <a:pt x="2102" y="213"/>
                        <a:pt x="2085" y="214"/>
                        <a:pt x="2077" y="209"/>
                      </a:cubicBezTo>
                      <a:cubicBezTo>
                        <a:pt x="2069" y="204"/>
                        <a:pt x="2050" y="194"/>
                        <a:pt x="2050" y="194"/>
                      </a:cubicBezTo>
                      <a:cubicBezTo>
                        <a:pt x="2046" y="178"/>
                        <a:pt x="2046" y="178"/>
                        <a:pt x="2046" y="178"/>
                      </a:cubicBezTo>
                      <a:cubicBezTo>
                        <a:pt x="2039" y="178"/>
                        <a:pt x="2039" y="178"/>
                        <a:pt x="2039" y="178"/>
                      </a:cubicBezTo>
                      <a:cubicBezTo>
                        <a:pt x="2039" y="178"/>
                        <a:pt x="2021" y="154"/>
                        <a:pt x="2011" y="145"/>
                      </a:cubicBezTo>
                      <a:cubicBezTo>
                        <a:pt x="2001" y="136"/>
                        <a:pt x="1980" y="134"/>
                        <a:pt x="1980" y="134"/>
                      </a:cubicBezTo>
                      <a:cubicBezTo>
                        <a:pt x="1969" y="112"/>
                        <a:pt x="1969" y="112"/>
                        <a:pt x="1969" y="112"/>
                      </a:cubicBezTo>
                      <a:cubicBezTo>
                        <a:pt x="1937" y="95"/>
                        <a:pt x="1937" y="95"/>
                        <a:pt x="1937" y="95"/>
                      </a:cubicBezTo>
                      <a:cubicBezTo>
                        <a:pt x="1934" y="76"/>
                        <a:pt x="1934" y="76"/>
                        <a:pt x="1934" y="76"/>
                      </a:cubicBezTo>
                      <a:cubicBezTo>
                        <a:pt x="1934" y="76"/>
                        <a:pt x="1919" y="71"/>
                        <a:pt x="1914" y="67"/>
                      </a:cubicBezTo>
                      <a:cubicBezTo>
                        <a:pt x="1909" y="63"/>
                        <a:pt x="1891" y="53"/>
                        <a:pt x="1891" y="53"/>
                      </a:cubicBezTo>
                      <a:cubicBezTo>
                        <a:pt x="1889" y="44"/>
                        <a:pt x="1889" y="44"/>
                        <a:pt x="1889" y="44"/>
                      </a:cubicBezTo>
                      <a:cubicBezTo>
                        <a:pt x="1889" y="44"/>
                        <a:pt x="1868" y="30"/>
                        <a:pt x="1861" y="29"/>
                      </a:cubicBezTo>
                      <a:cubicBezTo>
                        <a:pt x="1854" y="28"/>
                        <a:pt x="1835" y="27"/>
                        <a:pt x="1835" y="27"/>
                      </a:cubicBezTo>
                      <a:cubicBezTo>
                        <a:pt x="1820" y="30"/>
                        <a:pt x="1820" y="30"/>
                        <a:pt x="1820" y="30"/>
                      </a:cubicBezTo>
                      <a:cubicBezTo>
                        <a:pt x="1794" y="13"/>
                        <a:pt x="1794" y="13"/>
                        <a:pt x="1794" y="13"/>
                      </a:cubicBezTo>
                      <a:cubicBezTo>
                        <a:pt x="1769" y="0"/>
                        <a:pt x="1769" y="0"/>
                        <a:pt x="1769" y="0"/>
                      </a:cubicBezTo>
                      <a:cubicBezTo>
                        <a:pt x="1734" y="7"/>
                        <a:pt x="1734" y="7"/>
                        <a:pt x="1734" y="7"/>
                      </a:cubicBezTo>
                      <a:cubicBezTo>
                        <a:pt x="1706" y="5"/>
                        <a:pt x="1706" y="5"/>
                        <a:pt x="1706" y="5"/>
                      </a:cubicBezTo>
                      <a:cubicBezTo>
                        <a:pt x="1702" y="13"/>
                        <a:pt x="1702" y="13"/>
                        <a:pt x="1702" y="13"/>
                      </a:cubicBezTo>
                      <a:cubicBezTo>
                        <a:pt x="1678" y="16"/>
                        <a:pt x="1678" y="16"/>
                        <a:pt x="1678" y="16"/>
                      </a:cubicBezTo>
                      <a:cubicBezTo>
                        <a:pt x="1658" y="36"/>
                        <a:pt x="1658" y="36"/>
                        <a:pt x="1658" y="36"/>
                      </a:cubicBezTo>
                      <a:cubicBezTo>
                        <a:pt x="1658" y="36"/>
                        <a:pt x="1636" y="51"/>
                        <a:pt x="1651" y="54"/>
                      </a:cubicBezTo>
                      <a:cubicBezTo>
                        <a:pt x="1666" y="57"/>
                        <a:pt x="1678" y="59"/>
                        <a:pt x="1678" y="59"/>
                      </a:cubicBezTo>
                      <a:cubicBezTo>
                        <a:pt x="1678" y="59"/>
                        <a:pt x="1705" y="74"/>
                        <a:pt x="1704" y="80"/>
                      </a:cubicBezTo>
                      <a:cubicBezTo>
                        <a:pt x="1703" y="86"/>
                        <a:pt x="1691" y="91"/>
                        <a:pt x="1689" y="100"/>
                      </a:cubicBezTo>
                      <a:cubicBezTo>
                        <a:pt x="1687" y="109"/>
                        <a:pt x="1692" y="127"/>
                        <a:pt x="1692" y="127"/>
                      </a:cubicBezTo>
                      <a:cubicBezTo>
                        <a:pt x="1692" y="146"/>
                        <a:pt x="1692" y="146"/>
                        <a:pt x="1692" y="146"/>
                      </a:cubicBezTo>
                      <a:cubicBezTo>
                        <a:pt x="1693" y="171"/>
                        <a:pt x="1693" y="171"/>
                        <a:pt x="1693" y="171"/>
                      </a:cubicBezTo>
                      <a:cubicBezTo>
                        <a:pt x="1693" y="171"/>
                        <a:pt x="1717" y="181"/>
                        <a:pt x="1704" y="189"/>
                      </a:cubicBezTo>
                      <a:cubicBezTo>
                        <a:pt x="1691" y="197"/>
                        <a:pt x="1680" y="192"/>
                        <a:pt x="1680" y="192"/>
                      </a:cubicBezTo>
                      <a:cubicBezTo>
                        <a:pt x="1680" y="192"/>
                        <a:pt x="1676" y="214"/>
                        <a:pt x="1666" y="214"/>
                      </a:cubicBezTo>
                      <a:cubicBezTo>
                        <a:pt x="1656" y="214"/>
                        <a:pt x="1653" y="209"/>
                        <a:pt x="1653" y="209"/>
                      </a:cubicBezTo>
                      <a:cubicBezTo>
                        <a:pt x="1629" y="208"/>
                        <a:pt x="1629" y="208"/>
                        <a:pt x="1629" y="208"/>
                      </a:cubicBezTo>
                      <a:cubicBezTo>
                        <a:pt x="1606" y="194"/>
                        <a:pt x="1606" y="194"/>
                        <a:pt x="1606" y="194"/>
                      </a:cubicBezTo>
                      <a:cubicBezTo>
                        <a:pt x="1607" y="249"/>
                        <a:pt x="1607" y="249"/>
                        <a:pt x="1607" y="249"/>
                      </a:cubicBezTo>
                      <a:cubicBezTo>
                        <a:pt x="1612" y="255"/>
                        <a:pt x="1612" y="255"/>
                        <a:pt x="1612" y="255"/>
                      </a:cubicBezTo>
                      <a:cubicBezTo>
                        <a:pt x="1613" y="273"/>
                        <a:pt x="1613" y="273"/>
                        <a:pt x="1613" y="273"/>
                      </a:cubicBezTo>
                      <a:cubicBezTo>
                        <a:pt x="1617" y="279"/>
                        <a:pt x="1617" y="279"/>
                        <a:pt x="1617" y="279"/>
                      </a:cubicBezTo>
                      <a:cubicBezTo>
                        <a:pt x="1617" y="279"/>
                        <a:pt x="1612" y="282"/>
                        <a:pt x="1615" y="292"/>
                      </a:cubicBezTo>
                      <a:cubicBezTo>
                        <a:pt x="1618" y="302"/>
                        <a:pt x="1630" y="313"/>
                        <a:pt x="1639" y="310"/>
                      </a:cubicBezTo>
                      <a:cubicBezTo>
                        <a:pt x="1648" y="307"/>
                        <a:pt x="1632" y="300"/>
                        <a:pt x="1651" y="299"/>
                      </a:cubicBezTo>
                      <a:cubicBezTo>
                        <a:pt x="1670" y="298"/>
                        <a:pt x="1680" y="302"/>
                        <a:pt x="1680" y="302"/>
                      </a:cubicBezTo>
                      <a:cubicBezTo>
                        <a:pt x="1680" y="302"/>
                        <a:pt x="1691" y="313"/>
                        <a:pt x="1697" y="311"/>
                      </a:cubicBezTo>
                      <a:cubicBezTo>
                        <a:pt x="1703" y="309"/>
                        <a:pt x="1704" y="291"/>
                        <a:pt x="1704" y="291"/>
                      </a:cubicBezTo>
                      <a:cubicBezTo>
                        <a:pt x="1745" y="291"/>
                        <a:pt x="1745" y="291"/>
                        <a:pt x="1745" y="291"/>
                      </a:cubicBezTo>
                      <a:cubicBezTo>
                        <a:pt x="1745" y="291"/>
                        <a:pt x="1748" y="306"/>
                        <a:pt x="1757" y="307"/>
                      </a:cubicBezTo>
                      <a:cubicBezTo>
                        <a:pt x="1766" y="308"/>
                        <a:pt x="1769" y="308"/>
                        <a:pt x="1769" y="308"/>
                      </a:cubicBezTo>
                      <a:cubicBezTo>
                        <a:pt x="1769" y="308"/>
                        <a:pt x="1777" y="315"/>
                        <a:pt x="1786" y="322"/>
                      </a:cubicBezTo>
                      <a:cubicBezTo>
                        <a:pt x="1795" y="329"/>
                        <a:pt x="1813" y="333"/>
                        <a:pt x="1813" y="333"/>
                      </a:cubicBezTo>
                      <a:cubicBezTo>
                        <a:pt x="1813" y="333"/>
                        <a:pt x="1818" y="344"/>
                        <a:pt x="1827" y="350"/>
                      </a:cubicBezTo>
                      <a:cubicBezTo>
                        <a:pt x="1836" y="356"/>
                        <a:pt x="1839" y="362"/>
                        <a:pt x="1831" y="363"/>
                      </a:cubicBezTo>
                      <a:cubicBezTo>
                        <a:pt x="1823" y="364"/>
                        <a:pt x="1805" y="365"/>
                        <a:pt x="1805" y="365"/>
                      </a:cubicBezTo>
                      <a:cubicBezTo>
                        <a:pt x="1805" y="365"/>
                        <a:pt x="1797" y="356"/>
                        <a:pt x="1788" y="356"/>
                      </a:cubicBezTo>
                      <a:cubicBezTo>
                        <a:pt x="1779" y="356"/>
                        <a:pt x="1768" y="359"/>
                        <a:pt x="1768" y="359"/>
                      </a:cubicBezTo>
                      <a:cubicBezTo>
                        <a:pt x="1759" y="368"/>
                        <a:pt x="1759" y="368"/>
                        <a:pt x="1759" y="368"/>
                      </a:cubicBezTo>
                      <a:cubicBezTo>
                        <a:pt x="1753" y="371"/>
                        <a:pt x="1753" y="371"/>
                        <a:pt x="1753" y="371"/>
                      </a:cubicBezTo>
                      <a:cubicBezTo>
                        <a:pt x="1735" y="368"/>
                        <a:pt x="1735" y="368"/>
                        <a:pt x="1735" y="368"/>
                      </a:cubicBezTo>
                      <a:cubicBezTo>
                        <a:pt x="1735" y="379"/>
                        <a:pt x="1735" y="379"/>
                        <a:pt x="1735" y="379"/>
                      </a:cubicBezTo>
                      <a:cubicBezTo>
                        <a:pt x="1735" y="379"/>
                        <a:pt x="1710" y="380"/>
                        <a:pt x="1703" y="391"/>
                      </a:cubicBezTo>
                      <a:cubicBezTo>
                        <a:pt x="1696" y="402"/>
                        <a:pt x="1711" y="413"/>
                        <a:pt x="1711" y="413"/>
                      </a:cubicBezTo>
                      <a:cubicBezTo>
                        <a:pt x="1695" y="427"/>
                        <a:pt x="1695" y="427"/>
                        <a:pt x="1695" y="427"/>
                      </a:cubicBezTo>
                      <a:cubicBezTo>
                        <a:pt x="1695" y="427"/>
                        <a:pt x="1649" y="424"/>
                        <a:pt x="1646" y="427"/>
                      </a:cubicBezTo>
                      <a:cubicBezTo>
                        <a:pt x="1643" y="430"/>
                        <a:pt x="1645" y="446"/>
                        <a:pt x="1645" y="446"/>
                      </a:cubicBezTo>
                      <a:cubicBezTo>
                        <a:pt x="1645" y="446"/>
                        <a:pt x="1634" y="460"/>
                        <a:pt x="1627" y="462"/>
                      </a:cubicBezTo>
                      <a:cubicBezTo>
                        <a:pt x="1620" y="464"/>
                        <a:pt x="1593" y="465"/>
                        <a:pt x="1593" y="465"/>
                      </a:cubicBezTo>
                      <a:cubicBezTo>
                        <a:pt x="1593" y="465"/>
                        <a:pt x="1571" y="448"/>
                        <a:pt x="1567" y="447"/>
                      </a:cubicBezTo>
                      <a:cubicBezTo>
                        <a:pt x="1563" y="446"/>
                        <a:pt x="1545" y="440"/>
                        <a:pt x="1539" y="450"/>
                      </a:cubicBezTo>
                      <a:cubicBezTo>
                        <a:pt x="1533" y="460"/>
                        <a:pt x="1535" y="480"/>
                        <a:pt x="1541" y="484"/>
                      </a:cubicBezTo>
                      <a:cubicBezTo>
                        <a:pt x="1547" y="488"/>
                        <a:pt x="1578" y="511"/>
                        <a:pt x="1577" y="516"/>
                      </a:cubicBezTo>
                      <a:cubicBezTo>
                        <a:pt x="1576" y="521"/>
                        <a:pt x="1566" y="536"/>
                        <a:pt x="1562" y="536"/>
                      </a:cubicBezTo>
                      <a:cubicBezTo>
                        <a:pt x="1558" y="536"/>
                        <a:pt x="1548" y="533"/>
                        <a:pt x="1545" y="540"/>
                      </a:cubicBezTo>
                      <a:cubicBezTo>
                        <a:pt x="1542" y="547"/>
                        <a:pt x="1544" y="562"/>
                        <a:pt x="1536" y="569"/>
                      </a:cubicBezTo>
                      <a:cubicBezTo>
                        <a:pt x="1528" y="576"/>
                        <a:pt x="1511" y="574"/>
                        <a:pt x="1511" y="574"/>
                      </a:cubicBezTo>
                      <a:cubicBezTo>
                        <a:pt x="1499" y="587"/>
                        <a:pt x="1499" y="587"/>
                        <a:pt x="1499" y="587"/>
                      </a:cubicBezTo>
                      <a:cubicBezTo>
                        <a:pt x="1499" y="587"/>
                        <a:pt x="1409" y="584"/>
                        <a:pt x="1395" y="590"/>
                      </a:cubicBezTo>
                      <a:cubicBezTo>
                        <a:pt x="1381" y="596"/>
                        <a:pt x="1338" y="625"/>
                        <a:pt x="1332" y="630"/>
                      </a:cubicBezTo>
                      <a:cubicBezTo>
                        <a:pt x="1326" y="635"/>
                        <a:pt x="1306" y="627"/>
                        <a:pt x="1306" y="627"/>
                      </a:cubicBezTo>
                      <a:cubicBezTo>
                        <a:pt x="1306" y="627"/>
                        <a:pt x="1303" y="615"/>
                        <a:pt x="1297" y="615"/>
                      </a:cubicBezTo>
                      <a:cubicBezTo>
                        <a:pt x="1291" y="615"/>
                        <a:pt x="1270" y="624"/>
                        <a:pt x="1270" y="624"/>
                      </a:cubicBezTo>
                      <a:cubicBezTo>
                        <a:pt x="1270" y="624"/>
                        <a:pt x="1242" y="609"/>
                        <a:pt x="1228" y="608"/>
                      </a:cubicBezTo>
                      <a:cubicBezTo>
                        <a:pt x="1214" y="607"/>
                        <a:pt x="1203" y="609"/>
                        <a:pt x="1188" y="604"/>
                      </a:cubicBezTo>
                      <a:cubicBezTo>
                        <a:pt x="1173" y="599"/>
                        <a:pt x="1171" y="584"/>
                        <a:pt x="1161" y="581"/>
                      </a:cubicBezTo>
                      <a:cubicBezTo>
                        <a:pt x="1151" y="578"/>
                        <a:pt x="1112" y="578"/>
                        <a:pt x="1112" y="578"/>
                      </a:cubicBezTo>
                      <a:cubicBezTo>
                        <a:pt x="1112" y="578"/>
                        <a:pt x="1092" y="570"/>
                        <a:pt x="1087" y="570"/>
                      </a:cubicBezTo>
                      <a:cubicBezTo>
                        <a:pt x="1082" y="570"/>
                        <a:pt x="1068" y="581"/>
                        <a:pt x="1068" y="581"/>
                      </a:cubicBezTo>
                      <a:cubicBezTo>
                        <a:pt x="1043" y="576"/>
                        <a:pt x="1043" y="576"/>
                        <a:pt x="1043" y="576"/>
                      </a:cubicBezTo>
                      <a:cubicBezTo>
                        <a:pt x="1012" y="576"/>
                        <a:pt x="1012" y="576"/>
                        <a:pt x="1012" y="576"/>
                      </a:cubicBezTo>
                      <a:cubicBezTo>
                        <a:pt x="973" y="571"/>
                        <a:pt x="973" y="571"/>
                        <a:pt x="973" y="571"/>
                      </a:cubicBezTo>
                      <a:cubicBezTo>
                        <a:pt x="935" y="575"/>
                        <a:pt x="935" y="575"/>
                        <a:pt x="935" y="575"/>
                      </a:cubicBezTo>
                      <a:cubicBezTo>
                        <a:pt x="935" y="575"/>
                        <a:pt x="902" y="550"/>
                        <a:pt x="898" y="544"/>
                      </a:cubicBezTo>
                      <a:cubicBezTo>
                        <a:pt x="894" y="538"/>
                        <a:pt x="880" y="519"/>
                        <a:pt x="876" y="515"/>
                      </a:cubicBezTo>
                      <a:cubicBezTo>
                        <a:pt x="872" y="511"/>
                        <a:pt x="863" y="506"/>
                        <a:pt x="863" y="506"/>
                      </a:cubicBezTo>
                      <a:cubicBezTo>
                        <a:pt x="856" y="490"/>
                        <a:pt x="856" y="490"/>
                        <a:pt x="856" y="490"/>
                      </a:cubicBezTo>
                      <a:cubicBezTo>
                        <a:pt x="834" y="487"/>
                        <a:pt x="834" y="487"/>
                        <a:pt x="834" y="487"/>
                      </a:cubicBezTo>
                      <a:cubicBezTo>
                        <a:pt x="834" y="487"/>
                        <a:pt x="797" y="475"/>
                        <a:pt x="794" y="474"/>
                      </a:cubicBezTo>
                      <a:cubicBezTo>
                        <a:pt x="791" y="473"/>
                        <a:pt x="784" y="461"/>
                        <a:pt x="775" y="459"/>
                      </a:cubicBezTo>
                      <a:cubicBezTo>
                        <a:pt x="766" y="457"/>
                        <a:pt x="755" y="452"/>
                        <a:pt x="755" y="452"/>
                      </a:cubicBezTo>
                      <a:cubicBezTo>
                        <a:pt x="755" y="452"/>
                        <a:pt x="721" y="450"/>
                        <a:pt x="707" y="451"/>
                      </a:cubicBezTo>
                      <a:cubicBezTo>
                        <a:pt x="693" y="452"/>
                        <a:pt x="679" y="449"/>
                        <a:pt x="668" y="445"/>
                      </a:cubicBezTo>
                      <a:cubicBezTo>
                        <a:pt x="657" y="441"/>
                        <a:pt x="636" y="439"/>
                        <a:pt x="631" y="426"/>
                      </a:cubicBezTo>
                      <a:cubicBezTo>
                        <a:pt x="626" y="413"/>
                        <a:pt x="625" y="403"/>
                        <a:pt x="625" y="403"/>
                      </a:cubicBezTo>
                      <a:cubicBezTo>
                        <a:pt x="625" y="403"/>
                        <a:pt x="635" y="399"/>
                        <a:pt x="633" y="392"/>
                      </a:cubicBezTo>
                      <a:cubicBezTo>
                        <a:pt x="631" y="385"/>
                        <a:pt x="621" y="377"/>
                        <a:pt x="621" y="377"/>
                      </a:cubicBezTo>
                      <a:cubicBezTo>
                        <a:pt x="621" y="377"/>
                        <a:pt x="624" y="361"/>
                        <a:pt x="612" y="353"/>
                      </a:cubicBezTo>
                      <a:cubicBezTo>
                        <a:pt x="600" y="345"/>
                        <a:pt x="591" y="336"/>
                        <a:pt x="586" y="329"/>
                      </a:cubicBezTo>
                      <a:cubicBezTo>
                        <a:pt x="581" y="322"/>
                        <a:pt x="574" y="308"/>
                        <a:pt x="560" y="304"/>
                      </a:cubicBezTo>
                      <a:cubicBezTo>
                        <a:pt x="546" y="300"/>
                        <a:pt x="540" y="298"/>
                        <a:pt x="540" y="298"/>
                      </a:cubicBezTo>
                      <a:cubicBezTo>
                        <a:pt x="525" y="290"/>
                        <a:pt x="525" y="290"/>
                        <a:pt x="525" y="290"/>
                      </a:cubicBezTo>
                      <a:cubicBezTo>
                        <a:pt x="504" y="296"/>
                        <a:pt x="504" y="296"/>
                        <a:pt x="504" y="296"/>
                      </a:cubicBezTo>
                      <a:cubicBezTo>
                        <a:pt x="487" y="280"/>
                        <a:pt x="487" y="280"/>
                        <a:pt x="487" y="280"/>
                      </a:cubicBezTo>
                      <a:cubicBezTo>
                        <a:pt x="481" y="272"/>
                        <a:pt x="481" y="272"/>
                        <a:pt x="481" y="272"/>
                      </a:cubicBezTo>
                      <a:cubicBezTo>
                        <a:pt x="481" y="272"/>
                        <a:pt x="457" y="269"/>
                        <a:pt x="452" y="264"/>
                      </a:cubicBezTo>
                      <a:cubicBezTo>
                        <a:pt x="447" y="259"/>
                        <a:pt x="451" y="251"/>
                        <a:pt x="451" y="251"/>
                      </a:cubicBezTo>
                      <a:cubicBezTo>
                        <a:pt x="433" y="251"/>
                        <a:pt x="433" y="251"/>
                        <a:pt x="433" y="251"/>
                      </a:cubicBezTo>
                      <a:cubicBezTo>
                        <a:pt x="433" y="251"/>
                        <a:pt x="443" y="239"/>
                        <a:pt x="435" y="235"/>
                      </a:cubicBezTo>
                      <a:cubicBezTo>
                        <a:pt x="427" y="231"/>
                        <a:pt x="414" y="238"/>
                        <a:pt x="414" y="238"/>
                      </a:cubicBezTo>
                      <a:cubicBezTo>
                        <a:pt x="414" y="238"/>
                        <a:pt x="388" y="230"/>
                        <a:pt x="387" y="239"/>
                      </a:cubicBezTo>
                      <a:cubicBezTo>
                        <a:pt x="386" y="248"/>
                        <a:pt x="405" y="251"/>
                        <a:pt x="399" y="260"/>
                      </a:cubicBezTo>
                      <a:cubicBezTo>
                        <a:pt x="393" y="269"/>
                        <a:pt x="364" y="259"/>
                        <a:pt x="359" y="273"/>
                      </a:cubicBezTo>
                      <a:cubicBezTo>
                        <a:pt x="354" y="287"/>
                        <a:pt x="364" y="296"/>
                        <a:pt x="373" y="309"/>
                      </a:cubicBezTo>
                      <a:cubicBezTo>
                        <a:pt x="382" y="322"/>
                        <a:pt x="388" y="333"/>
                        <a:pt x="381" y="338"/>
                      </a:cubicBezTo>
                      <a:cubicBezTo>
                        <a:pt x="374" y="343"/>
                        <a:pt x="366" y="342"/>
                        <a:pt x="366" y="342"/>
                      </a:cubicBezTo>
                      <a:cubicBezTo>
                        <a:pt x="355" y="354"/>
                        <a:pt x="355" y="354"/>
                        <a:pt x="355" y="354"/>
                      </a:cubicBezTo>
                      <a:cubicBezTo>
                        <a:pt x="346" y="346"/>
                        <a:pt x="346" y="346"/>
                        <a:pt x="346" y="346"/>
                      </a:cubicBezTo>
                      <a:cubicBezTo>
                        <a:pt x="346" y="346"/>
                        <a:pt x="325" y="348"/>
                        <a:pt x="317" y="346"/>
                      </a:cubicBezTo>
                      <a:cubicBezTo>
                        <a:pt x="309" y="344"/>
                        <a:pt x="284" y="332"/>
                        <a:pt x="278" y="332"/>
                      </a:cubicBezTo>
                      <a:cubicBezTo>
                        <a:pt x="272" y="332"/>
                        <a:pt x="273" y="347"/>
                        <a:pt x="273" y="359"/>
                      </a:cubicBezTo>
                      <a:cubicBezTo>
                        <a:pt x="273" y="371"/>
                        <a:pt x="269" y="423"/>
                        <a:pt x="273" y="425"/>
                      </a:cubicBezTo>
                      <a:cubicBezTo>
                        <a:pt x="277" y="427"/>
                        <a:pt x="300" y="429"/>
                        <a:pt x="291" y="440"/>
                      </a:cubicBezTo>
                      <a:cubicBezTo>
                        <a:pt x="282" y="451"/>
                        <a:pt x="275" y="437"/>
                        <a:pt x="275" y="437"/>
                      </a:cubicBezTo>
                      <a:cubicBezTo>
                        <a:pt x="262" y="444"/>
                        <a:pt x="262" y="444"/>
                        <a:pt x="262" y="444"/>
                      </a:cubicBezTo>
                      <a:cubicBezTo>
                        <a:pt x="262" y="444"/>
                        <a:pt x="253" y="430"/>
                        <a:pt x="248" y="430"/>
                      </a:cubicBezTo>
                      <a:cubicBezTo>
                        <a:pt x="243" y="430"/>
                        <a:pt x="219" y="440"/>
                        <a:pt x="213" y="441"/>
                      </a:cubicBezTo>
                      <a:cubicBezTo>
                        <a:pt x="207" y="442"/>
                        <a:pt x="176" y="449"/>
                        <a:pt x="183" y="458"/>
                      </a:cubicBezTo>
                      <a:cubicBezTo>
                        <a:pt x="190" y="467"/>
                        <a:pt x="208" y="464"/>
                        <a:pt x="208" y="464"/>
                      </a:cubicBezTo>
                      <a:cubicBezTo>
                        <a:pt x="208" y="464"/>
                        <a:pt x="208" y="490"/>
                        <a:pt x="216" y="499"/>
                      </a:cubicBezTo>
                      <a:cubicBezTo>
                        <a:pt x="224" y="508"/>
                        <a:pt x="254" y="539"/>
                        <a:pt x="254" y="546"/>
                      </a:cubicBezTo>
                      <a:cubicBezTo>
                        <a:pt x="254" y="553"/>
                        <a:pt x="238" y="550"/>
                        <a:pt x="238" y="553"/>
                      </a:cubicBezTo>
                      <a:cubicBezTo>
                        <a:pt x="238" y="556"/>
                        <a:pt x="249" y="568"/>
                        <a:pt x="249" y="568"/>
                      </a:cubicBezTo>
                      <a:cubicBezTo>
                        <a:pt x="249" y="568"/>
                        <a:pt x="235" y="566"/>
                        <a:pt x="235" y="571"/>
                      </a:cubicBezTo>
                      <a:cubicBezTo>
                        <a:pt x="235" y="576"/>
                        <a:pt x="239" y="587"/>
                        <a:pt x="244" y="592"/>
                      </a:cubicBezTo>
                      <a:cubicBezTo>
                        <a:pt x="249" y="597"/>
                        <a:pt x="251" y="610"/>
                        <a:pt x="248" y="611"/>
                      </a:cubicBezTo>
                      <a:cubicBezTo>
                        <a:pt x="245" y="612"/>
                        <a:pt x="231" y="612"/>
                        <a:pt x="231" y="612"/>
                      </a:cubicBezTo>
                      <a:cubicBezTo>
                        <a:pt x="199" y="625"/>
                        <a:pt x="199" y="625"/>
                        <a:pt x="199" y="625"/>
                      </a:cubicBezTo>
                      <a:cubicBezTo>
                        <a:pt x="199" y="625"/>
                        <a:pt x="180" y="642"/>
                        <a:pt x="180" y="645"/>
                      </a:cubicBezTo>
                      <a:cubicBezTo>
                        <a:pt x="180" y="648"/>
                        <a:pt x="180" y="666"/>
                        <a:pt x="168" y="666"/>
                      </a:cubicBezTo>
                      <a:cubicBezTo>
                        <a:pt x="156" y="666"/>
                        <a:pt x="137" y="658"/>
                        <a:pt x="129" y="659"/>
                      </a:cubicBezTo>
                      <a:cubicBezTo>
                        <a:pt x="121" y="660"/>
                        <a:pt x="113" y="673"/>
                        <a:pt x="112" y="682"/>
                      </a:cubicBezTo>
                      <a:cubicBezTo>
                        <a:pt x="111" y="691"/>
                        <a:pt x="106" y="700"/>
                        <a:pt x="106" y="700"/>
                      </a:cubicBezTo>
                      <a:cubicBezTo>
                        <a:pt x="87" y="695"/>
                        <a:pt x="87" y="695"/>
                        <a:pt x="87" y="695"/>
                      </a:cubicBezTo>
                      <a:cubicBezTo>
                        <a:pt x="80" y="702"/>
                        <a:pt x="80" y="702"/>
                        <a:pt x="80" y="702"/>
                      </a:cubicBezTo>
                      <a:cubicBezTo>
                        <a:pt x="80" y="702"/>
                        <a:pt x="69" y="683"/>
                        <a:pt x="63" y="683"/>
                      </a:cubicBezTo>
                      <a:cubicBezTo>
                        <a:pt x="57" y="683"/>
                        <a:pt x="52" y="692"/>
                        <a:pt x="52" y="692"/>
                      </a:cubicBezTo>
                      <a:cubicBezTo>
                        <a:pt x="33" y="694"/>
                        <a:pt x="33" y="694"/>
                        <a:pt x="33" y="694"/>
                      </a:cubicBezTo>
                      <a:cubicBezTo>
                        <a:pt x="33" y="704"/>
                        <a:pt x="33" y="704"/>
                        <a:pt x="33" y="704"/>
                      </a:cubicBezTo>
                      <a:cubicBezTo>
                        <a:pt x="33" y="704"/>
                        <a:pt x="0" y="719"/>
                        <a:pt x="1" y="722"/>
                      </a:cubicBezTo>
                      <a:cubicBezTo>
                        <a:pt x="2" y="725"/>
                        <a:pt x="13" y="738"/>
                        <a:pt x="13" y="742"/>
                      </a:cubicBezTo>
                      <a:cubicBezTo>
                        <a:pt x="13" y="746"/>
                        <a:pt x="1" y="744"/>
                        <a:pt x="1" y="744"/>
                      </a:cubicBezTo>
                      <a:cubicBezTo>
                        <a:pt x="1" y="761"/>
                        <a:pt x="1" y="761"/>
                        <a:pt x="1" y="761"/>
                      </a:cubicBezTo>
                      <a:cubicBezTo>
                        <a:pt x="1" y="761"/>
                        <a:pt x="15" y="758"/>
                        <a:pt x="15" y="765"/>
                      </a:cubicBezTo>
                      <a:cubicBezTo>
                        <a:pt x="15" y="772"/>
                        <a:pt x="7" y="790"/>
                        <a:pt x="17" y="794"/>
                      </a:cubicBezTo>
                      <a:cubicBezTo>
                        <a:pt x="27" y="798"/>
                        <a:pt x="31" y="783"/>
                        <a:pt x="45" y="787"/>
                      </a:cubicBezTo>
                      <a:cubicBezTo>
                        <a:pt x="59" y="791"/>
                        <a:pt x="71" y="794"/>
                        <a:pt x="71" y="804"/>
                      </a:cubicBezTo>
                      <a:cubicBezTo>
                        <a:pt x="71" y="814"/>
                        <a:pt x="72" y="836"/>
                        <a:pt x="79" y="843"/>
                      </a:cubicBezTo>
                      <a:cubicBezTo>
                        <a:pt x="86" y="850"/>
                        <a:pt x="98" y="853"/>
                        <a:pt x="90" y="859"/>
                      </a:cubicBezTo>
                      <a:cubicBezTo>
                        <a:pt x="82" y="865"/>
                        <a:pt x="62" y="857"/>
                        <a:pt x="65" y="868"/>
                      </a:cubicBezTo>
                      <a:cubicBezTo>
                        <a:pt x="68" y="879"/>
                        <a:pt x="90" y="880"/>
                        <a:pt x="90" y="880"/>
                      </a:cubicBezTo>
                      <a:cubicBezTo>
                        <a:pt x="111" y="880"/>
                        <a:pt x="111" y="880"/>
                        <a:pt x="111" y="880"/>
                      </a:cubicBezTo>
                      <a:cubicBezTo>
                        <a:pt x="114" y="889"/>
                        <a:pt x="114" y="889"/>
                        <a:pt x="114" y="889"/>
                      </a:cubicBezTo>
                      <a:cubicBezTo>
                        <a:pt x="114" y="889"/>
                        <a:pt x="129" y="890"/>
                        <a:pt x="138" y="900"/>
                      </a:cubicBezTo>
                      <a:cubicBezTo>
                        <a:pt x="147" y="910"/>
                        <a:pt x="148" y="931"/>
                        <a:pt x="148" y="931"/>
                      </a:cubicBezTo>
                      <a:cubicBezTo>
                        <a:pt x="169" y="939"/>
                        <a:pt x="169" y="939"/>
                        <a:pt x="169" y="939"/>
                      </a:cubicBezTo>
                      <a:cubicBezTo>
                        <a:pt x="177" y="935"/>
                        <a:pt x="177" y="935"/>
                        <a:pt x="177" y="935"/>
                      </a:cubicBezTo>
                      <a:cubicBezTo>
                        <a:pt x="177" y="935"/>
                        <a:pt x="182" y="955"/>
                        <a:pt x="201" y="956"/>
                      </a:cubicBezTo>
                      <a:cubicBezTo>
                        <a:pt x="220" y="957"/>
                        <a:pt x="246" y="957"/>
                        <a:pt x="246" y="957"/>
                      </a:cubicBezTo>
                      <a:cubicBezTo>
                        <a:pt x="246" y="957"/>
                        <a:pt x="277" y="928"/>
                        <a:pt x="294" y="934"/>
                      </a:cubicBezTo>
                      <a:cubicBezTo>
                        <a:pt x="311" y="940"/>
                        <a:pt x="313" y="954"/>
                        <a:pt x="324" y="956"/>
                      </a:cubicBezTo>
                      <a:cubicBezTo>
                        <a:pt x="335" y="958"/>
                        <a:pt x="349" y="956"/>
                        <a:pt x="349" y="956"/>
                      </a:cubicBezTo>
                      <a:cubicBezTo>
                        <a:pt x="349" y="956"/>
                        <a:pt x="353" y="992"/>
                        <a:pt x="349" y="997"/>
                      </a:cubicBezTo>
                      <a:cubicBezTo>
                        <a:pt x="345" y="1002"/>
                        <a:pt x="336" y="1002"/>
                        <a:pt x="336" y="1002"/>
                      </a:cubicBezTo>
                      <a:cubicBezTo>
                        <a:pt x="336" y="1002"/>
                        <a:pt x="342" y="1026"/>
                        <a:pt x="333" y="1031"/>
                      </a:cubicBezTo>
                      <a:cubicBezTo>
                        <a:pt x="324" y="1036"/>
                        <a:pt x="305" y="1035"/>
                        <a:pt x="305" y="1035"/>
                      </a:cubicBezTo>
                      <a:cubicBezTo>
                        <a:pt x="317" y="1051"/>
                        <a:pt x="317" y="1051"/>
                        <a:pt x="317" y="1051"/>
                      </a:cubicBezTo>
                      <a:cubicBezTo>
                        <a:pt x="306" y="1057"/>
                        <a:pt x="306" y="1057"/>
                        <a:pt x="306" y="1057"/>
                      </a:cubicBezTo>
                      <a:cubicBezTo>
                        <a:pt x="306" y="1057"/>
                        <a:pt x="300" y="1068"/>
                        <a:pt x="315" y="1075"/>
                      </a:cubicBezTo>
                      <a:cubicBezTo>
                        <a:pt x="330" y="1082"/>
                        <a:pt x="335" y="1085"/>
                        <a:pt x="335" y="1085"/>
                      </a:cubicBezTo>
                      <a:cubicBezTo>
                        <a:pt x="340" y="1094"/>
                        <a:pt x="340" y="1094"/>
                        <a:pt x="340" y="1094"/>
                      </a:cubicBezTo>
                      <a:cubicBezTo>
                        <a:pt x="340" y="1094"/>
                        <a:pt x="359" y="1109"/>
                        <a:pt x="351" y="1114"/>
                      </a:cubicBezTo>
                      <a:cubicBezTo>
                        <a:pt x="343" y="1119"/>
                        <a:pt x="334" y="1122"/>
                        <a:pt x="334" y="1122"/>
                      </a:cubicBezTo>
                      <a:cubicBezTo>
                        <a:pt x="328" y="1131"/>
                        <a:pt x="328" y="1131"/>
                        <a:pt x="328" y="1131"/>
                      </a:cubicBezTo>
                      <a:cubicBezTo>
                        <a:pt x="318" y="1123"/>
                        <a:pt x="318" y="1123"/>
                        <a:pt x="318" y="1123"/>
                      </a:cubicBezTo>
                      <a:cubicBezTo>
                        <a:pt x="318" y="1123"/>
                        <a:pt x="320" y="1113"/>
                        <a:pt x="316" y="1113"/>
                      </a:cubicBezTo>
                      <a:cubicBezTo>
                        <a:pt x="312" y="1113"/>
                        <a:pt x="299" y="1118"/>
                        <a:pt x="301" y="1128"/>
                      </a:cubicBezTo>
                      <a:cubicBezTo>
                        <a:pt x="303" y="1138"/>
                        <a:pt x="323" y="1149"/>
                        <a:pt x="323" y="1149"/>
                      </a:cubicBezTo>
                      <a:cubicBezTo>
                        <a:pt x="323" y="1149"/>
                        <a:pt x="316" y="1174"/>
                        <a:pt x="323" y="1177"/>
                      </a:cubicBezTo>
                      <a:cubicBezTo>
                        <a:pt x="330" y="1180"/>
                        <a:pt x="341" y="1175"/>
                        <a:pt x="341" y="1175"/>
                      </a:cubicBezTo>
                      <a:cubicBezTo>
                        <a:pt x="341" y="1175"/>
                        <a:pt x="345" y="1190"/>
                        <a:pt x="356" y="1194"/>
                      </a:cubicBezTo>
                      <a:cubicBezTo>
                        <a:pt x="367" y="1198"/>
                        <a:pt x="377" y="1200"/>
                        <a:pt x="377" y="1200"/>
                      </a:cubicBezTo>
                      <a:cubicBezTo>
                        <a:pt x="392" y="1211"/>
                        <a:pt x="392" y="1211"/>
                        <a:pt x="392" y="1211"/>
                      </a:cubicBezTo>
                      <a:cubicBezTo>
                        <a:pt x="403" y="1210"/>
                        <a:pt x="403" y="1210"/>
                        <a:pt x="403" y="1210"/>
                      </a:cubicBezTo>
                      <a:cubicBezTo>
                        <a:pt x="403" y="1210"/>
                        <a:pt x="397" y="1218"/>
                        <a:pt x="403" y="1221"/>
                      </a:cubicBezTo>
                      <a:cubicBezTo>
                        <a:pt x="409" y="1224"/>
                        <a:pt x="420" y="1224"/>
                        <a:pt x="420" y="1224"/>
                      </a:cubicBezTo>
                      <a:cubicBezTo>
                        <a:pt x="447" y="1249"/>
                        <a:pt x="447" y="1249"/>
                        <a:pt x="447" y="1249"/>
                      </a:cubicBezTo>
                      <a:cubicBezTo>
                        <a:pt x="462" y="1236"/>
                        <a:pt x="462" y="1236"/>
                        <a:pt x="462" y="1236"/>
                      </a:cubicBezTo>
                      <a:cubicBezTo>
                        <a:pt x="462" y="1236"/>
                        <a:pt x="475" y="1219"/>
                        <a:pt x="489" y="1234"/>
                      </a:cubicBezTo>
                      <a:cubicBezTo>
                        <a:pt x="503" y="1249"/>
                        <a:pt x="521" y="1263"/>
                        <a:pt x="521" y="1263"/>
                      </a:cubicBezTo>
                      <a:cubicBezTo>
                        <a:pt x="552" y="1269"/>
                        <a:pt x="552" y="1269"/>
                        <a:pt x="552" y="1269"/>
                      </a:cubicBezTo>
                      <a:cubicBezTo>
                        <a:pt x="552" y="1269"/>
                        <a:pt x="567" y="1301"/>
                        <a:pt x="571" y="1302"/>
                      </a:cubicBezTo>
                      <a:cubicBezTo>
                        <a:pt x="575" y="1303"/>
                        <a:pt x="579" y="1278"/>
                        <a:pt x="590" y="1285"/>
                      </a:cubicBezTo>
                      <a:cubicBezTo>
                        <a:pt x="601" y="1292"/>
                        <a:pt x="596" y="1308"/>
                        <a:pt x="604" y="1314"/>
                      </a:cubicBezTo>
                      <a:cubicBezTo>
                        <a:pt x="612" y="1320"/>
                        <a:pt x="626" y="1332"/>
                        <a:pt x="626" y="1332"/>
                      </a:cubicBezTo>
                      <a:cubicBezTo>
                        <a:pt x="626" y="1332"/>
                        <a:pt x="641" y="1321"/>
                        <a:pt x="646" y="1328"/>
                      </a:cubicBezTo>
                      <a:cubicBezTo>
                        <a:pt x="651" y="1335"/>
                        <a:pt x="634" y="1338"/>
                        <a:pt x="650" y="1345"/>
                      </a:cubicBezTo>
                      <a:cubicBezTo>
                        <a:pt x="666" y="1352"/>
                        <a:pt x="678" y="1343"/>
                        <a:pt x="678" y="1343"/>
                      </a:cubicBezTo>
                      <a:cubicBezTo>
                        <a:pt x="678" y="1343"/>
                        <a:pt x="678" y="1361"/>
                        <a:pt x="687" y="1362"/>
                      </a:cubicBezTo>
                      <a:cubicBezTo>
                        <a:pt x="696" y="1363"/>
                        <a:pt x="698" y="1349"/>
                        <a:pt x="698" y="1349"/>
                      </a:cubicBezTo>
                      <a:cubicBezTo>
                        <a:pt x="698" y="1349"/>
                        <a:pt x="697" y="1363"/>
                        <a:pt x="707" y="1362"/>
                      </a:cubicBezTo>
                      <a:cubicBezTo>
                        <a:pt x="717" y="1361"/>
                        <a:pt x="719" y="1353"/>
                        <a:pt x="719" y="1353"/>
                      </a:cubicBezTo>
                      <a:cubicBezTo>
                        <a:pt x="719" y="1353"/>
                        <a:pt x="752" y="1373"/>
                        <a:pt x="766" y="1372"/>
                      </a:cubicBezTo>
                      <a:cubicBezTo>
                        <a:pt x="780" y="1371"/>
                        <a:pt x="806" y="1346"/>
                        <a:pt x="817" y="1355"/>
                      </a:cubicBezTo>
                      <a:cubicBezTo>
                        <a:pt x="828" y="1364"/>
                        <a:pt x="817" y="1392"/>
                        <a:pt x="822" y="1394"/>
                      </a:cubicBezTo>
                      <a:cubicBezTo>
                        <a:pt x="827" y="1396"/>
                        <a:pt x="832" y="1395"/>
                        <a:pt x="832" y="1395"/>
                      </a:cubicBezTo>
                      <a:cubicBezTo>
                        <a:pt x="832" y="1395"/>
                        <a:pt x="856" y="1339"/>
                        <a:pt x="870" y="1344"/>
                      </a:cubicBezTo>
                      <a:cubicBezTo>
                        <a:pt x="884" y="1349"/>
                        <a:pt x="894" y="1350"/>
                        <a:pt x="894" y="1350"/>
                      </a:cubicBezTo>
                      <a:cubicBezTo>
                        <a:pt x="894" y="1364"/>
                        <a:pt x="894" y="1364"/>
                        <a:pt x="894" y="1364"/>
                      </a:cubicBezTo>
                      <a:cubicBezTo>
                        <a:pt x="894" y="1364"/>
                        <a:pt x="930" y="1346"/>
                        <a:pt x="943" y="1357"/>
                      </a:cubicBezTo>
                      <a:cubicBezTo>
                        <a:pt x="956" y="1368"/>
                        <a:pt x="956" y="1378"/>
                        <a:pt x="956" y="1378"/>
                      </a:cubicBezTo>
                      <a:cubicBezTo>
                        <a:pt x="956" y="1378"/>
                        <a:pt x="987" y="1380"/>
                        <a:pt x="995" y="1373"/>
                      </a:cubicBezTo>
                      <a:cubicBezTo>
                        <a:pt x="1003" y="1366"/>
                        <a:pt x="995" y="1350"/>
                        <a:pt x="995" y="1350"/>
                      </a:cubicBezTo>
                      <a:cubicBezTo>
                        <a:pt x="995" y="1350"/>
                        <a:pt x="1016" y="1348"/>
                        <a:pt x="1018" y="1343"/>
                      </a:cubicBezTo>
                      <a:cubicBezTo>
                        <a:pt x="1020" y="1338"/>
                        <a:pt x="1013" y="1322"/>
                        <a:pt x="1013" y="1322"/>
                      </a:cubicBezTo>
                      <a:cubicBezTo>
                        <a:pt x="1013" y="1322"/>
                        <a:pt x="1037" y="1326"/>
                        <a:pt x="1044" y="1318"/>
                      </a:cubicBezTo>
                      <a:cubicBezTo>
                        <a:pt x="1051" y="1310"/>
                        <a:pt x="1068" y="1291"/>
                        <a:pt x="1076" y="1291"/>
                      </a:cubicBezTo>
                      <a:cubicBezTo>
                        <a:pt x="1084" y="1291"/>
                        <a:pt x="1098" y="1305"/>
                        <a:pt x="1109" y="1305"/>
                      </a:cubicBezTo>
                      <a:cubicBezTo>
                        <a:pt x="1120" y="1305"/>
                        <a:pt x="1112" y="1274"/>
                        <a:pt x="1130" y="1283"/>
                      </a:cubicBezTo>
                      <a:cubicBezTo>
                        <a:pt x="1148" y="1292"/>
                        <a:pt x="1149" y="1297"/>
                        <a:pt x="1149" y="1297"/>
                      </a:cubicBezTo>
                      <a:cubicBezTo>
                        <a:pt x="1149" y="1297"/>
                        <a:pt x="1133" y="1305"/>
                        <a:pt x="1142" y="1307"/>
                      </a:cubicBezTo>
                      <a:cubicBezTo>
                        <a:pt x="1151" y="1309"/>
                        <a:pt x="1162" y="1308"/>
                        <a:pt x="1162" y="1308"/>
                      </a:cubicBezTo>
                      <a:cubicBezTo>
                        <a:pt x="1173" y="1328"/>
                        <a:pt x="1173" y="1328"/>
                        <a:pt x="1173" y="1328"/>
                      </a:cubicBezTo>
                      <a:cubicBezTo>
                        <a:pt x="1173" y="1328"/>
                        <a:pt x="1153" y="1337"/>
                        <a:pt x="1161" y="1339"/>
                      </a:cubicBezTo>
                      <a:cubicBezTo>
                        <a:pt x="1169" y="1341"/>
                        <a:pt x="1184" y="1341"/>
                        <a:pt x="1191" y="1341"/>
                      </a:cubicBezTo>
                      <a:cubicBezTo>
                        <a:pt x="1198" y="1341"/>
                        <a:pt x="1213" y="1345"/>
                        <a:pt x="1213" y="1345"/>
                      </a:cubicBezTo>
                      <a:cubicBezTo>
                        <a:pt x="1217" y="1332"/>
                        <a:pt x="1217" y="1332"/>
                        <a:pt x="1217" y="1332"/>
                      </a:cubicBezTo>
                      <a:cubicBezTo>
                        <a:pt x="1217" y="1332"/>
                        <a:pt x="1231" y="1339"/>
                        <a:pt x="1239" y="1347"/>
                      </a:cubicBezTo>
                      <a:cubicBezTo>
                        <a:pt x="1247" y="1355"/>
                        <a:pt x="1256" y="1382"/>
                        <a:pt x="1256" y="1382"/>
                      </a:cubicBezTo>
                      <a:cubicBezTo>
                        <a:pt x="1256" y="1382"/>
                        <a:pt x="1271" y="1380"/>
                        <a:pt x="1278" y="1382"/>
                      </a:cubicBezTo>
                      <a:cubicBezTo>
                        <a:pt x="1285" y="1384"/>
                        <a:pt x="1283" y="1406"/>
                        <a:pt x="1283" y="1406"/>
                      </a:cubicBezTo>
                      <a:cubicBezTo>
                        <a:pt x="1291" y="1422"/>
                        <a:pt x="1291" y="1422"/>
                        <a:pt x="1291" y="1422"/>
                      </a:cubicBezTo>
                      <a:cubicBezTo>
                        <a:pt x="1298" y="1459"/>
                        <a:pt x="1298" y="1459"/>
                        <a:pt x="1298" y="1459"/>
                      </a:cubicBezTo>
                      <a:cubicBezTo>
                        <a:pt x="1298" y="1459"/>
                        <a:pt x="1288" y="1465"/>
                        <a:pt x="1281" y="1465"/>
                      </a:cubicBezTo>
                      <a:cubicBezTo>
                        <a:pt x="1274" y="1465"/>
                        <a:pt x="1290" y="1476"/>
                        <a:pt x="1290" y="1476"/>
                      </a:cubicBezTo>
                      <a:cubicBezTo>
                        <a:pt x="1290" y="1476"/>
                        <a:pt x="1289" y="1482"/>
                        <a:pt x="1286" y="1489"/>
                      </a:cubicBezTo>
                      <a:cubicBezTo>
                        <a:pt x="1283" y="1496"/>
                        <a:pt x="1271" y="1488"/>
                        <a:pt x="1271" y="1488"/>
                      </a:cubicBezTo>
                      <a:cubicBezTo>
                        <a:pt x="1271" y="1488"/>
                        <a:pt x="1272" y="1497"/>
                        <a:pt x="1271" y="1508"/>
                      </a:cubicBezTo>
                      <a:cubicBezTo>
                        <a:pt x="1270" y="1519"/>
                        <a:pt x="1259" y="1515"/>
                        <a:pt x="1259" y="1515"/>
                      </a:cubicBezTo>
                      <a:cubicBezTo>
                        <a:pt x="1261" y="1535"/>
                        <a:pt x="1261" y="1535"/>
                        <a:pt x="1261" y="1535"/>
                      </a:cubicBezTo>
                      <a:cubicBezTo>
                        <a:pt x="1254" y="1538"/>
                        <a:pt x="1254" y="1538"/>
                        <a:pt x="1254" y="1538"/>
                      </a:cubicBezTo>
                      <a:cubicBezTo>
                        <a:pt x="1254" y="1538"/>
                        <a:pt x="1255" y="1547"/>
                        <a:pt x="1260" y="1552"/>
                      </a:cubicBezTo>
                      <a:cubicBezTo>
                        <a:pt x="1265" y="1557"/>
                        <a:pt x="1270" y="1567"/>
                        <a:pt x="1270" y="1567"/>
                      </a:cubicBezTo>
                      <a:cubicBezTo>
                        <a:pt x="1264" y="1581"/>
                        <a:pt x="1264" y="1581"/>
                        <a:pt x="1264" y="1581"/>
                      </a:cubicBezTo>
                      <a:cubicBezTo>
                        <a:pt x="1264" y="1581"/>
                        <a:pt x="1280" y="1571"/>
                        <a:pt x="1288" y="1570"/>
                      </a:cubicBezTo>
                      <a:cubicBezTo>
                        <a:pt x="1296" y="1569"/>
                        <a:pt x="1325" y="1569"/>
                        <a:pt x="1325" y="1569"/>
                      </a:cubicBezTo>
                      <a:cubicBezTo>
                        <a:pt x="1308" y="1584"/>
                        <a:pt x="1308" y="1584"/>
                        <a:pt x="1308" y="1584"/>
                      </a:cubicBezTo>
                      <a:cubicBezTo>
                        <a:pt x="1324" y="1597"/>
                        <a:pt x="1324" y="1597"/>
                        <a:pt x="1324" y="1597"/>
                      </a:cubicBezTo>
                      <a:cubicBezTo>
                        <a:pt x="1329" y="1624"/>
                        <a:pt x="1329" y="1624"/>
                        <a:pt x="1329" y="1624"/>
                      </a:cubicBezTo>
                      <a:cubicBezTo>
                        <a:pt x="1329" y="1624"/>
                        <a:pt x="1357" y="1625"/>
                        <a:pt x="1364" y="1631"/>
                      </a:cubicBezTo>
                      <a:cubicBezTo>
                        <a:pt x="1371" y="1637"/>
                        <a:pt x="1348" y="1646"/>
                        <a:pt x="1348" y="1646"/>
                      </a:cubicBezTo>
                      <a:cubicBezTo>
                        <a:pt x="1348" y="1646"/>
                        <a:pt x="1357" y="1658"/>
                        <a:pt x="1354" y="1661"/>
                      </a:cubicBezTo>
                      <a:cubicBezTo>
                        <a:pt x="1351" y="1664"/>
                        <a:pt x="1345" y="1678"/>
                        <a:pt x="1345" y="1678"/>
                      </a:cubicBezTo>
                      <a:cubicBezTo>
                        <a:pt x="1384" y="1682"/>
                        <a:pt x="1384" y="1682"/>
                        <a:pt x="1384" y="1682"/>
                      </a:cubicBezTo>
                      <a:cubicBezTo>
                        <a:pt x="1389" y="1702"/>
                        <a:pt x="1389" y="1702"/>
                        <a:pt x="1389" y="1702"/>
                      </a:cubicBezTo>
                      <a:cubicBezTo>
                        <a:pt x="1400" y="1701"/>
                        <a:pt x="1400" y="1701"/>
                        <a:pt x="1400" y="1701"/>
                      </a:cubicBezTo>
                      <a:cubicBezTo>
                        <a:pt x="1400" y="1701"/>
                        <a:pt x="1400" y="1713"/>
                        <a:pt x="1403" y="1713"/>
                      </a:cubicBezTo>
                      <a:cubicBezTo>
                        <a:pt x="1406" y="1713"/>
                        <a:pt x="1425" y="1712"/>
                        <a:pt x="1425" y="1712"/>
                      </a:cubicBezTo>
                      <a:cubicBezTo>
                        <a:pt x="1425" y="1712"/>
                        <a:pt x="1434" y="1694"/>
                        <a:pt x="1444" y="1695"/>
                      </a:cubicBezTo>
                      <a:cubicBezTo>
                        <a:pt x="1454" y="1696"/>
                        <a:pt x="1449" y="1714"/>
                        <a:pt x="1449" y="1714"/>
                      </a:cubicBezTo>
                      <a:cubicBezTo>
                        <a:pt x="1451" y="1727"/>
                        <a:pt x="1451" y="1727"/>
                        <a:pt x="1451" y="1727"/>
                      </a:cubicBezTo>
                      <a:cubicBezTo>
                        <a:pt x="1480" y="1729"/>
                        <a:pt x="1480" y="1729"/>
                        <a:pt x="1480" y="1729"/>
                      </a:cubicBezTo>
                      <a:cubicBezTo>
                        <a:pt x="1480" y="1704"/>
                        <a:pt x="1480" y="1704"/>
                        <a:pt x="1480" y="1704"/>
                      </a:cubicBezTo>
                      <a:cubicBezTo>
                        <a:pt x="1480" y="1704"/>
                        <a:pt x="1462" y="1692"/>
                        <a:pt x="1461" y="1679"/>
                      </a:cubicBezTo>
                      <a:cubicBezTo>
                        <a:pt x="1460" y="1666"/>
                        <a:pt x="1468" y="1657"/>
                        <a:pt x="1468" y="1657"/>
                      </a:cubicBezTo>
                      <a:cubicBezTo>
                        <a:pt x="1492" y="1659"/>
                        <a:pt x="1492" y="1659"/>
                        <a:pt x="1492" y="1659"/>
                      </a:cubicBezTo>
                      <a:cubicBezTo>
                        <a:pt x="1492" y="1653"/>
                        <a:pt x="1493" y="1646"/>
                        <a:pt x="1495" y="1642"/>
                      </a:cubicBezTo>
                      <a:cubicBezTo>
                        <a:pt x="1499" y="1634"/>
                        <a:pt x="1518" y="1657"/>
                        <a:pt x="1524" y="1657"/>
                      </a:cubicBezTo>
                      <a:cubicBezTo>
                        <a:pt x="1530" y="1657"/>
                        <a:pt x="1539" y="1641"/>
                        <a:pt x="1539" y="1641"/>
                      </a:cubicBezTo>
                      <a:cubicBezTo>
                        <a:pt x="1550" y="1653"/>
                        <a:pt x="1550" y="1653"/>
                        <a:pt x="1550" y="1653"/>
                      </a:cubicBezTo>
                      <a:cubicBezTo>
                        <a:pt x="1549" y="1640"/>
                        <a:pt x="1549" y="1640"/>
                        <a:pt x="1549" y="1640"/>
                      </a:cubicBezTo>
                      <a:cubicBezTo>
                        <a:pt x="1554" y="1639"/>
                        <a:pt x="1554" y="1639"/>
                        <a:pt x="1554" y="1639"/>
                      </a:cubicBezTo>
                      <a:cubicBezTo>
                        <a:pt x="1563" y="1652"/>
                        <a:pt x="1563" y="1652"/>
                        <a:pt x="1563" y="1652"/>
                      </a:cubicBezTo>
                      <a:cubicBezTo>
                        <a:pt x="1563" y="1652"/>
                        <a:pt x="1562" y="1657"/>
                        <a:pt x="1575" y="1656"/>
                      </a:cubicBezTo>
                      <a:cubicBezTo>
                        <a:pt x="1588" y="1655"/>
                        <a:pt x="1571" y="1639"/>
                        <a:pt x="1571" y="1639"/>
                      </a:cubicBezTo>
                      <a:cubicBezTo>
                        <a:pt x="1582" y="1639"/>
                        <a:pt x="1582" y="1639"/>
                        <a:pt x="1582" y="1639"/>
                      </a:cubicBezTo>
                      <a:cubicBezTo>
                        <a:pt x="1586" y="1646"/>
                        <a:pt x="1586" y="1646"/>
                        <a:pt x="1586" y="1646"/>
                      </a:cubicBezTo>
                      <a:cubicBezTo>
                        <a:pt x="1586" y="1646"/>
                        <a:pt x="1594" y="1642"/>
                        <a:pt x="1601" y="1640"/>
                      </a:cubicBezTo>
                      <a:cubicBezTo>
                        <a:pt x="1608" y="1638"/>
                        <a:pt x="1602" y="1624"/>
                        <a:pt x="1606" y="1619"/>
                      </a:cubicBezTo>
                      <a:cubicBezTo>
                        <a:pt x="1610" y="1614"/>
                        <a:pt x="1625" y="1610"/>
                        <a:pt x="1625" y="1610"/>
                      </a:cubicBezTo>
                      <a:cubicBezTo>
                        <a:pt x="1647" y="1632"/>
                        <a:pt x="1647" y="1632"/>
                        <a:pt x="1647" y="1632"/>
                      </a:cubicBezTo>
                      <a:cubicBezTo>
                        <a:pt x="1668" y="1627"/>
                        <a:pt x="1668" y="1627"/>
                        <a:pt x="1668" y="1627"/>
                      </a:cubicBezTo>
                      <a:cubicBezTo>
                        <a:pt x="1673" y="1635"/>
                        <a:pt x="1673" y="1635"/>
                        <a:pt x="1673" y="1635"/>
                      </a:cubicBezTo>
                      <a:cubicBezTo>
                        <a:pt x="1673" y="1635"/>
                        <a:pt x="1693" y="1634"/>
                        <a:pt x="1698" y="1642"/>
                      </a:cubicBezTo>
                      <a:cubicBezTo>
                        <a:pt x="1703" y="1650"/>
                        <a:pt x="1687" y="1657"/>
                        <a:pt x="1687" y="1657"/>
                      </a:cubicBezTo>
                      <a:cubicBezTo>
                        <a:pt x="1691" y="1667"/>
                        <a:pt x="1691" y="1667"/>
                        <a:pt x="1691" y="1667"/>
                      </a:cubicBezTo>
                      <a:cubicBezTo>
                        <a:pt x="1698" y="1671"/>
                        <a:pt x="1698" y="1671"/>
                        <a:pt x="1698" y="1671"/>
                      </a:cubicBezTo>
                      <a:cubicBezTo>
                        <a:pt x="1698" y="1684"/>
                        <a:pt x="1698" y="1684"/>
                        <a:pt x="1698" y="1684"/>
                      </a:cubicBezTo>
                      <a:cubicBezTo>
                        <a:pt x="1709" y="1685"/>
                        <a:pt x="1709" y="1685"/>
                        <a:pt x="1709" y="1685"/>
                      </a:cubicBezTo>
                      <a:cubicBezTo>
                        <a:pt x="1709" y="1685"/>
                        <a:pt x="1713" y="1690"/>
                        <a:pt x="1720" y="1697"/>
                      </a:cubicBezTo>
                      <a:cubicBezTo>
                        <a:pt x="1727" y="1704"/>
                        <a:pt x="1740" y="1701"/>
                        <a:pt x="1748" y="1702"/>
                      </a:cubicBezTo>
                      <a:cubicBezTo>
                        <a:pt x="1752" y="1702"/>
                        <a:pt x="1755" y="1704"/>
                        <a:pt x="1757" y="1705"/>
                      </a:cubicBezTo>
                      <a:cubicBezTo>
                        <a:pt x="1786" y="1686"/>
                        <a:pt x="1786" y="1686"/>
                        <a:pt x="1786" y="1686"/>
                      </a:cubicBezTo>
                      <a:cubicBezTo>
                        <a:pt x="1798" y="1694"/>
                        <a:pt x="1798" y="1694"/>
                        <a:pt x="1798" y="1694"/>
                      </a:cubicBezTo>
                      <a:cubicBezTo>
                        <a:pt x="1798" y="1694"/>
                        <a:pt x="1843" y="1694"/>
                        <a:pt x="1849" y="1705"/>
                      </a:cubicBezTo>
                      <a:cubicBezTo>
                        <a:pt x="1854" y="1717"/>
                        <a:pt x="1839" y="1739"/>
                        <a:pt x="1846" y="1750"/>
                      </a:cubicBezTo>
                      <a:cubicBezTo>
                        <a:pt x="1854" y="1761"/>
                        <a:pt x="1875" y="1776"/>
                        <a:pt x="1875" y="1776"/>
                      </a:cubicBezTo>
                      <a:cubicBezTo>
                        <a:pt x="1889" y="1774"/>
                        <a:pt x="1889" y="1774"/>
                        <a:pt x="1889" y="1774"/>
                      </a:cubicBezTo>
                      <a:cubicBezTo>
                        <a:pt x="1889" y="1762"/>
                        <a:pt x="1889" y="1762"/>
                        <a:pt x="1889" y="1762"/>
                      </a:cubicBezTo>
                      <a:cubicBezTo>
                        <a:pt x="1889" y="1762"/>
                        <a:pt x="1880" y="1730"/>
                        <a:pt x="1892" y="1713"/>
                      </a:cubicBezTo>
                      <a:cubicBezTo>
                        <a:pt x="1904" y="1697"/>
                        <a:pt x="1931" y="1699"/>
                        <a:pt x="1945" y="1696"/>
                      </a:cubicBezTo>
                      <a:cubicBezTo>
                        <a:pt x="1958" y="1693"/>
                        <a:pt x="2001" y="1684"/>
                        <a:pt x="2001" y="1674"/>
                      </a:cubicBezTo>
                      <a:cubicBezTo>
                        <a:pt x="2002" y="1664"/>
                        <a:pt x="2002" y="1634"/>
                        <a:pt x="2011" y="1632"/>
                      </a:cubicBezTo>
                      <a:cubicBezTo>
                        <a:pt x="2020" y="1630"/>
                        <a:pt x="2027" y="1664"/>
                        <a:pt x="2036" y="1660"/>
                      </a:cubicBezTo>
                      <a:cubicBezTo>
                        <a:pt x="2046" y="1657"/>
                        <a:pt x="2066" y="1626"/>
                        <a:pt x="2066" y="1626"/>
                      </a:cubicBezTo>
                      <a:cubicBezTo>
                        <a:pt x="2077" y="1636"/>
                        <a:pt x="2077" y="1636"/>
                        <a:pt x="2077" y="1636"/>
                      </a:cubicBezTo>
                      <a:cubicBezTo>
                        <a:pt x="2099" y="1629"/>
                        <a:pt x="2099" y="1629"/>
                        <a:pt x="2099" y="1629"/>
                      </a:cubicBezTo>
                      <a:cubicBezTo>
                        <a:pt x="2099" y="1629"/>
                        <a:pt x="2124" y="1636"/>
                        <a:pt x="2136" y="1629"/>
                      </a:cubicBezTo>
                      <a:cubicBezTo>
                        <a:pt x="2149" y="1622"/>
                        <a:pt x="2154" y="1619"/>
                        <a:pt x="2161" y="1614"/>
                      </a:cubicBezTo>
                      <a:cubicBezTo>
                        <a:pt x="2167" y="1609"/>
                        <a:pt x="2196" y="1584"/>
                        <a:pt x="2201" y="1574"/>
                      </a:cubicBezTo>
                      <a:cubicBezTo>
                        <a:pt x="2205" y="1564"/>
                        <a:pt x="2192" y="1544"/>
                        <a:pt x="2192" y="1544"/>
                      </a:cubicBezTo>
                      <a:cubicBezTo>
                        <a:pt x="2205" y="1544"/>
                        <a:pt x="2205" y="1544"/>
                        <a:pt x="2205" y="1544"/>
                      </a:cubicBezTo>
                      <a:cubicBezTo>
                        <a:pt x="2211" y="1524"/>
                        <a:pt x="2211" y="1524"/>
                        <a:pt x="2211" y="1524"/>
                      </a:cubicBezTo>
                      <a:cubicBezTo>
                        <a:pt x="2226" y="1525"/>
                        <a:pt x="2226" y="1525"/>
                        <a:pt x="2226" y="1525"/>
                      </a:cubicBezTo>
                      <a:cubicBezTo>
                        <a:pt x="2233" y="1500"/>
                        <a:pt x="2233" y="1500"/>
                        <a:pt x="2233" y="1500"/>
                      </a:cubicBezTo>
                      <a:cubicBezTo>
                        <a:pt x="2241" y="1500"/>
                        <a:pt x="2241" y="1500"/>
                        <a:pt x="2241" y="1500"/>
                      </a:cubicBezTo>
                      <a:cubicBezTo>
                        <a:pt x="2245" y="1473"/>
                        <a:pt x="2245" y="1473"/>
                        <a:pt x="2245" y="1473"/>
                      </a:cubicBezTo>
                      <a:cubicBezTo>
                        <a:pt x="2245" y="1473"/>
                        <a:pt x="2259" y="1478"/>
                        <a:pt x="2259" y="1456"/>
                      </a:cubicBezTo>
                      <a:cubicBezTo>
                        <a:pt x="2259" y="1434"/>
                        <a:pt x="2246" y="1437"/>
                        <a:pt x="2251" y="1429"/>
                      </a:cubicBezTo>
                      <a:cubicBezTo>
                        <a:pt x="2255" y="1420"/>
                        <a:pt x="2274" y="1423"/>
                        <a:pt x="2274" y="1405"/>
                      </a:cubicBezTo>
                      <a:cubicBezTo>
                        <a:pt x="2275" y="1388"/>
                        <a:pt x="2263" y="1388"/>
                        <a:pt x="2264" y="1381"/>
                      </a:cubicBezTo>
                      <a:cubicBezTo>
                        <a:pt x="2264" y="1373"/>
                        <a:pt x="2275" y="1370"/>
                        <a:pt x="2275" y="1370"/>
                      </a:cubicBezTo>
                      <a:cubicBezTo>
                        <a:pt x="2276" y="1344"/>
                        <a:pt x="2276" y="1344"/>
                        <a:pt x="2276" y="1344"/>
                      </a:cubicBezTo>
                      <a:cubicBezTo>
                        <a:pt x="2276" y="1344"/>
                        <a:pt x="2303" y="1336"/>
                        <a:pt x="2310" y="1320"/>
                      </a:cubicBezTo>
                      <a:cubicBezTo>
                        <a:pt x="2317" y="1304"/>
                        <a:pt x="2300" y="1303"/>
                        <a:pt x="2300" y="1303"/>
                      </a:cubicBezTo>
                      <a:cubicBezTo>
                        <a:pt x="2300" y="1303"/>
                        <a:pt x="2332" y="1298"/>
                        <a:pt x="2332" y="1289"/>
                      </a:cubicBezTo>
                      <a:cubicBezTo>
                        <a:pt x="2333" y="1280"/>
                        <a:pt x="2314" y="1275"/>
                        <a:pt x="2314" y="1275"/>
                      </a:cubicBezTo>
                      <a:cubicBezTo>
                        <a:pt x="2314" y="1275"/>
                        <a:pt x="2352" y="1241"/>
                        <a:pt x="2335" y="1231"/>
                      </a:cubicBezTo>
                      <a:cubicBezTo>
                        <a:pt x="2318" y="1222"/>
                        <a:pt x="2238" y="1244"/>
                        <a:pt x="2238" y="1244"/>
                      </a:cubicBezTo>
                      <a:cubicBezTo>
                        <a:pt x="2228" y="1233"/>
                        <a:pt x="2228" y="1233"/>
                        <a:pt x="2228" y="1233"/>
                      </a:cubicBezTo>
                      <a:cubicBezTo>
                        <a:pt x="2253" y="1232"/>
                        <a:pt x="2253" y="1232"/>
                        <a:pt x="2253" y="1232"/>
                      </a:cubicBezTo>
                      <a:cubicBezTo>
                        <a:pt x="2253" y="1232"/>
                        <a:pt x="2253" y="1217"/>
                        <a:pt x="2263" y="1213"/>
                      </a:cubicBezTo>
                      <a:cubicBezTo>
                        <a:pt x="2273" y="1209"/>
                        <a:pt x="2292" y="1207"/>
                        <a:pt x="2292" y="1207"/>
                      </a:cubicBezTo>
                      <a:cubicBezTo>
                        <a:pt x="2292" y="1207"/>
                        <a:pt x="2279" y="1183"/>
                        <a:pt x="2275" y="1182"/>
                      </a:cubicBezTo>
                      <a:cubicBezTo>
                        <a:pt x="2271" y="1181"/>
                        <a:pt x="2248" y="1175"/>
                        <a:pt x="2248" y="1175"/>
                      </a:cubicBezTo>
                      <a:cubicBezTo>
                        <a:pt x="2240" y="1164"/>
                        <a:pt x="2240" y="1164"/>
                        <a:pt x="2240" y="1164"/>
                      </a:cubicBezTo>
                      <a:cubicBezTo>
                        <a:pt x="2231" y="1165"/>
                        <a:pt x="2231" y="1165"/>
                        <a:pt x="2231" y="1165"/>
                      </a:cubicBezTo>
                      <a:cubicBezTo>
                        <a:pt x="2231" y="1165"/>
                        <a:pt x="2222" y="1153"/>
                        <a:pt x="2215" y="1152"/>
                      </a:cubicBezTo>
                      <a:cubicBezTo>
                        <a:pt x="2208" y="1151"/>
                        <a:pt x="2190" y="1157"/>
                        <a:pt x="2190" y="1157"/>
                      </a:cubicBezTo>
                      <a:cubicBezTo>
                        <a:pt x="2167" y="1126"/>
                        <a:pt x="2167" y="1126"/>
                        <a:pt x="2167" y="1126"/>
                      </a:cubicBezTo>
                      <a:cubicBezTo>
                        <a:pt x="2167" y="1126"/>
                        <a:pt x="2188" y="1147"/>
                        <a:pt x="2194" y="1145"/>
                      </a:cubicBezTo>
                      <a:cubicBezTo>
                        <a:pt x="2200" y="1143"/>
                        <a:pt x="2207" y="1139"/>
                        <a:pt x="2207" y="1139"/>
                      </a:cubicBezTo>
                      <a:cubicBezTo>
                        <a:pt x="2226" y="1144"/>
                        <a:pt x="2226" y="1144"/>
                        <a:pt x="2226" y="1144"/>
                      </a:cubicBezTo>
                      <a:cubicBezTo>
                        <a:pt x="2236" y="1155"/>
                        <a:pt x="2236" y="1155"/>
                        <a:pt x="2236" y="1155"/>
                      </a:cubicBezTo>
                      <a:cubicBezTo>
                        <a:pt x="2245" y="1151"/>
                        <a:pt x="2245" y="1151"/>
                        <a:pt x="2245" y="1151"/>
                      </a:cubicBezTo>
                      <a:cubicBezTo>
                        <a:pt x="2276" y="1161"/>
                        <a:pt x="2276" y="1161"/>
                        <a:pt x="2276" y="1161"/>
                      </a:cubicBezTo>
                      <a:cubicBezTo>
                        <a:pt x="2263" y="1144"/>
                        <a:pt x="2263" y="1144"/>
                        <a:pt x="2263" y="1144"/>
                      </a:cubicBezTo>
                      <a:cubicBezTo>
                        <a:pt x="2252" y="1142"/>
                        <a:pt x="2252" y="1142"/>
                        <a:pt x="2252" y="1142"/>
                      </a:cubicBezTo>
                      <a:cubicBezTo>
                        <a:pt x="2252" y="1142"/>
                        <a:pt x="2251" y="1120"/>
                        <a:pt x="2243" y="1119"/>
                      </a:cubicBezTo>
                      <a:cubicBezTo>
                        <a:pt x="2235" y="1118"/>
                        <a:pt x="2223" y="1115"/>
                        <a:pt x="2218" y="1111"/>
                      </a:cubicBezTo>
                      <a:cubicBezTo>
                        <a:pt x="2213" y="1107"/>
                        <a:pt x="2211" y="1088"/>
                        <a:pt x="2211" y="1088"/>
                      </a:cubicBezTo>
                      <a:cubicBezTo>
                        <a:pt x="2157" y="1022"/>
                        <a:pt x="2157" y="1022"/>
                        <a:pt x="2157" y="1022"/>
                      </a:cubicBezTo>
                      <a:cubicBezTo>
                        <a:pt x="2135" y="1016"/>
                        <a:pt x="2135" y="1016"/>
                        <a:pt x="2135" y="1016"/>
                      </a:cubicBezTo>
                      <a:cubicBezTo>
                        <a:pt x="2112" y="998"/>
                        <a:pt x="2112" y="998"/>
                        <a:pt x="2112" y="998"/>
                      </a:cubicBezTo>
                      <a:cubicBezTo>
                        <a:pt x="2097" y="1000"/>
                        <a:pt x="2097" y="1000"/>
                        <a:pt x="2097" y="1000"/>
                      </a:cubicBezTo>
                      <a:cubicBezTo>
                        <a:pt x="2097" y="1000"/>
                        <a:pt x="2084" y="975"/>
                        <a:pt x="2090" y="971"/>
                      </a:cubicBezTo>
                      <a:cubicBezTo>
                        <a:pt x="2096" y="967"/>
                        <a:pt x="2114" y="955"/>
                        <a:pt x="2114" y="946"/>
                      </a:cubicBezTo>
                      <a:cubicBezTo>
                        <a:pt x="2114" y="937"/>
                        <a:pt x="2107" y="919"/>
                        <a:pt x="2107" y="919"/>
                      </a:cubicBezTo>
                      <a:cubicBezTo>
                        <a:pt x="2107" y="919"/>
                        <a:pt x="2124" y="936"/>
                        <a:pt x="2132" y="930"/>
                      </a:cubicBezTo>
                      <a:cubicBezTo>
                        <a:pt x="2140" y="924"/>
                        <a:pt x="2131" y="897"/>
                        <a:pt x="2131" y="897"/>
                      </a:cubicBezTo>
                      <a:cubicBezTo>
                        <a:pt x="2146" y="898"/>
                        <a:pt x="2146" y="898"/>
                        <a:pt x="2146" y="898"/>
                      </a:cubicBezTo>
                      <a:cubicBezTo>
                        <a:pt x="2171" y="879"/>
                        <a:pt x="2171" y="879"/>
                        <a:pt x="2171" y="879"/>
                      </a:cubicBezTo>
                      <a:cubicBezTo>
                        <a:pt x="2171" y="879"/>
                        <a:pt x="2191" y="885"/>
                        <a:pt x="2196" y="884"/>
                      </a:cubicBezTo>
                      <a:cubicBezTo>
                        <a:pt x="2201" y="883"/>
                        <a:pt x="2192" y="869"/>
                        <a:pt x="2192" y="869"/>
                      </a:cubicBezTo>
                      <a:cubicBezTo>
                        <a:pt x="2196" y="853"/>
                        <a:pt x="2196" y="853"/>
                        <a:pt x="2196" y="853"/>
                      </a:cubicBezTo>
                      <a:cubicBezTo>
                        <a:pt x="2174" y="853"/>
                        <a:pt x="2174" y="853"/>
                        <a:pt x="2174" y="853"/>
                      </a:cubicBezTo>
                      <a:cubicBezTo>
                        <a:pt x="2166" y="846"/>
                        <a:pt x="2166" y="846"/>
                        <a:pt x="2166" y="846"/>
                      </a:cubicBezTo>
                      <a:cubicBezTo>
                        <a:pt x="2161" y="854"/>
                        <a:pt x="2161" y="854"/>
                        <a:pt x="2161" y="854"/>
                      </a:cubicBezTo>
                      <a:cubicBezTo>
                        <a:pt x="2140" y="851"/>
                        <a:pt x="2140" y="851"/>
                        <a:pt x="2140" y="851"/>
                      </a:cubicBezTo>
                      <a:cubicBezTo>
                        <a:pt x="2140" y="851"/>
                        <a:pt x="2124" y="833"/>
                        <a:pt x="2111" y="833"/>
                      </a:cubicBezTo>
                      <a:cubicBezTo>
                        <a:pt x="2098" y="833"/>
                        <a:pt x="2080" y="856"/>
                        <a:pt x="2079" y="861"/>
                      </a:cubicBezTo>
                      <a:cubicBezTo>
                        <a:pt x="2078" y="866"/>
                        <a:pt x="2074" y="875"/>
                        <a:pt x="2064" y="873"/>
                      </a:cubicBezTo>
                      <a:cubicBezTo>
                        <a:pt x="2054" y="871"/>
                        <a:pt x="2032" y="865"/>
                        <a:pt x="2030" y="851"/>
                      </a:cubicBezTo>
                      <a:cubicBezTo>
                        <a:pt x="2028" y="837"/>
                        <a:pt x="2020" y="820"/>
                        <a:pt x="2014" y="816"/>
                      </a:cubicBezTo>
                      <a:cubicBezTo>
                        <a:pt x="2008" y="812"/>
                        <a:pt x="2004" y="819"/>
                        <a:pt x="2004" y="819"/>
                      </a:cubicBezTo>
                      <a:cubicBezTo>
                        <a:pt x="2004" y="828"/>
                        <a:pt x="2004" y="828"/>
                        <a:pt x="2004" y="828"/>
                      </a:cubicBezTo>
                      <a:cubicBezTo>
                        <a:pt x="1996" y="816"/>
                        <a:pt x="1996" y="816"/>
                        <a:pt x="1996" y="816"/>
                      </a:cubicBezTo>
                      <a:cubicBezTo>
                        <a:pt x="1996" y="816"/>
                        <a:pt x="1968" y="819"/>
                        <a:pt x="1959" y="810"/>
                      </a:cubicBezTo>
                      <a:cubicBezTo>
                        <a:pt x="1950" y="801"/>
                        <a:pt x="1939" y="782"/>
                        <a:pt x="1942" y="776"/>
                      </a:cubicBezTo>
                      <a:cubicBezTo>
                        <a:pt x="1945" y="770"/>
                        <a:pt x="1944" y="760"/>
                        <a:pt x="1944" y="760"/>
                      </a:cubicBezTo>
                      <a:cubicBezTo>
                        <a:pt x="1955" y="759"/>
                        <a:pt x="1955" y="759"/>
                        <a:pt x="1955" y="759"/>
                      </a:cubicBezTo>
                      <a:cubicBezTo>
                        <a:pt x="1955" y="759"/>
                        <a:pt x="1961" y="768"/>
                        <a:pt x="1965" y="767"/>
                      </a:cubicBezTo>
                      <a:cubicBezTo>
                        <a:pt x="1969" y="766"/>
                        <a:pt x="1975" y="758"/>
                        <a:pt x="1975" y="758"/>
                      </a:cubicBezTo>
                      <a:cubicBezTo>
                        <a:pt x="1975" y="758"/>
                        <a:pt x="1988" y="766"/>
                        <a:pt x="1997" y="758"/>
                      </a:cubicBezTo>
                      <a:cubicBezTo>
                        <a:pt x="2006" y="750"/>
                        <a:pt x="1998" y="742"/>
                        <a:pt x="1998" y="742"/>
                      </a:cubicBezTo>
                      <a:cubicBezTo>
                        <a:pt x="1998" y="742"/>
                        <a:pt x="1997" y="718"/>
                        <a:pt x="2003" y="714"/>
                      </a:cubicBezTo>
                      <a:cubicBezTo>
                        <a:pt x="2009" y="710"/>
                        <a:pt x="2028" y="718"/>
                        <a:pt x="2032" y="707"/>
                      </a:cubicBezTo>
                      <a:cubicBezTo>
                        <a:pt x="2036" y="696"/>
                        <a:pt x="2037" y="683"/>
                        <a:pt x="2037" y="683"/>
                      </a:cubicBezTo>
                      <a:cubicBezTo>
                        <a:pt x="2049" y="676"/>
                        <a:pt x="2049" y="676"/>
                        <a:pt x="2049" y="676"/>
                      </a:cubicBezTo>
                      <a:cubicBezTo>
                        <a:pt x="2043" y="668"/>
                        <a:pt x="2043" y="668"/>
                        <a:pt x="2043" y="668"/>
                      </a:cubicBezTo>
                      <a:cubicBezTo>
                        <a:pt x="2068" y="675"/>
                        <a:pt x="2068" y="675"/>
                        <a:pt x="2068" y="675"/>
                      </a:cubicBezTo>
                      <a:cubicBezTo>
                        <a:pt x="2079" y="665"/>
                        <a:pt x="2079" y="665"/>
                        <a:pt x="2079" y="665"/>
                      </a:cubicBezTo>
                      <a:cubicBezTo>
                        <a:pt x="2079" y="665"/>
                        <a:pt x="2110" y="688"/>
                        <a:pt x="2108" y="702"/>
                      </a:cubicBezTo>
                      <a:cubicBezTo>
                        <a:pt x="2106" y="716"/>
                        <a:pt x="2088" y="719"/>
                        <a:pt x="2087" y="728"/>
                      </a:cubicBezTo>
                      <a:cubicBezTo>
                        <a:pt x="2086" y="737"/>
                        <a:pt x="2091" y="752"/>
                        <a:pt x="2098" y="752"/>
                      </a:cubicBezTo>
                      <a:cubicBezTo>
                        <a:pt x="2105" y="752"/>
                        <a:pt x="2114" y="749"/>
                        <a:pt x="2114" y="749"/>
                      </a:cubicBezTo>
                      <a:cubicBezTo>
                        <a:pt x="2109" y="767"/>
                        <a:pt x="2109" y="767"/>
                        <a:pt x="2109" y="767"/>
                      </a:cubicBezTo>
                      <a:cubicBezTo>
                        <a:pt x="2109" y="767"/>
                        <a:pt x="2090" y="784"/>
                        <a:pt x="2099" y="786"/>
                      </a:cubicBezTo>
                      <a:cubicBezTo>
                        <a:pt x="2108" y="788"/>
                        <a:pt x="2122" y="774"/>
                        <a:pt x="2122" y="774"/>
                      </a:cubicBezTo>
                      <a:cubicBezTo>
                        <a:pt x="2122" y="774"/>
                        <a:pt x="2126" y="775"/>
                        <a:pt x="2131" y="770"/>
                      </a:cubicBezTo>
                      <a:cubicBezTo>
                        <a:pt x="2136" y="765"/>
                        <a:pt x="2135" y="750"/>
                        <a:pt x="2135" y="750"/>
                      </a:cubicBezTo>
                      <a:cubicBezTo>
                        <a:pt x="2135" y="750"/>
                        <a:pt x="2176" y="729"/>
                        <a:pt x="2180" y="726"/>
                      </a:cubicBezTo>
                      <a:cubicBezTo>
                        <a:pt x="2184" y="723"/>
                        <a:pt x="2205" y="725"/>
                        <a:pt x="2205" y="725"/>
                      </a:cubicBezTo>
                      <a:cubicBezTo>
                        <a:pt x="2212" y="714"/>
                        <a:pt x="2212" y="714"/>
                        <a:pt x="2212" y="714"/>
                      </a:cubicBezTo>
                      <a:cubicBezTo>
                        <a:pt x="2210" y="712"/>
                        <a:pt x="2208" y="706"/>
                        <a:pt x="2218" y="698"/>
                      </a:cubicBezTo>
                      <a:cubicBezTo>
                        <a:pt x="2230" y="688"/>
                        <a:pt x="2237" y="687"/>
                        <a:pt x="2252" y="675"/>
                      </a:cubicBezTo>
                      <a:cubicBezTo>
                        <a:pt x="2267" y="663"/>
                        <a:pt x="2262" y="625"/>
                        <a:pt x="2266" y="623"/>
                      </a:cubicBezTo>
                      <a:cubicBezTo>
                        <a:pt x="2270" y="621"/>
                        <a:pt x="2285" y="632"/>
                        <a:pt x="2292" y="637"/>
                      </a:cubicBezTo>
                      <a:cubicBezTo>
                        <a:pt x="2299" y="642"/>
                        <a:pt x="2339" y="641"/>
                        <a:pt x="2339" y="641"/>
                      </a:cubicBezTo>
                      <a:cubicBezTo>
                        <a:pt x="2340" y="631"/>
                        <a:pt x="2340" y="631"/>
                        <a:pt x="2340" y="631"/>
                      </a:cubicBezTo>
                      <a:cubicBezTo>
                        <a:pt x="2340" y="631"/>
                        <a:pt x="2312" y="618"/>
                        <a:pt x="2318" y="610"/>
                      </a:cubicBezTo>
                      <a:cubicBezTo>
                        <a:pt x="2324" y="602"/>
                        <a:pt x="2348" y="618"/>
                        <a:pt x="2358" y="609"/>
                      </a:cubicBezTo>
                      <a:cubicBezTo>
                        <a:pt x="2368" y="600"/>
                        <a:pt x="2358" y="588"/>
                        <a:pt x="2358" y="588"/>
                      </a:cubicBezTo>
                      <a:cubicBezTo>
                        <a:pt x="2358" y="588"/>
                        <a:pt x="2374" y="592"/>
                        <a:pt x="2376" y="587"/>
                      </a:cubicBezTo>
                      <a:cubicBezTo>
                        <a:pt x="2378" y="582"/>
                        <a:pt x="2365" y="560"/>
                        <a:pt x="2365" y="560"/>
                      </a:cubicBezTo>
                      <a:cubicBezTo>
                        <a:pt x="2387" y="560"/>
                        <a:pt x="2387" y="560"/>
                        <a:pt x="2387" y="560"/>
                      </a:cubicBezTo>
                      <a:cubicBezTo>
                        <a:pt x="2397" y="577"/>
                        <a:pt x="2397" y="577"/>
                        <a:pt x="2397" y="577"/>
                      </a:cubicBezTo>
                      <a:cubicBezTo>
                        <a:pt x="2404" y="559"/>
                        <a:pt x="2404" y="559"/>
                        <a:pt x="2404" y="559"/>
                      </a:cubicBezTo>
                      <a:cubicBezTo>
                        <a:pt x="2421" y="563"/>
                        <a:pt x="2421" y="563"/>
                        <a:pt x="2421" y="563"/>
                      </a:cubicBezTo>
                      <a:cubicBezTo>
                        <a:pt x="2420" y="540"/>
                        <a:pt x="2420" y="540"/>
                        <a:pt x="2420" y="540"/>
                      </a:cubicBezTo>
                      <a:cubicBezTo>
                        <a:pt x="2420" y="540"/>
                        <a:pt x="2409" y="529"/>
                        <a:pt x="2407" y="523"/>
                      </a:cubicBezTo>
                      <a:cubicBezTo>
                        <a:pt x="2405" y="517"/>
                        <a:pt x="2401" y="498"/>
                        <a:pt x="2387" y="485"/>
                      </a:cubicBezTo>
                      <a:cubicBezTo>
                        <a:pt x="2373" y="472"/>
                        <a:pt x="2358" y="471"/>
                        <a:pt x="2361" y="461"/>
                      </a:cubicBezTo>
                      <a:cubicBezTo>
                        <a:pt x="2364" y="451"/>
                        <a:pt x="2377" y="460"/>
                        <a:pt x="2379" y="455"/>
                      </a:cubicBezTo>
                      <a:cubicBezTo>
                        <a:pt x="2381" y="450"/>
                        <a:pt x="2369" y="444"/>
                        <a:pt x="2380" y="439"/>
                      </a:cubicBezTo>
                      <a:cubicBezTo>
                        <a:pt x="2391" y="434"/>
                        <a:pt x="2427" y="457"/>
                        <a:pt x="2434" y="451"/>
                      </a:cubicBezTo>
                      <a:cubicBezTo>
                        <a:pt x="2441" y="445"/>
                        <a:pt x="2439" y="444"/>
                        <a:pt x="2434" y="432"/>
                      </a:cubicBezTo>
                      <a:cubicBezTo>
                        <a:pt x="2429" y="420"/>
                        <a:pt x="2441" y="416"/>
                        <a:pt x="2441" y="416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2" name="Cambodia">
                  <a:extLst>
                    <a:ext uri="{FF2B5EF4-FFF2-40B4-BE49-F238E27FC236}">
                      <a16:creationId xmlns:a16="http://schemas.microsoft.com/office/drawing/2014/main" id="{EB69AA95-7675-0EB4-BCAD-485352B56D9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315418" y="3644018"/>
                  <a:ext cx="141312" cy="125355"/>
                </a:xfrm>
                <a:custGeom>
                  <a:avLst/>
                  <a:gdLst>
                    <a:gd name="T0" fmla="*/ 214 w 252"/>
                    <a:gd name="T1" fmla="*/ 0 h 224"/>
                    <a:gd name="T2" fmla="*/ 206 w 252"/>
                    <a:gd name="T3" fmla="*/ 9 h 224"/>
                    <a:gd name="T4" fmla="*/ 184 w 252"/>
                    <a:gd name="T5" fmla="*/ 0 h 224"/>
                    <a:gd name="T6" fmla="*/ 175 w 252"/>
                    <a:gd name="T7" fmla="*/ 8 h 224"/>
                    <a:gd name="T8" fmla="*/ 164 w 252"/>
                    <a:gd name="T9" fmla="*/ 16 h 224"/>
                    <a:gd name="T10" fmla="*/ 168 w 252"/>
                    <a:gd name="T11" fmla="*/ 36 h 224"/>
                    <a:gd name="T12" fmla="*/ 151 w 252"/>
                    <a:gd name="T13" fmla="*/ 24 h 224"/>
                    <a:gd name="T14" fmla="*/ 131 w 252"/>
                    <a:gd name="T15" fmla="*/ 22 h 224"/>
                    <a:gd name="T16" fmla="*/ 128 w 252"/>
                    <a:gd name="T17" fmla="*/ 13 h 224"/>
                    <a:gd name="T18" fmla="*/ 123 w 252"/>
                    <a:gd name="T19" fmla="*/ 16 h 224"/>
                    <a:gd name="T20" fmla="*/ 101 w 252"/>
                    <a:gd name="T21" fmla="*/ 8 h 224"/>
                    <a:gd name="T22" fmla="*/ 74 w 252"/>
                    <a:gd name="T23" fmla="*/ 15 h 224"/>
                    <a:gd name="T24" fmla="*/ 46 w 252"/>
                    <a:gd name="T25" fmla="*/ 10 h 224"/>
                    <a:gd name="T26" fmla="*/ 19 w 252"/>
                    <a:gd name="T27" fmla="*/ 34 h 224"/>
                    <a:gd name="T28" fmla="*/ 0 w 252"/>
                    <a:gd name="T29" fmla="*/ 54 h 224"/>
                    <a:gd name="T30" fmla="*/ 2 w 252"/>
                    <a:gd name="T31" fmla="*/ 79 h 224"/>
                    <a:gd name="T32" fmla="*/ 9 w 252"/>
                    <a:gd name="T33" fmla="*/ 85 h 224"/>
                    <a:gd name="T34" fmla="*/ 9 w 252"/>
                    <a:gd name="T35" fmla="*/ 104 h 224"/>
                    <a:gd name="T36" fmla="*/ 20 w 252"/>
                    <a:gd name="T37" fmla="*/ 114 h 224"/>
                    <a:gd name="T38" fmla="*/ 17 w 252"/>
                    <a:gd name="T39" fmla="*/ 133 h 224"/>
                    <a:gd name="T40" fmla="*/ 26 w 252"/>
                    <a:gd name="T41" fmla="*/ 139 h 224"/>
                    <a:gd name="T42" fmla="*/ 27 w 252"/>
                    <a:gd name="T43" fmla="*/ 168 h 224"/>
                    <a:gd name="T44" fmla="*/ 46 w 252"/>
                    <a:gd name="T45" fmla="*/ 191 h 224"/>
                    <a:gd name="T46" fmla="*/ 59 w 252"/>
                    <a:gd name="T47" fmla="*/ 178 h 224"/>
                    <a:gd name="T48" fmla="*/ 68 w 252"/>
                    <a:gd name="T49" fmla="*/ 204 h 224"/>
                    <a:gd name="T50" fmla="*/ 91 w 252"/>
                    <a:gd name="T51" fmla="*/ 208 h 224"/>
                    <a:gd name="T52" fmla="*/ 97 w 252"/>
                    <a:gd name="T53" fmla="*/ 223 h 224"/>
                    <a:gd name="T54" fmla="*/ 110 w 252"/>
                    <a:gd name="T55" fmla="*/ 224 h 224"/>
                    <a:gd name="T56" fmla="*/ 139 w 252"/>
                    <a:gd name="T57" fmla="*/ 213 h 224"/>
                    <a:gd name="T58" fmla="*/ 135 w 252"/>
                    <a:gd name="T59" fmla="*/ 197 h 224"/>
                    <a:gd name="T60" fmla="*/ 153 w 252"/>
                    <a:gd name="T61" fmla="*/ 197 h 224"/>
                    <a:gd name="T62" fmla="*/ 169 w 252"/>
                    <a:gd name="T63" fmla="*/ 190 h 224"/>
                    <a:gd name="T64" fmla="*/ 193 w 252"/>
                    <a:gd name="T65" fmla="*/ 205 h 224"/>
                    <a:gd name="T66" fmla="*/ 183 w 252"/>
                    <a:gd name="T67" fmla="*/ 186 h 224"/>
                    <a:gd name="T68" fmla="*/ 175 w 252"/>
                    <a:gd name="T69" fmla="*/ 154 h 224"/>
                    <a:gd name="T70" fmla="*/ 204 w 252"/>
                    <a:gd name="T71" fmla="*/ 152 h 224"/>
                    <a:gd name="T72" fmla="*/ 201 w 252"/>
                    <a:gd name="T73" fmla="*/ 138 h 224"/>
                    <a:gd name="T74" fmla="*/ 222 w 252"/>
                    <a:gd name="T75" fmla="*/ 137 h 224"/>
                    <a:gd name="T76" fmla="*/ 228 w 252"/>
                    <a:gd name="T77" fmla="*/ 123 h 224"/>
                    <a:gd name="T78" fmla="*/ 245 w 252"/>
                    <a:gd name="T79" fmla="*/ 125 h 224"/>
                    <a:gd name="T80" fmla="*/ 248 w 252"/>
                    <a:gd name="T81" fmla="*/ 111 h 224"/>
                    <a:gd name="T82" fmla="*/ 237 w 252"/>
                    <a:gd name="T83" fmla="*/ 72 h 224"/>
                    <a:gd name="T84" fmla="*/ 252 w 252"/>
                    <a:gd name="T85" fmla="*/ 56 h 224"/>
                    <a:gd name="T86" fmla="*/ 231 w 252"/>
                    <a:gd name="T87" fmla="*/ 32 h 224"/>
                    <a:gd name="T88" fmla="*/ 231 w 252"/>
                    <a:gd name="T89" fmla="*/ 4 h 224"/>
                    <a:gd name="T90" fmla="*/ 214 w 252"/>
                    <a:gd name="T91" fmla="*/ 0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52" h="224">
                      <a:moveTo>
                        <a:pt x="214" y="0"/>
                      </a:moveTo>
                      <a:cubicBezTo>
                        <a:pt x="206" y="9"/>
                        <a:pt x="206" y="9"/>
                        <a:pt x="206" y="9"/>
                      </a:cubicBezTo>
                      <a:cubicBezTo>
                        <a:pt x="184" y="0"/>
                        <a:pt x="184" y="0"/>
                        <a:pt x="184" y="0"/>
                      </a:cubicBezTo>
                      <a:cubicBezTo>
                        <a:pt x="175" y="8"/>
                        <a:pt x="175" y="8"/>
                        <a:pt x="175" y="8"/>
                      </a:cubicBezTo>
                      <a:cubicBezTo>
                        <a:pt x="164" y="16"/>
                        <a:pt x="164" y="16"/>
                        <a:pt x="164" y="16"/>
                      </a:cubicBezTo>
                      <a:cubicBezTo>
                        <a:pt x="164" y="16"/>
                        <a:pt x="176" y="28"/>
                        <a:pt x="168" y="36"/>
                      </a:cubicBezTo>
                      <a:cubicBezTo>
                        <a:pt x="160" y="44"/>
                        <a:pt x="151" y="24"/>
                        <a:pt x="151" y="24"/>
                      </a:cubicBezTo>
                      <a:cubicBezTo>
                        <a:pt x="151" y="24"/>
                        <a:pt x="135" y="23"/>
                        <a:pt x="131" y="22"/>
                      </a:cubicBezTo>
                      <a:cubicBezTo>
                        <a:pt x="128" y="21"/>
                        <a:pt x="128" y="16"/>
                        <a:pt x="128" y="13"/>
                      </a:cubicBezTo>
                      <a:cubicBezTo>
                        <a:pt x="125" y="15"/>
                        <a:pt x="123" y="16"/>
                        <a:pt x="123" y="16"/>
                      </a:cubicBezTo>
                      <a:cubicBezTo>
                        <a:pt x="123" y="16"/>
                        <a:pt x="106" y="7"/>
                        <a:pt x="101" y="8"/>
                      </a:cubicBezTo>
                      <a:cubicBezTo>
                        <a:pt x="96" y="9"/>
                        <a:pt x="74" y="15"/>
                        <a:pt x="74" y="15"/>
                      </a:cubicBezTo>
                      <a:cubicBezTo>
                        <a:pt x="74" y="15"/>
                        <a:pt x="73" y="5"/>
                        <a:pt x="46" y="10"/>
                      </a:cubicBezTo>
                      <a:cubicBezTo>
                        <a:pt x="19" y="15"/>
                        <a:pt x="19" y="34"/>
                        <a:pt x="19" y="34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2" y="79"/>
                        <a:pt x="2" y="79"/>
                        <a:pt x="2" y="79"/>
                      </a:cubicBezTo>
                      <a:cubicBezTo>
                        <a:pt x="9" y="85"/>
                        <a:pt x="9" y="85"/>
                        <a:pt x="9" y="85"/>
                      </a:cubicBezTo>
                      <a:cubicBezTo>
                        <a:pt x="9" y="104"/>
                        <a:pt x="9" y="104"/>
                        <a:pt x="9" y="104"/>
                      </a:cubicBezTo>
                      <a:cubicBezTo>
                        <a:pt x="20" y="114"/>
                        <a:pt x="20" y="114"/>
                        <a:pt x="20" y="114"/>
                      </a:cubicBezTo>
                      <a:cubicBezTo>
                        <a:pt x="17" y="133"/>
                        <a:pt x="17" y="133"/>
                        <a:pt x="17" y="133"/>
                      </a:cubicBezTo>
                      <a:cubicBezTo>
                        <a:pt x="20" y="134"/>
                        <a:pt x="23" y="136"/>
                        <a:pt x="26" y="139"/>
                      </a:cubicBezTo>
                      <a:cubicBezTo>
                        <a:pt x="41" y="156"/>
                        <a:pt x="27" y="168"/>
                        <a:pt x="27" y="168"/>
                      </a:cubicBezTo>
                      <a:cubicBezTo>
                        <a:pt x="27" y="168"/>
                        <a:pt x="36" y="190"/>
                        <a:pt x="46" y="191"/>
                      </a:cubicBezTo>
                      <a:cubicBezTo>
                        <a:pt x="56" y="191"/>
                        <a:pt x="59" y="178"/>
                        <a:pt x="59" y="178"/>
                      </a:cubicBezTo>
                      <a:cubicBezTo>
                        <a:pt x="59" y="178"/>
                        <a:pt x="58" y="202"/>
                        <a:pt x="68" y="204"/>
                      </a:cubicBezTo>
                      <a:cubicBezTo>
                        <a:pt x="79" y="206"/>
                        <a:pt x="89" y="198"/>
                        <a:pt x="91" y="208"/>
                      </a:cubicBezTo>
                      <a:cubicBezTo>
                        <a:pt x="92" y="212"/>
                        <a:pt x="95" y="218"/>
                        <a:pt x="97" y="223"/>
                      </a:cubicBezTo>
                      <a:cubicBezTo>
                        <a:pt x="110" y="224"/>
                        <a:pt x="110" y="224"/>
                        <a:pt x="110" y="224"/>
                      </a:cubicBezTo>
                      <a:cubicBezTo>
                        <a:pt x="112" y="219"/>
                        <a:pt x="124" y="214"/>
                        <a:pt x="139" y="213"/>
                      </a:cubicBezTo>
                      <a:cubicBezTo>
                        <a:pt x="159" y="211"/>
                        <a:pt x="135" y="197"/>
                        <a:pt x="135" y="197"/>
                      </a:cubicBezTo>
                      <a:cubicBezTo>
                        <a:pt x="135" y="197"/>
                        <a:pt x="149" y="197"/>
                        <a:pt x="153" y="197"/>
                      </a:cubicBezTo>
                      <a:cubicBezTo>
                        <a:pt x="157" y="197"/>
                        <a:pt x="159" y="190"/>
                        <a:pt x="169" y="190"/>
                      </a:cubicBezTo>
                      <a:cubicBezTo>
                        <a:pt x="179" y="190"/>
                        <a:pt x="186" y="206"/>
                        <a:pt x="193" y="205"/>
                      </a:cubicBezTo>
                      <a:cubicBezTo>
                        <a:pt x="200" y="204"/>
                        <a:pt x="193" y="194"/>
                        <a:pt x="183" y="186"/>
                      </a:cubicBezTo>
                      <a:cubicBezTo>
                        <a:pt x="173" y="178"/>
                        <a:pt x="173" y="160"/>
                        <a:pt x="175" y="154"/>
                      </a:cubicBezTo>
                      <a:cubicBezTo>
                        <a:pt x="177" y="148"/>
                        <a:pt x="204" y="152"/>
                        <a:pt x="204" y="152"/>
                      </a:cubicBezTo>
                      <a:cubicBezTo>
                        <a:pt x="201" y="138"/>
                        <a:pt x="201" y="138"/>
                        <a:pt x="201" y="138"/>
                      </a:cubicBezTo>
                      <a:cubicBezTo>
                        <a:pt x="222" y="137"/>
                        <a:pt x="222" y="137"/>
                        <a:pt x="222" y="137"/>
                      </a:cubicBezTo>
                      <a:cubicBezTo>
                        <a:pt x="222" y="137"/>
                        <a:pt x="223" y="126"/>
                        <a:pt x="228" y="123"/>
                      </a:cubicBezTo>
                      <a:cubicBezTo>
                        <a:pt x="233" y="120"/>
                        <a:pt x="245" y="125"/>
                        <a:pt x="245" y="125"/>
                      </a:cubicBezTo>
                      <a:cubicBezTo>
                        <a:pt x="248" y="111"/>
                        <a:pt x="248" y="111"/>
                        <a:pt x="248" y="111"/>
                      </a:cubicBezTo>
                      <a:cubicBezTo>
                        <a:pt x="248" y="111"/>
                        <a:pt x="238" y="75"/>
                        <a:pt x="237" y="72"/>
                      </a:cubicBezTo>
                      <a:cubicBezTo>
                        <a:pt x="236" y="69"/>
                        <a:pt x="252" y="69"/>
                        <a:pt x="252" y="56"/>
                      </a:cubicBezTo>
                      <a:cubicBezTo>
                        <a:pt x="252" y="43"/>
                        <a:pt x="231" y="32"/>
                        <a:pt x="231" y="32"/>
                      </a:cubicBezTo>
                      <a:cubicBezTo>
                        <a:pt x="231" y="4"/>
                        <a:pt x="231" y="4"/>
                        <a:pt x="231" y="4"/>
                      </a:cubicBezTo>
                      <a:lnTo>
                        <a:pt x="214" y="0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3" name="Bhutan">
                  <a:extLst>
                    <a:ext uri="{FF2B5EF4-FFF2-40B4-BE49-F238E27FC236}">
                      <a16:creationId xmlns:a16="http://schemas.microsoft.com/office/drawing/2014/main" id="{D1AA85E1-6A5E-E36F-AEA3-48E8332B472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97832" y="3228285"/>
                  <a:ext cx="98442" cy="52364"/>
                </a:xfrm>
                <a:custGeom>
                  <a:avLst/>
                  <a:gdLst>
                    <a:gd name="T0" fmla="*/ 66 w 176"/>
                    <a:gd name="T1" fmla="*/ 92 h 93"/>
                    <a:gd name="T2" fmla="*/ 88 w 176"/>
                    <a:gd name="T3" fmla="*/ 84 h 93"/>
                    <a:gd name="T4" fmla="*/ 113 w 176"/>
                    <a:gd name="T5" fmla="*/ 90 h 93"/>
                    <a:gd name="T6" fmla="*/ 139 w 176"/>
                    <a:gd name="T7" fmla="*/ 86 h 93"/>
                    <a:gd name="T8" fmla="*/ 162 w 176"/>
                    <a:gd name="T9" fmla="*/ 86 h 93"/>
                    <a:gd name="T10" fmla="*/ 161 w 176"/>
                    <a:gd name="T11" fmla="*/ 68 h 93"/>
                    <a:gd name="T12" fmla="*/ 161 w 176"/>
                    <a:gd name="T13" fmla="*/ 54 h 93"/>
                    <a:gd name="T14" fmla="*/ 140 w 176"/>
                    <a:gd name="T15" fmla="*/ 48 h 93"/>
                    <a:gd name="T16" fmla="*/ 142 w 176"/>
                    <a:gd name="T17" fmla="*/ 39 h 93"/>
                    <a:gd name="T18" fmla="*/ 129 w 176"/>
                    <a:gd name="T19" fmla="*/ 18 h 93"/>
                    <a:gd name="T20" fmla="*/ 80 w 176"/>
                    <a:gd name="T21" fmla="*/ 25 h 93"/>
                    <a:gd name="T22" fmla="*/ 80 w 176"/>
                    <a:gd name="T23" fmla="*/ 11 h 93"/>
                    <a:gd name="T24" fmla="*/ 56 w 176"/>
                    <a:gd name="T25" fmla="*/ 5 h 93"/>
                    <a:gd name="T26" fmla="*/ 18 w 176"/>
                    <a:gd name="T27" fmla="*/ 56 h 93"/>
                    <a:gd name="T28" fmla="*/ 23 w 176"/>
                    <a:gd name="T29" fmla="*/ 76 h 93"/>
                    <a:gd name="T30" fmla="*/ 50 w 176"/>
                    <a:gd name="T31" fmla="*/ 81 h 93"/>
                    <a:gd name="T32" fmla="*/ 66 w 176"/>
                    <a:gd name="T33" fmla="*/ 92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76" h="93">
                      <a:moveTo>
                        <a:pt x="66" y="92"/>
                      </a:moveTo>
                      <a:cubicBezTo>
                        <a:pt x="85" y="92"/>
                        <a:pt x="79" y="84"/>
                        <a:pt x="88" y="84"/>
                      </a:cubicBezTo>
                      <a:cubicBezTo>
                        <a:pt x="97" y="84"/>
                        <a:pt x="95" y="90"/>
                        <a:pt x="113" y="90"/>
                      </a:cubicBezTo>
                      <a:cubicBezTo>
                        <a:pt x="131" y="90"/>
                        <a:pt x="139" y="86"/>
                        <a:pt x="139" y="86"/>
                      </a:cubicBezTo>
                      <a:cubicBezTo>
                        <a:pt x="139" y="86"/>
                        <a:pt x="148" y="93"/>
                        <a:pt x="162" y="86"/>
                      </a:cubicBezTo>
                      <a:cubicBezTo>
                        <a:pt x="176" y="79"/>
                        <a:pt x="161" y="68"/>
                        <a:pt x="161" y="68"/>
                      </a:cubicBezTo>
                      <a:cubicBezTo>
                        <a:pt x="161" y="54"/>
                        <a:pt x="161" y="54"/>
                        <a:pt x="161" y="54"/>
                      </a:cubicBezTo>
                      <a:cubicBezTo>
                        <a:pt x="161" y="54"/>
                        <a:pt x="144" y="55"/>
                        <a:pt x="140" y="48"/>
                      </a:cubicBezTo>
                      <a:cubicBezTo>
                        <a:pt x="136" y="41"/>
                        <a:pt x="142" y="39"/>
                        <a:pt x="142" y="39"/>
                      </a:cubicBezTo>
                      <a:cubicBezTo>
                        <a:pt x="142" y="39"/>
                        <a:pt x="142" y="29"/>
                        <a:pt x="129" y="18"/>
                      </a:cubicBezTo>
                      <a:cubicBezTo>
                        <a:pt x="116" y="7"/>
                        <a:pt x="80" y="25"/>
                        <a:pt x="80" y="25"/>
                      </a:cubicBezTo>
                      <a:cubicBezTo>
                        <a:pt x="80" y="11"/>
                        <a:pt x="80" y="11"/>
                        <a:pt x="80" y="11"/>
                      </a:cubicBezTo>
                      <a:cubicBezTo>
                        <a:pt x="80" y="11"/>
                        <a:pt x="70" y="10"/>
                        <a:pt x="56" y="5"/>
                      </a:cubicBezTo>
                      <a:cubicBezTo>
                        <a:pt x="42" y="0"/>
                        <a:pt x="18" y="56"/>
                        <a:pt x="18" y="56"/>
                      </a:cubicBezTo>
                      <a:cubicBezTo>
                        <a:pt x="18" y="56"/>
                        <a:pt x="0" y="60"/>
                        <a:pt x="23" y="76"/>
                      </a:cubicBezTo>
                      <a:cubicBezTo>
                        <a:pt x="46" y="92"/>
                        <a:pt x="50" y="81"/>
                        <a:pt x="50" y="81"/>
                      </a:cubicBezTo>
                      <a:cubicBezTo>
                        <a:pt x="50" y="81"/>
                        <a:pt x="47" y="92"/>
                        <a:pt x="66" y="92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4" name="Bangladesh">
                  <a:extLst>
                    <a:ext uri="{FF2B5EF4-FFF2-40B4-BE49-F238E27FC236}">
                      <a16:creationId xmlns:a16="http://schemas.microsoft.com/office/drawing/2014/main" id="{F955C9BD-E5D8-2510-5A21-582B799385A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94656" y="3283822"/>
                  <a:ext cx="138136" cy="158677"/>
                </a:xfrm>
                <a:custGeom>
                  <a:avLst/>
                  <a:gdLst>
                    <a:gd name="T0" fmla="*/ 90 w 247"/>
                    <a:gd name="T1" fmla="*/ 275 h 284"/>
                    <a:gd name="T2" fmla="*/ 92 w 247"/>
                    <a:gd name="T3" fmla="*/ 236 h 284"/>
                    <a:gd name="T4" fmla="*/ 142 w 247"/>
                    <a:gd name="T5" fmla="*/ 250 h 284"/>
                    <a:gd name="T6" fmla="*/ 143 w 247"/>
                    <a:gd name="T7" fmla="*/ 227 h 284"/>
                    <a:gd name="T8" fmla="*/ 182 w 247"/>
                    <a:gd name="T9" fmla="*/ 240 h 284"/>
                    <a:gd name="T10" fmla="*/ 190 w 247"/>
                    <a:gd name="T11" fmla="*/ 223 h 284"/>
                    <a:gd name="T12" fmla="*/ 182 w 247"/>
                    <a:gd name="T13" fmla="*/ 202 h 284"/>
                    <a:gd name="T14" fmla="*/ 213 w 247"/>
                    <a:gd name="T15" fmla="*/ 235 h 284"/>
                    <a:gd name="T16" fmla="*/ 210 w 247"/>
                    <a:gd name="T17" fmla="*/ 280 h 284"/>
                    <a:gd name="T18" fmla="*/ 222 w 247"/>
                    <a:gd name="T19" fmla="*/ 284 h 284"/>
                    <a:gd name="T20" fmla="*/ 226 w 247"/>
                    <a:gd name="T21" fmla="*/ 273 h 284"/>
                    <a:gd name="T22" fmla="*/ 247 w 247"/>
                    <a:gd name="T23" fmla="*/ 276 h 284"/>
                    <a:gd name="T24" fmla="*/ 240 w 247"/>
                    <a:gd name="T25" fmla="*/ 237 h 284"/>
                    <a:gd name="T26" fmla="*/ 220 w 247"/>
                    <a:gd name="T27" fmla="*/ 187 h 284"/>
                    <a:gd name="T28" fmla="*/ 204 w 247"/>
                    <a:gd name="T29" fmla="*/ 153 h 284"/>
                    <a:gd name="T30" fmla="*/ 194 w 247"/>
                    <a:gd name="T31" fmla="*/ 170 h 284"/>
                    <a:gd name="T32" fmla="*/ 187 w 247"/>
                    <a:gd name="T33" fmla="*/ 193 h 284"/>
                    <a:gd name="T34" fmla="*/ 178 w 247"/>
                    <a:gd name="T35" fmla="*/ 178 h 284"/>
                    <a:gd name="T36" fmla="*/ 158 w 247"/>
                    <a:gd name="T37" fmla="*/ 159 h 284"/>
                    <a:gd name="T38" fmla="*/ 168 w 247"/>
                    <a:gd name="T39" fmla="*/ 130 h 284"/>
                    <a:gd name="T40" fmla="*/ 193 w 247"/>
                    <a:gd name="T41" fmla="*/ 115 h 284"/>
                    <a:gd name="T42" fmla="*/ 196 w 247"/>
                    <a:gd name="T43" fmla="*/ 92 h 284"/>
                    <a:gd name="T44" fmla="*/ 206 w 247"/>
                    <a:gd name="T45" fmla="*/ 86 h 284"/>
                    <a:gd name="T46" fmla="*/ 184 w 247"/>
                    <a:gd name="T47" fmla="*/ 68 h 284"/>
                    <a:gd name="T48" fmla="*/ 154 w 247"/>
                    <a:gd name="T49" fmla="*/ 79 h 284"/>
                    <a:gd name="T50" fmla="*/ 113 w 247"/>
                    <a:gd name="T51" fmla="*/ 75 h 284"/>
                    <a:gd name="T52" fmla="*/ 86 w 247"/>
                    <a:gd name="T53" fmla="*/ 69 h 284"/>
                    <a:gd name="T54" fmla="*/ 85 w 247"/>
                    <a:gd name="T55" fmla="*/ 46 h 284"/>
                    <a:gd name="T56" fmla="*/ 81 w 247"/>
                    <a:gd name="T57" fmla="*/ 44 h 284"/>
                    <a:gd name="T58" fmla="*/ 77 w 247"/>
                    <a:gd name="T59" fmla="*/ 23 h 284"/>
                    <a:gd name="T60" fmla="*/ 67 w 247"/>
                    <a:gd name="T61" fmla="*/ 17 h 284"/>
                    <a:gd name="T62" fmla="*/ 66 w 247"/>
                    <a:gd name="T63" fmla="*/ 29 h 284"/>
                    <a:gd name="T64" fmla="*/ 50 w 247"/>
                    <a:gd name="T65" fmla="*/ 21 h 284"/>
                    <a:gd name="T66" fmla="*/ 41 w 247"/>
                    <a:gd name="T67" fmla="*/ 3 h 284"/>
                    <a:gd name="T68" fmla="*/ 30 w 247"/>
                    <a:gd name="T69" fmla="*/ 4 h 284"/>
                    <a:gd name="T70" fmla="*/ 33 w 247"/>
                    <a:gd name="T71" fmla="*/ 11 h 284"/>
                    <a:gd name="T72" fmla="*/ 17 w 247"/>
                    <a:gd name="T73" fmla="*/ 3 h 284"/>
                    <a:gd name="T74" fmla="*/ 6 w 247"/>
                    <a:gd name="T75" fmla="*/ 0 h 284"/>
                    <a:gd name="T76" fmla="*/ 11 w 247"/>
                    <a:gd name="T77" fmla="*/ 12 h 284"/>
                    <a:gd name="T78" fmla="*/ 2 w 247"/>
                    <a:gd name="T79" fmla="*/ 35 h 284"/>
                    <a:gd name="T80" fmla="*/ 26 w 247"/>
                    <a:gd name="T81" fmla="*/ 54 h 284"/>
                    <a:gd name="T82" fmla="*/ 43 w 247"/>
                    <a:gd name="T83" fmla="*/ 65 h 284"/>
                    <a:gd name="T84" fmla="*/ 44 w 247"/>
                    <a:gd name="T85" fmla="*/ 73 h 284"/>
                    <a:gd name="T86" fmla="*/ 22 w 247"/>
                    <a:gd name="T87" fmla="*/ 74 h 284"/>
                    <a:gd name="T88" fmla="*/ 22 w 247"/>
                    <a:gd name="T89" fmla="*/ 93 h 284"/>
                    <a:gd name="T90" fmla="*/ 13 w 247"/>
                    <a:gd name="T91" fmla="*/ 106 h 284"/>
                    <a:gd name="T92" fmla="*/ 47 w 247"/>
                    <a:gd name="T93" fmla="*/ 126 h 284"/>
                    <a:gd name="T94" fmla="*/ 35 w 247"/>
                    <a:gd name="T95" fmla="*/ 150 h 284"/>
                    <a:gd name="T96" fmla="*/ 44 w 247"/>
                    <a:gd name="T97" fmla="*/ 170 h 284"/>
                    <a:gd name="T98" fmla="*/ 64 w 247"/>
                    <a:gd name="T99" fmla="*/ 186 h 284"/>
                    <a:gd name="T100" fmla="*/ 63 w 247"/>
                    <a:gd name="T101" fmla="*/ 206 h 284"/>
                    <a:gd name="T102" fmla="*/ 75 w 247"/>
                    <a:gd name="T103" fmla="*/ 234 h 284"/>
                    <a:gd name="T104" fmla="*/ 73 w 247"/>
                    <a:gd name="T105" fmla="*/ 252 h 284"/>
                    <a:gd name="T106" fmla="*/ 90 w 247"/>
                    <a:gd name="T107" fmla="*/ 275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47" h="284">
                      <a:moveTo>
                        <a:pt x="90" y="275"/>
                      </a:moveTo>
                      <a:cubicBezTo>
                        <a:pt x="92" y="236"/>
                        <a:pt x="92" y="236"/>
                        <a:pt x="92" y="236"/>
                      </a:cubicBezTo>
                      <a:cubicBezTo>
                        <a:pt x="92" y="236"/>
                        <a:pt x="134" y="252"/>
                        <a:pt x="142" y="250"/>
                      </a:cubicBezTo>
                      <a:cubicBezTo>
                        <a:pt x="150" y="247"/>
                        <a:pt x="134" y="229"/>
                        <a:pt x="143" y="227"/>
                      </a:cubicBezTo>
                      <a:cubicBezTo>
                        <a:pt x="152" y="225"/>
                        <a:pt x="169" y="245"/>
                        <a:pt x="182" y="240"/>
                      </a:cubicBezTo>
                      <a:cubicBezTo>
                        <a:pt x="195" y="236"/>
                        <a:pt x="190" y="223"/>
                        <a:pt x="190" y="223"/>
                      </a:cubicBezTo>
                      <a:cubicBezTo>
                        <a:pt x="182" y="202"/>
                        <a:pt x="182" y="202"/>
                        <a:pt x="182" y="202"/>
                      </a:cubicBezTo>
                      <a:cubicBezTo>
                        <a:pt x="213" y="235"/>
                        <a:pt x="213" y="235"/>
                        <a:pt x="213" y="235"/>
                      </a:cubicBezTo>
                      <a:cubicBezTo>
                        <a:pt x="213" y="235"/>
                        <a:pt x="201" y="274"/>
                        <a:pt x="210" y="280"/>
                      </a:cubicBezTo>
                      <a:cubicBezTo>
                        <a:pt x="213" y="282"/>
                        <a:pt x="218" y="283"/>
                        <a:pt x="222" y="284"/>
                      </a:cubicBezTo>
                      <a:cubicBezTo>
                        <a:pt x="224" y="277"/>
                        <a:pt x="226" y="273"/>
                        <a:pt x="226" y="273"/>
                      </a:cubicBezTo>
                      <a:cubicBezTo>
                        <a:pt x="247" y="276"/>
                        <a:pt x="247" y="276"/>
                        <a:pt x="247" y="276"/>
                      </a:cubicBezTo>
                      <a:cubicBezTo>
                        <a:pt x="240" y="237"/>
                        <a:pt x="240" y="237"/>
                        <a:pt x="240" y="237"/>
                      </a:cubicBezTo>
                      <a:cubicBezTo>
                        <a:pt x="240" y="237"/>
                        <a:pt x="224" y="198"/>
                        <a:pt x="220" y="187"/>
                      </a:cubicBezTo>
                      <a:cubicBezTo>
                        <a:pt x="216" y="176"/>
                        <a:pt x="222" y="157"/>
                        <a:pt x="204" y="153"/>
                      </a:cubicBezTo>
                      <a:cubicBezTo>
                        <a:pt x="186" y="149"/>
                        <a:pt x="194" y="170"/>
                        <a:pt x="194" y="170"/>
                      </a:cubicBezTo>
                      <a:cubicBezTo>
                        <a:pt x="187" y="193"/>
                        <a:pt x="187" y="193"/>
                        <a:pt x="187" y="193"/>
                      </a:cubicBezTo>
                      <a:cubicBezTo>
                        <a:pt x="178" y="178"/>
                        <a:pt x="178" y="178"/>
                        <a:pt x="178" y="178"/>
                      </a:cubicBezTo>
                      <a:cubicBezTo>
                        <a:pt x="178" y="178"/>
                        <a:pt x="158" y="175"/>
                        <a:pt x="158" y="159"/>
                      </a:cubicBezTo>
                      <a:cubicBezTo>
                        <a:pt x="158" y="143"/>
                        <a:pt x="160" y="133"/>
                        <a:pt x="168" y="130"/>
                      </a:cubicBezTo>
                      <a:cubicBezTo>
                        <a:pt x="176" y="127"/>
                        <a:pt x="190" y="129"/>
                        <a:pt x="193" y="115"/>
                      </a:cubicBezTo>
                      <a:cubicBezTo>
                        <a:pt x="196" y="101"/>
                        <a:pt x="196" y="92"/>
                        <a:pt x="196" y="92"/>
                      </a:cubicBezTo>
                      <a:cubicBezTo>
                        <a:pt x="196" y="92"/>
                        <a:pt x="206" y="96"/>
                        <a:pt x="206" y="86"/>
                      </a:cubicBezTo>
                      <a:cubicBezTo>
                        <a:pt x="206" y="76"/>
                        <a:pt x="184" y="68"/>
                        <a:pt x="184" y="68"/>
                      </a:cubicBezTo>
                      <a:cubicBezTo>
                        <a:pt x="154" y="79"/>
                        <a:pt x="154" y="79"/>
                        <a:pt x="154" y="79"/>
                      </a:cubicBezTo>
                      <a:cubicBezTo>
                        <a:pt x="154" y="79"/>
                        <a:pt x="123" y="75"/>
                        <a:pt x="113" y="75"/>
                      </a:cubicBezTo>
                      <a:cubicBezTo>
                        <a:pt x="103" y="75"/>
                        <a:pt x="86" y="72"/>
                        <a:pt x="86" y="69"/>
                      </a:cubicBezTo>
                      <a:cubicBezTo>
                        <a:pt x="86" y="66"/>
                        <a:pt x="85" y="46"/>
                        <a:pt x="85" y="46"/>
                      </a:cubicBezTo>
                      <a:cubicBezTo>
                        <a:pt x="81" y="44"/>
                        <a:pt x="81" y="44"/>
                        <a:pt x="81" y="44"/>
                      </a:cubicBezTo>
                      <a:cubicBezTo>
                        <a:pt x="81" y="44"/>
                        <a:pt x="81" y="26"/>
                        <a:pt x="77" y="23"/>
                      </a:cubicBezTo>
                      <a:cubicBezTo>
                        <a:pt x="73" y="20"/>
                        <a:pt x="67" y="17"/>
                        <a:pt x="67" y="17"/>
                      </a:cubicBezTo>
                      <a:cubicBezTo>
                        <a:pt x="66" y="29"/>
                        <a:pt x="66" y="29"/>
                        <a:pt x="66" y="29"/>
                      </a:cubicBezTo>
                      <a:cubicBezTo>
                        <a:pt x="66" y="29"/>
                        <a:pt x="56" y="27"/>
                        <a:pt x="50" y="21"/>
                      </a:cubicBezTo>
                      <a:cubicBezTo>
                        <a:pt x="44" y="15"/>
                        <a:pt x="41" y="3"/>
                        <a:pt x="41" y="3"/>
                      </a:cubicBezTo>
                      <a:cubicBezTo>
                        <a:pt x="30" y="4"/>
                        <a:pt x="30" y="4"/>
                        <a:pt x="30" y="4"/>
                      </a:cubicBezTo>
                      <a:cubicBezTo>
                        <a:pt x="33" y="11"/>
                        <a:pt x="33" y="11"/>
                        <a:pt x="33" y="11"/>
                      </a:cubicBezTo>
                      <a:cubicBezTo>
                        <a:pt x="17" y="3"/>
                        <a:pt x="17" y="3"/>
                        <a:pt x="17" y="3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0" y="24"/>
                        <a:pt x="2" y="35"/>
                      </a:cubicBezTo>
                      <a:cubicBezTo>
                        <a:pt x="4" y="46"/>
                        <a:pt x="26" y="54"/>
                        <a:pt x="26" y="54"/>
                      </a:cubicBezTo>
                      <a:cubicBezTo>
                        <a:pt x="43" y="65"/>
                        <a:pt x="43" y="65"/>
                        <a:pt x="43" y="65"/>
                      </a:cubicBezTo>
                      <a:cubicBezTo>
                        <a:pt x="44" y="73"/>
                        <a:pt x="44" y="73"/>
                        <a:pt x="44" y="73"/>
                      </a:cubicBezTo>
                      <a:cubicBezTo>
                        <a:pt x="22" y="74"/>
                        <a:pt x="22" y="74"/>
                        <a:pt x="22" y="74"/>
                      </a:cubicBezTo>
                      <a:cubicBezTo>
                        <a:pt x="22" y="93"/>
                        <a:pt x="22" y="93"/>
                        <a:pt x="22" y="93"/>
                      </a:cubicBezTo>
                      <a:cubicBezTo>
                        <a:pt x="22" y="93"/>
                        <a:pt x="3" y="96"/>
                        <a:pt x="13" y="106"/>
                      </a:cubicBezTo>
                      <a:cubicBezTo>
                        <a:pt x="23" y="116"/>
                        <a:pt x="50" y="110"/>
                        <a:pt x="47" y="126"/>
                      </a:cubicBezTo>
                      <a:cubicBezTo>
                        <a:pt x="44" y="142"/>
                        <a:pt x="35" y="150"/>
                        <a:pt x="35" y="150"/>
                      </a:cubicBezTo>
                      <a:cubicBezTo>
                        <a:pt x="44" y="170"/>
                        <a:pt x="44" y="170"/>
                        <a:pt x="44" y="170"/>
                      </a:cubicBezTo>
                      <a:cubicBezTo>
                        <a:pt x="64" y="186"/>
                        <a:pt x="64" y="186"/>
                        <a:pt x="64" y="186"/>
                      </a:cubicBezTo>
                      <a:cubicBezTo>
                        <a:pt x="63" y="206"/>
                        <a:pt x="63" y="206"/>
                        <a:pt x="63" y="206"/>
                      </a:cubicBezTo>
                      <a:cubicBezTo>
                        <a:pt x="75" y="234"/>
                        <a:pt x="75" y="234"/>
                        <a:pt x="75" y="234"/>
                      </a:cubicBezTo>
                      <a:cubicBezTo>
                        <a:pt x="73" y="252"/>
                        <a:pt x="73" y="252"/>
                        <a:pt x="73" y="252"/>
                      </a:cubicBezTo>
                      <a:lnTo>
                        <a:pt x="90" y="275"/>
                      </a:ln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5" name="Azerbaijan">
                  <a:extLst>
                    <a:ext uri="{FF2B5EF4-FFF2-40B4-BE49-F238E27FC236}">
                      <a16:creationId xmlns:a16="http://schemas.microsoft.com/office/drawing/2014/main" id="{6D393478-3B0D-775B-9788-3105909E30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732404" y="2823661"/>
                  <a:ext cx="134960" cy="107900"/>
                </a:xfrm>
                <a:custGeom>
                  <a:avLst/>
                  <a:gdLst>
                    <a:gd name="T0" fmla="*/ 42 w 240"/>
                    <a:gd name="T1" fmla="*/ 125 h 194"/>
                    <a:gd name="T2" fmla="*/ 31 w 240"/>
                    <a:gd name="T3" fmla="*/ 127 h 194"/>
                    <a:gd name="T4" fmla="*/ 14 w 240"/>
                    <a:gd name="T5" fmla="*/ 116 h 194"/>
                    <a:gd name="T6" fmla="*/ 4 w 240"/>
                    <a:gd name="T7" fmla="*/ 119 h 194"/>
                    <a:gd name="T8" fmla="*/ 14 w 240"/>
                    <a:gd name="T9" fmla="*/ 141 h 194"/>
                    <a:gd name="T10" fmla="*/ 56 w 240"/>
                    <a:gd name="T11" fmla="*/ 163 h 194"/>
                    <a:gd name="T12" fmla="*/ 59 w 240"/>
                    <a:gd name="T13" fmla="*/ 163 h 194"/>
                    <a:gd name="T14" fmla="*/ 50 w 240"/>
                    <a:gd name="T15" fmla="*/ 141 h 194"/>
                    <a:gd name="T16" fmla="*/ 42 w 240"/>
                    <a:gd name="T17" fmla="*/ 125 h 194"/>
                    <a:gd name="T18" fmla="*/ 235 w 240"/>
                    <a:gd name="T19" fmla="*/ 75 h 194"/>
                    <a:gd name="T20" fmla="*/ 205 w 240"/>
                    <a:gd name="T21" fmla="*/ 74 h 194"/>
                    <a:gd name="T22" fmla="*/ 193 w 240"/>
                    <a:gd name="T23" fmla="*/ 56 h 194"/>
                    <a:gd name="T24" fmla="*/ 176 w 240"/>
                    <a:gd name="T25" fmla="*/ 38 h 194"/>
                    <a:gd name="T26" fmla="*/ 177 w 240"/>
                    <a:gd name="T27" fmla="*/ 29 h 194"/>
                    <a:gd name="T28" fmla="*/ 145 w 240"/>
                    <a:gd name="T29" fmla="*/ 2 h 194"/>
                    <a:gd name="T30" fmla="*/ 143 w 240"/>
                    <a:gd name="T31" fmla="*/ 20 h 194"/>
                    <a:gd name="T32" fmla="*/ 126 w 240"/>
                    <a:gd name="T33" fmla="*/ 24 h 194"/>
                    <a:gd name="T34" fmla="*/ 116 w 240"/>
                    <a:gd name="T35" fmla="*/ 38 h 194"/>
                    <a:gd name="T36" fmla="*/ 78 w 240"/>
                    <a:gd name="T37" fmla="*/ 9 h 194"/>
                    <a:gd name="T38" fmla="*/ 43 w 240"/>
                    <a:gd name="T39" fmla="*/ 7 h 194"/>
                    <a:gd name="T40" fmla="*/ 52 w 240"/>
                    <a:gd name="T41" fmla="*/ 23 h 194"/>
                    <a:gd name="T42" fmla="*/ 71 w 240"/>
                    <a:gd name="T43" fmla="*/ 44 h 194"/>
                    <a:gd name="T44" fmla="*/ 54 w 240"/>
                    <a:gd name="T45" fmla="*/ 37 h 194"/>
                    <a:gd name="T46" fmla="*/ 40 w 240"/>
                    <a:gd name="T47" fmla="*/ 40 h 194"/>
                    <a:gd name="T48" fmla="*/ 26 w 240"/>
                    <a:gd name="T49" fmla="*/ 30 h 194"/>
                    <a:gd name="T50" fmla="*/ 15 w 240"/>
                    <a:gd name="T51" fmla="*/ 22 h 194"/>
                    <a:gd name="T52" fmla="*/ 0 w 240"/>
                    <a:gd name="T53" fmla="*/ 33 h 194"/>
                    <a:gd name="T54" fmla="*/ 7 w 240"/>
                    <a:gd name="T55" fmla="*/ 37 h 194"/>
                    <a:gd name="T56" fmla="*/ 6 w 240"/>
                    <a:gd name="T57" fmla="*/ 46 h 194"/>
                    <a:gd name="T58" fmla="*/ 25 w 240"/>
                    <a:gd name="T59" fmla="*/ 54 h 194"/>
                    <a:gd name="T60" fmla="*/ 19 w 240"/>
                    <a:gd name="T61" fmla="*/ 69 h 194"/>
                    <a:gd name="T62" fmla="*/ 49 w 240"/>
                    <a:gd name="T63" fmla="*/ 91 h 194"/>
                    <a:gd name="T64" fmla="*/ 28 w 240"/>
                    <a:gd name="T65" fmla="*/ 100 h 194"/>
                    <a:gd name="T66" fmla="*/ 46 w 240"/>
                    <a:gd name="T67" fmla="*/ 108 h 194"/>
                    <a:gd name="T68" fmla="*/ 56 w 240"/>
                    <a:gd name="T69" fmla="*/ 122 h 194"/>
                    <a:gd name="T70" fmla="*/ 76 w 240"/>
                    <a:gd name="T71" fmla="*/ 124 h 194"/>
                    <a:gd name="T72" fmla="*/ 74 w 240"/>
                    <a:gd name="T73" fmla="*/ 134 h 194"/>
                    <a:gd name="T74" fmla="*/ 78 w 240"/>
                    <a:gd name="T75" fmla="*/ 141 h 194"/>
                    <a:gd name="T76" fmla="*/ 81 w 240"/>
                    <a:gd name="T77" fmla="*/ 162 h 194"/>
                    <a:gd name="T78" fmla="*/ 83 w 240"/>
                    <a:gd name="T79" fmla="*/ 162 h 194"/>
                    <a:gd name="T80" fmla="*/ 97 w 240"/>
                    <a:gd name="T81" fmla="*/ 146 h 194"/>
                    <a:gd name="T82" fmla="*/ 142 w 240"/>
                    <a:gd name="T83" fmla="*/ 115 h 194"/>
                    <a:gd name="T84" fmla="*/ 157 w 240"/>
                    <a:gd name="T85" fmla="*/ 133 h 194"/>
                    <a:gd name="T86" fmla="*/ 150 w 240"/>
                    <a:gd name="T87" fmla="*/ 144 h 194"/>
                    <a:gd name="T88" fmla="*/ 159 w 240"/>
                    <a:gd name="T89" fmla="*/ 157 h 194"/>
                    <a:gd name="T90" fmla="*/ 149 w 240"/>
                    <a:gd name="T91" fmla="*/ 164 h 194"/>
                    <a:gd name="T92" fmla="*/ 168 w 240"/>
                    <a:gd name="T93" fmla="*/ 180 h 194"/>
                    <a:gd name="T94" fmla="*/ 177 w 240"/>
                    <a:gd name="T95" fmla="*/ 189 h 194"/>
                    <a:gd name="T96" fmla="*/ 187 w 240"/>
                    <a:gd name="T97" fmla="*/ 191 h 194"/>
                    <a:gd name="T98" fmla="*/ 188 w 240"/>
                    <a:gd name="T99" fmla="*/ 194 h 194"/>
                    <a:gd name="T100" fmla="*/ 191 w 240"/>
                    <a:gd name="T101" fmla="*/ 174 h 194"/>
                    <a:gd name="T102" fmla="*/ 179 w 240"/>
                    <a:gd name="T103" fmla="*/ 165 h 194"/>
                    <a:gd name="T104" fmla="*/ 190 w 240"/>
                    <a:gd name="T105" fmla="*/ 161 h 194"/>
                    <a:gd name="T106" fmla="*/ 190 w 240"/>
                    <a:gd name="T107" fmla="*/ 142 h 194"/>
                    <a:gd name="T108" fmla="*/ 208 w 240"/>
                    <a:gd name="T109" fmla="*/ 147 h 194"/>
                    <a:gd name="T110" fmla="*/ 198 w 240"/>
                    <a:gd name="T111" fmla="*/ 129 h 194"/>
                    <a:gd name="T112" fmla="*/ 201 w 240"/>
                    <a:gd name="T113" fmla="*/ 116 h 194"/>
                    <a:gd name="T114" fmla="*/ 200 w 240"/>
                    <a:gd name="T115" fmla="*/ 93 h 194"/>
                    <a:gd name="T116" fmla="*/ 210 w 240"/>
                    <a:gd name="T117" fmla="*/ 95 h 194"/>
                    <a:gd name="T118" fmla="*/ 218 w 240"/>
                    <a:gd name="T119" fmla="*/ 86 h 194"/>
                    <a:gd name="T120" fmla="*/ 240 w 240"/>
                    <a:gd name="T121" fmla="*/ 88 h 194"/>
                    <a:gd name="T122" fmla="*/ 235 w 240"/>
                    <a:gd name="T123" fmla="*/ 75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40" h="194">
                      <a:moveTo>
                        <a:pt x="42" y="125"/>
                      </a:moveTo>
                      <a:cubicBezTo>
                        <a:pt x="33" y="124"/>
                        <a:pt x="31" y="127"/>
                        <a:pt x="31" y="127"/>
                      </a:cubicBezTo>
                      <a:cubicBezTo>
                        <a:pt x="31" y="127"/>
                        <a:pt x="21" y="126"/>
                        <a:pt x="14" y="116"/>
                      </a:cubicBezTo>
                      <a:cubicBezTo>
                        <a:pt x="13" y="116"/>
                        <a:pt x="6" y="118"/>
                        <a:pt x="4" y="119"/>
                      </a:cubicBezTo>
                      <a:cubicBezTo>
                        <a:pt x="6" y="125"/>
                        <a:pt x="7" y="135"/>
                        <a:pt x="14" y="141"/>
                      </a:cubicBezTo>
                      <a:cubicBezTo>
                        <a:pt x="24" y="149"/>
                        <a:pt x="41" y="163"/>
                        <a:pt x="56" y="163"/>
                      </a:cubicBezTo>
                      <a:cubicBezTo>
                        <a:pt x="57" y="163"/>
                        <a:pt x="58" y="163"/>
                        <a:pt x="59" y="163"/>
                      </a:cubicBezTo>
                      <a:cubicBezTo>
                        <a:pt x="57" y="156"/>
                        <a:pt x="52" y="144"/>
                        <a:pt x="50" y="141"/>
                      </a:cubicBezTo>
                      <a:cubicBezTo>
                        <a:pt x="47" y="137"/>
                        <a:pt x="51" y="126"/>
                        <a:pt x="42" y="125"/>
                      </a:cubicBezTo>
                      <a:close/>
                      <a:moveTo>
                        <a:pt x="235" y="75"/>
                      </a:moveTo>
                      <a:cubicBezTo>
                        <a:pt x="231" y="67"/>
                        <a:pt x="215" y="74"/>
                        <a:pt x="205" y="74"/>
                      </a:cubicBezTo>
                      <a:cubicBezTo>
                        <a:pt x="195" y="74"/>
                        <a:pt x="193" y="56"/>
                        <a:pt x="193" y="56"/>
                      </a:cubicBezTo>
                      <a:cubicBezTo>
                        <a:pt x="176" y="38"/>
                        <a:pt x="176" y="38"/>
                        <a:pt x="176" y="38"/>
                      </a:cubicBezTo>
                      <a:cubicBezTo>
                        <a:pt x="177" y="29"/>
                        <a:pt x="177" y="29"/>
                        <a:pt x="177" y="29"/>
                      </a:cubicBezTo>
                      <a:cubicBezTo>
                        <a:pt x="145" y="2"/>
                        <a:pt x="145" y="2"/>
                        <a:pt x="145" y="2"/>
                      </a:cubicBezTo>
                      <a:cubicBezTo>
                        <a:pt x="145" y="2"/>
                        <a:pt x="144" y="13"/>
                        <a:pt x="143" y="20"/>
                      </a:cubicBezTo>
                      <a:cubicBezTo>
                        <a:pt x="142" y="27"/>
                        <a:pt x="126" y="24"/>
                        <a:pt x="126" y="24"/>
                      </a:cubicBezTo>
                      <a:cubicBezTo>
                        <a:pt x="126" y="24"/>
                        <a:pt x="132" y="36"/>
                        <a:pt x="116" y="38"/>
                      </a:cubicBezTo>
                      <a:cubicBezTo>
                        <a:pt x="100" y="40"/>
                        <a:pt x="91" y="18"/>
                        <a:pt x="78" y="9"/>
                      </a:cubicBezTo>
                      <a:cubicBezTo>
                        <a:pt x="65" y="0"/>
                        <a:pt x="49" y="2"/>
                        <a:pt x="43" y="7"/>
                      </a:cubicBezTo>
                      <a:cubicBezTo>
                        <a:pt x="37" y="12"/>
                        <a:pt x="52" y="23"/>
                        <a:pt x="52" y="23"/>
                      </a:cubicBezTo>
                      <a:cubicBezTo>
                        <a:pt x="52" y="23"/>
                        <a:pt x="73" y="34"/>
                        <a:pt x="71" y="44"/>
                      </a:cubicBezTo>
                      <a:cubicBezTo>
                        <a:pt x="69" y="54"/>
                        <a:pt x="57" y="37"/>
                        <a:pt x="54" y="37"/>
                      </a:cubicBezTo>
                      <a:cubicBezTo>
                        <a:pt x="51" y="37"/>
                        <a:pt x="40" y="40"/>
                        <a:pt x="40" y="40"/>
                      </a:cubicBezTo>
                      <a:cubicBezTo>
                        <a:pt x="26" y="30"/>
                        <a:pt x="26" y="30"/>
                        <a:pt x="26" y="30"/>
                      </a:cubicBezTo>
                      <a:cubicBezTo>
                        <a:pt x="26" y="30"/>
                        <a:pt x="28" y="23"/>
                        <a:pt x="15" y="22"/>
                      </a:cubicBezTo>
                      <a:cubicBezTo>
                        <a:pt x="5" y="21"/>
                        <a:pt x="1" y="29"/>
                        <a:pt x="0" y="33"/>
                      </a:cubicBezTo>
                      <a:cubicBezTo>
                        <a:pt x="3" y="35"/>
                        <a:pt x="7" y="37"/>
                        <a:pt x="7" y="37"/>
                      </a:cubicBezTo>
                      <a:cubicBezTo>
                        <a:pt x="6" y="46"/>
                        <a:pt x="6" y="46"/>
                        <a:pt x="6" y="46"/>
                      </a:cubicBezTo>
                      <a:cubicBezTo>
                        <a:pt x="6" y="46"/>
                        <a:pt x="25" y="47"/>
                        <a:pt x="25" y="54"/>
                      </a:cubicBezTo>
                      <a:cubicBezTo>
                        <a:pt x="25" y="61"/>
                        <a:pt x="19" y="69"/>
                        <a:pt x="19" y="69"/>
                      </a:cubicBezTo>
                      <a:cubicBezTo>
                        <a:pt x="19" y="69"/>
                        <a:pt x="50" y="82"/>
                        <a:pt x="49" y="91"/>
                      </a:cubicBezTo>
                      <a:cubicBezTo>
                        <a:pt x="48" y="100"/>
                        <a:pt x="28" y="100"/>
                        <a:pt x="28" y="100"/>
                      </a:cubicBezTo>
                      <a:cubicBezTo>
                        <a:pt x="46" y="108"/>
                        <a:pt x="46" y="108"/>
                        <a:pt x="46" y="108"/>
                      </a:cubicBezTo>
                      <a:cubicBezTo>
                        <a:pt x="56" y="122"/>
                        <a:pt x="56" y="122"/>
                        <a:pt x="56" y="122"/>
                      </a:cubicBezTo>
                      <a:cubicBezTo>
                        <a:pt x="76" y="124"/>
                        <a:pt x="76" y="124"/>
                        <a:pt x="76" y="124"/>
                      </a:cubicBezTo>
                      <a:cubicBezTo>
                        <a:pt x="74" y="134"/>
                        <a:pt x="74" y="134"/>
                        <a:pt x="74" y="134"/>
                      </a:cubicBezTo>
                      <a:cubicBezTo>
                        <a:pt x="78" y="141"/>
                        <a:pt x="78" y="141"/>
                        <a:pt x="78" y="141"/>
                      </a:cubicBezTo>
                      <a:cubicBezTo>
                        <a:pt x="78" y="141"/>
                        <a:pt x="80" y="154"/>
                        <a:pt x="81" y="162"/>
                      </a:cubicBezTo>
                      <a:cubicBezTo>
                        <a:pt x="82" y="162"/>
                        <a:pt x="82" y="162"/>
                        <a:pt x="83" y="162"/>
                      </a:cubicBezTo>
                      <a:cubicBezTo>
                        <a:pt x="86" y="161"/>
                        <a:pt x="94" y="150"/>
                        <a:pt x="97" y="146"/>
                      </a:cubicBezTo>
                      <a:cubicBezTo>
                        <a:pt x="100" y="142"/>
                        <a:pt x="136" y="115"/>
                        <a:pt x="142" y="115"/>
                      </a:cubicBezTo>
                      <a:cubicBezTo>
                        <a:pt x="148" y="115"/>
                        <a:pt x="155" y="127"/>
                        <a:pt x="157" y="133"/>
                      </a:cubicBezTo>
                      <a:cubicBezTo>
                        <a:pt x="159" y="139"/>
                        <a:pt x="150" y="139"/>
                        <a:pt x="150" y="144"/>
                      </a:cubicBezTo>
                      <a:cubicBezTo>
                        <a:pt x="150" y="149"/>
                        <a:pt x="159" y="151"/>
                        <a:pt x="159" y="157"/>
                      </a:cubicBezTo>
                      <a:cubicBezTo>
                        <a:pt x="159" y="163"/>
                        <a:pt x="149" y="159"/>
                        <a:pt x="149" y="164"/>
                      </a:cubicBezTo>
                      <a:cubicBezTo>
                        <a:pt x="149" y="169"/>
                        <a:pt x="162" y="177"/>
                        <a:pt x="168" y="180"/>
                      </a:cubicBezTo>
                      <a:cubicBezTo>
                        <a:pt x="174" y="183"/>
                        <a:pt x="177" y="189"/>
                        <a:pt x="177" y="189"/>
                      </a:cubicBezTo>
                      <a:cubicBezTo>
                        <a:pt x="187" y="191"/>
                        <a:pt x="187" y="191"/>
                        <a:pt x="187" y="191"/>
                      </a:cubicBezTo>
                      <a:cubicBezTo>
                        <a:pt x="187" y="191"/>
                        <a:pt x="187" y="192"/>
                        <a:pt x="188" y="194"/>
                      </a:cubicBezTo>
                      <a:cubicBezTo>
                        <a:pt x="190" y="187"/>
                        <a:pt x="192" y="178"/>
                        <a:pt x="191" y="174"/>
                      </a:cubicBezTo>
                      <a:cubicBezTo>
                        <a:pt x="189" y="168"/>
                        <a:pt x="179" y="165"/>
                        <a:pt x="179" y="165"/>
                      </a:cubicBezTo>
                      <a:cubicBezTo>
                        <a:pt x="190" y="161"/>
                        <a:pt x="190" y="161"/>
                        <a:pt x="190" y="161"/>
                      </a:cubicBezTo>
                      <a:cubicBezTo>
                        <a:pt x="190" y="142"/>
                        <a:pt x="190" y="142"/>
                        <a:pt x="190" y="142"/>
                      </a:cubicBezTo>
                      <a:cubicBezTo>
                        <a:pt x="190" y="142"/>
                        <a:pt x="202" y="155"/>
                        <a:pt x="208" y="147"/>
                      </a:cubicBezTo>
                      <a:cubicBezTo>
                        <a:pt x="214" y="139"/>
                        <a:pt x="198" y="129"/>
                        <a:pt x="198" y="129"/>
                      </a:cubicBezTo>
                      <a:cubicBezTo>
                        <a:pt x="201" y="116"/>
                        <a:pt x="201" y="116"/>
                        <a:pt x="201" y="116"/>
                      </a:cubicBezTo>
                      <a:cubicBezTo>
                        <a:pt x="200" y="93"/>
                        <a:pt x="200" y="93"/>
                        <a:pt x="200" y="93"/>
                      </a:cubicBezTo>
                      <a:cubicBezTo>
                        <a:pt x="210" y="95"/>
                        <a:pt x="210" y="95"/>
                        <a:pt x="210" y="95"/>
                      </a:cubicBezTo>
                      <a:cubicBezTo>
                        <a:pt x="218" y="86"/>
                        <a:pt x="218" y="86"/>
                        <a:pt x="218" y="86"/>
                      </a:cubicBezTo>
                      <a:cubicBezTo>
                        <a:pt x="240" y="88"/>
                        <a:pt x="240" y="88"/>
                        <a:pt x="240" y="88"/>
                      </a:cubicBezTo>
                      <a:cubicBezTo>
                        <a:pt x="240" y="88"/>
                        <a:pt x="239" y="83"/>
                        <a:pt x="235" y="75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6" name="Armenia">
                  <a:extLst>
                    <a:ext uri="{FF2B5EF4-FFF2-40B4-BE49-F238E27FC236}">
                      <a16:creationId xmlns:a16="http://schemas.microsoft.com/office/drawing/2014/main" id="{5DE88304-E7C1-5FCF-BEEE-721460E8898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694298" y="2839528"/>
                  <a:ext cx="84152" cy="79338"/>
                </a:xfrm>
                <a:custGeom>
                  <a:avLst/>
                  <a:gdLst>
                    <a:gd name="T0" fmla="*/ 147 w 152"/>
                    <a:gd name="T1" fmla="*/ 111 h 140"/>
                    <a:gd name="T2" fmla="*/ 143 w 152"/>
                    <a:gd name="T3" fmla="*/ 104 h 140"/>
                    <a:gd name="T4" fmla="*/ 145 w 152"/>
                    <a:gd name="T5" fmla="*/ 94 h 140"/>
                    <a:gd name="T6" fmla="*/ 125 w 152"/>
                    <a:gd name="T7" fmla="*/ 92 h 140"/>
                    <a:gd name="T8" fmla="*/ 115 w 152"/>
                    <a:gd name="T9" fmla="*/ 78 h 140"/>
                    <a:gd name="T10" fmla="*/ 97 w 152"/>
                    <a:gd name="T11" fmla="*/ 70 h 140"/>
                    <a:gd name="T12" fmla="*/ 118 w 152"/>
                    <a:gd name="T13" fmla="*/ 61 h 140"/>
                    <a:gd name="T14" fmla="*/ 88 w 152"/>
                    <a:gd name="T15" fmla="*/ 39 h 140"/>
                    <a:gd name="T16" fmla="*/ 94 w 152"/>
                    <a:gd name="T17" fmla="*/ 24 h 140"/>
                    <a:gd name="T18" fmla="*/ 75 w 152"/>
                    <a:gd name="T19" fmla="*/ 16 h 140"/>
                    <a:gd name="T20" fmla="*/ 76 w 152"/>
                    <a:gd name="T21" fmla="*/ 7 h 140"/>
                    <a:gd name="T22" fmla="*/ 61 w 152"/>
                    <a:gd name="T23" fmla="*/ 0 h 140"/>
                    <a:gd name="T24" fmla="*/ 55 w 152"/>
                    <a:gd name="T25" fmla="*/ 10 h 140"/>
                    <a:gd name="T26" fmla="*/ 22 w 152"/>
                    <a:gd name="T27" fmla="*/ 6 h 140"/>
                    <a:gd name="T28" fmla="*/ 17 w 152"/>
                    <a:gd name="T29" fmla="*/ 13 h 140"/>
                    <a:gd name="T30" fmla="*/ 0 w 152"/>
                    <a:gd name="T31" fmla="*/ 14 h 140"/>
                    <a:gd name="T32" fmla="*/ 6 w 152"/>
                    <a:gd name="T33" fmla="*/ 29 h 140"/>
                    <a:gd name="T34" fmla="*/ 18 w 152"/>
                    <a:gd name="T35" fmla="*/ 69 h 140"/>
                    <a:gd name="T36" fmla="*/ 47 w 152"/>
                    <a:gd name="T37" fmla="*/ 72 h 140"/>
                    <a:gd name="T38" fmla="*/ 57 w 152"/>
                    <a:gd name="T39" fmla="*/ 93 h 140"/>
                    <a:gd name="T40" fmla="*/ 55 w 152"/>
                    <a:gd name="T41" fmla="*/ 98 h 140"/>
                    <a:gd name="T42" fmla="*/ 62 w 152"/>
                    <a:gd name="T43" fmla="*/ 103 h 140"/>
                    <a:gd name="T44" fmla="*/ 72 w 152"/>
                    <a:gd name="T45" fmla="*/ 89 h 140"/>
                    <a:gd name="T46" fmla="*/ 83 w 152"/>
                    <a:gd name="T47" fmla="*/ 86 h 140"/>
                    <a:gd name="T48" fmla="*/ 100 w 152"/>
                    <a:gd name="T49" fmla="*/ 97 h 140"/>
                    <a:gd name="T50" fmla="*/ 111 w 152"/>
                    <a:gd name="T51" fmla="*/ 95 h 140"/>
                    <a:gd name="T52" fmla="*/ 119 w 152"/>
                    <a:gd name="T53" fmla="*/ 111 h 140"/>
                    <a:gd name="T54" fmla="*/ 130 w 152"/>
                    <a:gd name="T55" fmla="*/ 138 h 140"/>
                    <a:gd name="T56" fmla="*/ 148 w 152"/>
                    <a:gd name="T57" fmla="*/ 140 h 140"/>
                    <a:gd name="T58" fmla="*/ 147 w 152"/>
                    <a:gd name="T59" fmla="*/ 111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52" h="140">
                      <a:moveTo>
                        <a:pt x="147" y="111"/>
                      </a:moveTo>
                      <a:cubicBezTo>
                        <a:pt x="143" y="104"/>
                        <a:pt x="143" y="104"/>
                        <a:pt x="143" y="104"/>
                      </a:cubicBezTo>
                      <a:cubicBezTo>
                        <a:pt x="145" y="94"/>
                        <a:pt x="145" y="94"/>
                        <a:pt x="145" y="94"/>
                      </a:cubicBezTo>
                      <a:cubicBezTo>
                        <a:pt x="125" y="92"/>
                        <a:pt x="125" y="92"/>
                        <a:pt x="125" y="92"/>
                      </a:cubicBezTo>
                      <a:cubicBezTo>
                        <a:pt x="115" y="78"/>
                        <a:pt x="115" y="78"/>
                        <a:pt x="115" y="78"/>
                      </a:cubicBezTo>
                      <a:cubicBezTo>
                        <a:pt x="97" y="70"/>
                        <a:pt x="97" y="70"/>
                        <a:pt x="97" y="70"/>
                      </a:cubicBezTo>
                      <a:cubicBezTo>
                        <a:pt x="97" y="70"/>
                        <a:pt x="117" y="70"/>
                        <a:pt x="118" y="61"/>
                      </a:cubicBezTo>
                      <a:cubicBezTo>
                        <a:pt x="119" y="52"/>
                        <a:pt x="88" y="39"/>
                        <a:pt x="88" y="39"/>
                      </a:cubicBezTo>
                      <a:cubicBezTo>
                        <a:pt x="88" y="39"/>
                        <a:pt x="94" y="31"/>
                        <a:pt x="94" y="24"/>
                      </a:cubicBezTo>
                      <a:cubicBezTo>
                        <a:pt x="94" y="17"/>
                        <a:pt x="75" y="16"/>
                        <a:pt x="75" y="16"/>
                      </a:cubicBezTo>
                      <a:cubicBezTo>
                        <a:pt x="76" y="7"/>
                        <a:pt x="76" y="7"/>
                        <a:pt x="76" y="7"/>
                      </a:cubicBezTo>
                      <a:cubicBezTo>
                        <a:pt x="76" y="7"/>
                        <a:pt x="64" y="0"/>
                        <a:pt x="61" y="0"/>
                      </a:cubicBezTo>
                      <a:cubicBezTo>
                        <a:pt x="58" y="0"/>
                        <a:pt x="55" y="10"/>
                        <a:pt x="55" y="10"/>
                      </a:cubicBezTo>
                      <a:cubicBezTo>
                        <a:pt x="22" y="6"/>
                        <a:pt x="22" y="6"/>
                        <a:pt x="22" y="6"/>
                      </a:cubicBez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2" y="17"/>
                        <a:pt x="3" y="22"/>
                        <a:pt x="6" y="29"/>
                      </a:cubicBezTo>
                      <a:cubicBezTo>
                        <a:pt x="12" y="44"/>
                        <a:pt x="10" y="58"/>
                        <a:pt x="18" y="69"/>
                      </a:cubicBezTo>
                      <a:cubicBezTo>
                        <a:pt x="26" y="80"/>
                        <a:pt x="42" y="71"/>
                        <a:pt x="47" y="72"/>
                      </a:cubicBezTo>
                      <a:cubicBezTo>
                        <a:pt x="50" y="72"/>
                        <a:pt x="54" y="83"/>
                        <a:pt x="57" y="93"/>
                      </a:cubicBezTo>
                      <a:cubicBezTo>
                        <a:pt x="56" y="95"/>
                        <a:pt x="56" y="96"/>
                        <a:pt x="55" y="98"/>
                      </a:cubicBezTo>
                      <a:cubicBezTo>
                        <a:pt x="62" y="103"/>
                        <a:pt x="62" y="103"/>
                        <a:pt x="62" y="103"/>
                      </a:cubicBezTo>
                      <a:cubicBezTo>
                        <a:pt x="72" y="89"/>
                        <a:pt x="72" y="89"/>
                        <a:pt x="72" y="89"/>
                      </a:cubicBezTo>
                      <a:cubicBezTo>
                        <a:pt x="72" y="89"/>
                        <a:pt x="82" y="86"/>
                        <a:pt x="83" y="86"/>
                      </a:cubicBezTo>
                      <a:cubicBezTo>
                        <a:pt x="90" y="96"/>
                        <a:pt x="100" y="97"/>
                        <a:pt x="100" y="97"/>
                      </a:cubicBezTo>
                      <a:cubicBezTo>
                        <a:pt x="100" y="97"/>
                        <a:pt x="102" y="94"/>
                        <a:pt x="111" y="95"/>
                      </a:cubicBezTo>
                      <a:cubicBezTo>
                        <a:pt x="120" y="96"/>
                        <a:pt x="116" y="107"/>
                        <a:pt x="119" y="111"/>
                      </a:cubicBezTo>
                      <a:cubicBezTo>
                        <a:pt x="122" y="115"/>
                        <a:pt x="130" y="138"/>
                        <a:pt x="130" y="138"/>
                      </a:cubicBezTo>
                      <a:cubicBezTo>
                        <a:pt x="130" y="138"/>
                        <a:pt x="144" y="140"/>
                        <a:pt x="148" y="140"/>
                      </a:cubicBezTo>
                      <a:cubicBezTo>
                        <a:pt x="152" y="140"/>
                        <a:pt x="147" y="111"/>
                        <a:pt x="147" y="111"/>
                      </a:cubicBezTo>
                      <a:close/>
                    </a:path>
                  </a:pathLst>
                </a:custGeom>
                <a:grpFill/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17" name="Afghanistan">
                  <a:extLst>
                    <a:ext uri="{FF2B5EF4-FFF2-40B4-BE49-F238E27FC236}">
                      <a16:creationId xmlns:a16="http://schemas.microsoft.com/office/drawing/2014/main" id="{A44E1816-988F-8525-2CD5-45AA2BF9617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145227" y="2925214"/>
                  <a:ext cx="339784" cy="274511"/>
                </a:xfrm>
                <a:custGeom>
                  <a:avLst/>
                  <a:gdLst>
                    <a:gd name="T0" fmla="*/ 607 w 607"/>
                    <a:gd name="T1" fmla="*/ 64 h 492"/>
                    <a:gd name="T2" fmla="*/ 587 w 607"/>
                    <a:gd name="T3" fmla="*/ 59 h 492"/>
                    <a:gd name="T4" fmla="*/ 561 w 607"/>
                    <a:gd name="T5" fmla="*/ 57 h 492"/>
                    <a:gd name="T6" fmla="*/ 516 w 607"/>
                    <a:gd name="T7" fmla="*/ 81 h 492"/>
                    <a:gd name="T8" fmla="*/ 485 w 607"/>
                    <a:gd name="T9" fmla="*/ 100 h 492"/>
                    <a:gd name="T10" fmla="*/ 455 w 607"/>
                    <a:gd name="T11" fmla="*/ 33 h 492"/>
                    <a:gd name="T12" fmla="*/ 441 w 607"/>
                    <a:gd name="T13" fmla="*/ 14 h 492"/>
                    <a:gd name="T14" fmla="*/ 413 w 607"/>
                    <a:gd name="T15" fmla="*/ 19 h 492"/>
                    <a:gd name="T16" fmla="*/ 407 w 607"/>
                    <a:gd name="T17" fmla="*/ 40 h 492"/>
                    <a:gd name="T18" fmla="*/ 395 w 607"/>
                    <a:gd name="T19" fmla="*/ 48 h 492"/>
                    <a:gd name="T20" fmla="*/ 364 w 607"/>
                    <a:gd name="T21" fmla="*/ 79 h 492"/>
                    <a:gd name="T22" fmla="*/ 315 w 607"/>
                    <a:gd name="T23" fmla="*/ 83 h 492"/>
                    <a:gd name="T24" fmla="*/ 287 w 607"/>
                    <a:gd name="T25" fmla="*/ 66 h 492"/>
                    <a:gd name="T26" fmla="*/ 267 w 607"/>
                    <a:gd name="T27" fmla="*/ 57 h 492"/>
                    <a:gd name="T28" fmla="*/ 229 w 607"/>
                    <a:gd name="T29" fmla="*/ 63 h 492"/>
                    <a:gd name="T30" fmla="*/ 200 w 607"/>
                    <a:gd name="T31" fmla="*/ 67 h 492"/>
                    <a:gd name="T32" fmla="*/ 166 w 607"/>
                    <a:gd name="T33" fmla="*/ 116 h 492"/>
                    <a:gd name="T34" fmla="*/ 137 w 607"/>
                    <a:gd name="T35" fmla="*/ 136 h 492"/>
                    <a:gd name="T36" fmla="*/ 107 w 607"/>
                    <a:gd name="T37" fmla="*/ 167 h 492"/>
                    <a:gd name="T38" fmla="*/ 61 w 607"/>
                    <a:gd name="T39" fmla="*/ 161 h 492"/>
                    <a:gd name="T40" fmla="*/ 30 w 607"/>
                    <a:gd name="T41" fmla="*/ 154 h 492"/>
                    <a:gd name="T42" fmla="*/ 29 w 607"/>
                    <a:gd name="T43" fmla="*/ 205 h 492"/>
                    <a:gd name="T44" fmla="*/ 20 w 607"/>
                    <a:gd name="T45" fmla="*/ 220 h 492"/>
                    <a:gd name="T46" fmla="*/ 11 w 607"/>
                    <a:gd name="T47" fmla="*/ 244 h 492"/>
                    <a:gd name="T48" fmla="*/ 31 w 607"/>
                    <a:gd name="T49" fmla="*/ 266 h 492"/>
                    <a:gd name="T50" fmla="*/ 40 w 607"/>
                    <a:gd name="T51" fmla="*/ 341 h 492"/>
                    <a:gd name="T52" fmla="*/ 70 w 607"/>
                    <a:gd name="T53" fmla="*/ 382 h 492"/>
                    <a:gd name="T54" fmla="*/ 79 w 607"/>
                    <a:gd name="T55" fmla="*/ 434 h 492"/>
                    <a:gd name="T56" fmla="*/ 61 w 607"/>
                    <a:gd name="T57" fmla="*/ 467 h 492"/>
                    <a:gd name="T58" fmla="*/ 142 w 607"/>
                    <a:gd name="T59" fmla="*/ 490 h 492"/>
                    <a:gd name="T60" fmla="*/ 196 w 607"/>
                    <a:gd name="T61" fmla="*/ 484 h 492"/>
                    <a:gd name="T62" fmla="*/ 218 w 607"/>
                    <a:gd name="T63" fmla="*/ 482 h 492"/>
                    <a:gd name="T64" fmla="*/ 307 w 607"/>
                    <a:gd name="T65" fmla="*/ 459 h 492"/>
                    <a:gd name="T66" fmla="*/ 298 w 607"/>
                    <a:gd name="T67" fmla="*/ 403 h 492"/>
                    <a:gd name="T68" fmla="*/ 327 w 607"/>
                    <a:gd name="T69" fmla="*/ 390 h 492"/>
                    <a:gd name="T70" fmla="*/ 348 w 607"/>
                    <a:gd name="T71" fmla="*/ 376 h 492"/>
                    <a:gd name="T72" fmla="*/ 381 w 607"/>
                    <a:gd name="T73" fmla="*/ 361 h 492"/>
                    <a:gd name="T74" fmla="*/ 409 w 607"/>
                    <a:gd name="T75" fmla="*/ 371 h 492"/>
                    <a:gd name="T76" fmla="*/ 417 w 607"/>
                    <a:gd name="T77" fmla="*/ 325 h 492"/>
                    <a:gd name="T78" fmla="*/ 425 w 607"/>
                    <a:gd name="T79" fmla="*/ 291 h 492"/>
                    <a:gd name="T80" fmla="*/ 462 w 607"/>
                    <a:gd name="T81" fmla="*/ 275 h 492"/>
                    <a:gd name="T82" fmla="*/ 447 w 607"/>
                    <a:gd name="T83" fmla="*/ 258 h 492"/>
                    <a:gd name="T84" fmla="*/ 434 w 607"/>
                    <a:gd name="T85" fmla="*/ 238 h 492"/>
                    <a:gd name="T86" fmla="*/ 456 w 607"/>
                    <a:gd name="T87" fmla="*/ 246 h 492"/>
                    <a:gd name="T88" fmla="*/ 467 w 607"/>
                    <a:gd name="T89" fmla="*/ 242 h 492"/>
                    <a:gd name="T90" fmla="*/ 479 w 607"/>
                    <a:gd name="T91" fmla="*/ 222 h 492"/>
                    <a:gd name="T92" fmla="*/ 494 w 607"/>
                    <a:gd name="T93" fmla="*/ 188 h 492"/>
                    <a:gd name="T94" fmla="*/ 479 w 607"/>
                    <a:gd name="T95" fmla="*/ 144 h 492"/>
                    <a:gd name="T96" fmla="*/ 486 w 607"/>
                    <a:gd name="T97" fmla="*/ 109 h 492"/>
                    <a:gd name="T98" fmla="*/ 540 w 607"/>
                    <a:gd name="T99" fmla="*/ 88 h 492"/>
                    <a:gd name="T100" fmla="*/ 584 w 607"/>
                    <a:gd name="T101" fmla="*/ 88 h 492"/>
                    <a:gd name="T102" fmla="*/ 602 w 607"/>
                    <a:gd name="T103" fmla="*/ 78 h 4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07" h="492">
                      <a:moveTo>
                        <a:pt x="596" y="71"/>
                      </a:moveTo>
                      <a:cubicBezTo>
                        <a:pt x="594" y="65"/>
                        <a:pt x="600" y="65"/>
                        <a:pt x="607" y="64"/>
                      </a:cubicBezTo>
                      <a:cubicBezTo>
                        <a:pt x="600" y="59"/>
                        <a:pt x="600" y="59"/>
                        <a:pt x="600" y="59"/>
                      </a:cubicBezTo>
                      <a:cubicBezTo>
                        <a:pt x="587" y="59"/>
                        <a:pt x="587" y="59"/>
                        <a:pt x="587" y="59"/>
                      </a:cubicBezTo>
                      <a:cubicBezTo>
                        <a:pt x="563" y="67"/>
                        <a:pt x="563" y="67"/>
                        <a:pt x="563" y="67"/>
                      </a:cubicBezTo>
                      <a:cubicBezTo>
                        <a:pt x="561" y="57"/>
                        <a:pt x="561" y="57"/>
                        <a:pt x="561" y="57"/>
                      </a:cubicBezTo>
                      <a:cubicBezTo>
                        <a:pt x="561" y="57"/>
                        <a:pt x="537" y="54"/>
                        <a:pt x="530" y="62"/>
                      </a:cubicBezTo>
                      <a:cubicBezTo>
                        <a:pt x="523" y="70"/>
                        <a:pt x="516" y="81"/>
                        <a:pt x="516" y="81"/>
                      </a:cubicBezTo>
                      <a:cubicBezTo>
                        <a:pt x="506" y="81"/>
                        <a:pt x="506" y="81"/>
                        <a:pt x="506" y="81"/>
                      </a:cubicBezTo>
                      <a:cubicBezTo>
                        <a:pt x="506" y="81"/>
                        <a:pt x="492" y="97"/>
                        <a:pt x="485" y="100"/>
                      </a:cubicBezTo>
                      <a:cubicBezTo>
                        <a:pt x="478" y="103"/>
                        <a:pt x="462" y="75"/>
                        <a:pt x="462" y="75"/>
                      </a:cubicBezTo>
                      <a:cubicBezTo>
                        <a:pt x="455" y="33"/>
                        <a:pt x="455" y="33"/>
                        <a:pt x="455" y="33"/>
                      </a:cubicBezTo>
                      <a:cubicBezTo>
                        <a:pt x="441" y="33"/>
                        <a:pt x="441" y="33"/>
                        <a:pt x="441" y="33"/>
                      </a:cubicBezTo>
                      <a:cubicBezTo>
                        <a:pt x="441" y="33"/>
                        <a:pt x="441" y="19"/>
                        <a:pt x="441" y="14"/>
                      </a:cubicBezTo>
                      <a:cubicBezTo>
                        <a:pt x="441" y="9"/>
                        <a:pt x="430" y="0"/>
                        <a:pt x="421" y="0"/>
                      </a:cubicBezTo>
                      <a:cubicBezTo>
                        <a:pt x="412" y="0"/>
                        <a:pt x="413" y="15"/>
                        <a:pt x="413" y="19"/>
                      </a:cubicBezTo>
                      <a:cubicBezTo>
                        <a:pt x="413" y="23"/>
                        <a:pt x="399" y="26"/>
                        <a:pt x="399" y="33"/>
                      </a:cubicBezTo>
                      <a:cubicBezTo>
                        <a:pt x="399" y="40"/>
                        <a:pt x="407" y="40"/>
                        <a:pt x="407" y="40"/>
                      </a:cubicBezTo>
                      <a:cubicBezTo>
                        <a:pt x="402" y="54"/>
                        <a:pt x="402" y="54"/>
                        <a:pt x="402" y="54"/>
                      </a:cubicBezTo>
                      <a:cubicBezTo>
                        <a:pt x="395" y="48"/>
                        <a:pt x="395" y="48"/>
                        <a:pt x="395" y="48"/>
                      </a:cubicBezTo>
                      <a:cubicBezTo>
                        <a:pt x="395" y="48"/>
                        <a:pt x="373" y="49"/>
                        <a:pt x="368" y="54"/>
                      </a:cubicBezTo>
                      <a:cubicBezTo>
                        <a:pt x="363" y="59"/>
                        <a:pt x="368" y="77"/>
                        <a:pt x="364" y="79"/>
                      </a:cubicBezTo>
                      <a:cubicBezTo>
                        <a:pt x="360" y="81"/>
                        <a:pt x="349" y="64"/>
                        <a:pt x="346" y="64"/>
                      </a:cubicBezTo>
                      <a:cubicBezTo>
                        <a:pt x="343" y="64"/>
                        <a:pt x="318" y="84"/>
                        <a:pt x="315" y="83"/>
                      </a:cubicBezTo>
                      <a:cubicBezTo>
                        <a:pt x="312" y="82"/>
                        <a:pt x="292" y="66"/>
                        <a:pt x="292" y="66"/>
                      </a:cubicBezTo>
                      <a:cubicBezTo>
                        <a:pt x="287" y="66"/>
                        <a:pt x="287" y="66"/>
                        <a:pt x="287" y="66"/>
                      </a:cubicBezTo>
                      <a:cubicBezTo>
                        <a:pt x="276" y="71"/>
                        <a:pt x="276" y="71"/>
                        <a:pt x="276" y="71"/>
                      </a:cubicBezTo>
                      <a:cubicBezTo>
                        <a:pt x="267" y="57"/>
                        <a:pt x="267" y="57"/>
                        <a:pt x="267" y="57"/>
                      </a:cubicBezTo>
                      <a:cubicBezTo>
                        <a:pt x="259" y="63"/>
                        <a:pt x="259" y="63"/>
                        <a:pt x="259" y="63"/>
                      </a:cubicBezTo>
                      <a:cubicBezTo>
                        <a:pt x="229" y="63"/>
                        <a:pt x="229" y="63"/>
                        <a:pt x="229" y="63"/>
                      </a:cubicBezTo>
                      <a:cubicBezTo>
                        <a:pt x="229" y="63"/>
                        <a:pt x="215" y="50"/>
                        <a:pt x="207" y="50"/>
                      </a:cubicBezTo>
                      <a:cubicBezTo>
                        <a:pt x="199" y="50"/>
                        <a:pt x="200" y="67"/>
                        <a:pt x="200" y="67"/>
                      </a:cubicBezTo>
                      <a:cubicBezTo>
                        <a:pt x="200" y="67"/>
                        <a:pt x="181" y="62"/>
                        <a:pt x="171" y="72"/>
                      </a:cubicBezTo>
                      <a:cubicBezTo>
                        <a:pt x="161" y="82"/>
                        <a:pt x="166" y="110"/>
                        <a:pt x="166" y="116"/>
                      </a:cubicBezTo>
                      <a:cubicBezTo>
                        <a:pt x="166" y="122"/>
                        <a:pt x="157" y="120"/>
                        <a:pt x="157" y="120"/>
                      </a:cubicBezTo>
                      <a:cubicBezTo>
                        <a:pt x="157" y="120"/>
                        <a:pt x="144" y="129"/>
                        <a:pt x="137" y="136"/>
                      </a:cubicBezTo>
                      <a:cubicBezTo>
                        <a:pt x="130" y="143"/>
                        <a:pt x="112" y="142"/>
                        <a:pt x="112" y="142"/>
                      </a:cubicBezTo>
                      <a:cubicBezTo>
                        <a:pt x="112" y="142"/>
                        <a:pt x="112" y="158"/>
                        <a:pt x="107" y="167"/>
                      </a:cubicBezTo>
                      <a:cubicBezTo>
                        <a:pt x="102" y="176"/>
                        <a:pt x="77" y="177"/>
                        <a:pt x="77" y="177"/>
                      </a:cubicBezTo>
                      <a:cubicBezTo>
                        <a:pt x="61" y="161"/>
                        <a:pt x="61" y="161"/>
                        <a:pt x="61" y="161"/>
                      </a:cubicBezTo>
                      <a:cubicBezTo>
                        <a:pt x="61" y="161"/>
                        <a:pt x="54" y="164"/>
                        <a:pt x="49" y="164"/>
                      </a:cubicBezTo>
                      <a:cubicBezTo>
                        <a:pt x="44" y="164"/>
                        <a:pt x="30" y="154"/>
                        <a:pt x="30" y="154"/>
                      </a:cubicBezTo>
                      <a:cubicBezTo>
                        <a:pt x="30" y="154"/>
                        <a:pt x="24" y="161"/>
                        <a:pt x="23" y="168"/>
                      </a:cubicBezTo>
                      <a:cubicBezTo>
                        <a:pt x="22" y="175"/>
                        <a:pt x="29" y="205"/>
                        <a:pt x="29" y="205"/>
                      </a:cubicBezTo>
                      <a:cubicBezTo>
                        <a:pt x="15" y="209"/>
                        <a:pt x="15" y="209"/>
                        <a:pt x="15" y="209"/>
                      </a:cubicBezTo>
                      <a:cubicBezTo>
                        <a:pt x="20" y="220"/>
                        <a:pt x="20" y="220"/>
                        <a:pt x="20" y="220"/>
                      </a:cubicBezTo>
                      <a:cubicBezTo>
                        <a:pt x="20" y="220"/>
                        <a:pt x="6" y="225"/>
                        <a:pt x="3" y="230"/>
                      </a:cubicBezTo>
                      <a:cubicBezTo>
                        <a:pt x="0" y="235"/>
                        <a:pt x="11" y="244"/>
                        <a:pt x="11" y="244"/>
                      </a:cubicBezTo>
                      <a:cubicBezTo>
                        <a:pt x="9" y="263"/>
                        <a:pt x="9" y="263"/>
                        <a:pt x="9" y="263"/>
                      </a:cubicBezTo>
                      <a:cubicBezTo>
                        <a:pt x="9" y="263"/>
                        <a:pt x="30" y="260"/>
                        <a:pt x="31" y="266"/>
                      </a:cubicBezTo>
                      <a:cubicBezTo>
                        <a:pt x="32" y="272"/>
                        <a:pt x="17" y="280"/>
                        <a:pt x="15" y="293"/>
                      </a:cubicBezTo>
                      <a:cubicBezTo>
                        <a:pt x="13" y="306"/>
                        <a:pt x="40" y="330"/>
                        <a:pt x="40" y="341"/>
                      </a:cubicBezTo>
                      <a:cubicBezTo>
                        <a:pt x="40" y="352"/>
                        <a:pt x="40" y="366"/>
                        <a:pt x="40" y="374"/>
                      </a:cubicBezTo>
                      <a:cubicBezTo>
                        <a:pt x="40" y="382"/>
                        <a:pt x="70" y="382"/>
                        <a:pt x="70" y="382"/>
                      </a:cubicBezTo>
                      <a:cubicBezTo>
                        <a:pt x="70" y="382"/>
                        <a:pt x="85" y="377"/>
                        <a:pt x="91" y="394"/>
                      </a:cubicBezTo>
                      <a:cubicBezTo>
                        <a:pt x="97" y="411"/>
                        <a:pt x="86" y="424"/>
                        <a:pt x="79" y="434"/>
                      </a:cubicBezTo>
                      <a:cubicBezTo>
                        <a:pt x="72" y="444"/>
                        <a:pt x="56" y="458"/>
                        <a:pt x="56" y="462"/>
                      </a:cubicBezTo>
                      <a:cubicBezTo>
                        <a:pt x="56" y="466"/>
                        <a:pt x="61" y="467"/>
                        <a:pt x="61" y="467"/>
                      </a:cubicBezTo>
                      <a:cubicBezTo>
                        <a:pt x="61" y="467"/>
                        <a:pt x="73" y="464"/>
                        <a:pt x="82" y="469"/>
                      </a:cubicBezTo>
                      <a:cubicBezTo>
                        <a:pt x="91" y="474"/>
                        <a:pt x="121" y="492"/>
                        <a:pt x="142" y="490"/>
                      </a:cubicBezTo>
                      <a:cubicBezTo>
                        <a:pt x="163" y="488"/>
                        <a:pt x="161" y="483"/>
                        <a:pt x="161" y="483"/>
                      </a:cubicBezTo>
                      <a:cubicBezTo>
                        <a:pt x="196" y="484"/>
                        <a:pt x="196" y="484"/>
                        <a:pt x="196" y="484"/>
                      </a:cubicBezTo>
                      <a:cubicBezTo>
                        <a:pt x="196" y="484"/>
                        <a:pt x="193" y="488"/>
                        <a:pt x="205" y="488"/>
                      </a:cubicBezTo>
                      <a:cubicBezTo>
                        <a:pt x="217" y="488"/>
                        <a:pt x="218" y="482"/>
                        <a:pt x="218" y="482"/>
                      </a:cubicBezTo>
                      <a:cubicBezTo>
                        <a:pt x="218" y="482"/>
                        <a:pt x="260" y="480"/>
                        <a:pt x="263" y="479"/>
                      </a:cubicBezTo>
                      <a:cubicBezTo>
                        <a:pt x="266" y="478"/>
                        <a:pt x="305" y="465"/>
                        <a:pt x="307" y="459"/>
                      </a:cubicBezTo>
                      <a:cubicBezTo>
                        <a:pt x="309" y="453"/>
                        <a:pt x="303" y="433"/>
                        <a:pt x="303" y="433"/>
                      </a:cubicBezTo>
                      <a:cubicBezTo>
                        <a:pt x="303" y="433"/>
                        <a:pt x="296" y="409"/>
                        <a:pt x="298" y="403"/>
                      </a:cubicBezTo>
                      <a:cubicBezTo>
                        <a:pt x="300" y="397"/>
                        <a:pt x="315" y="384"/>
                        <a:pt x="323" y="384"/>
                      </a:cubicBezTo>
                      <a:cubicBezTo>
                        <a:pt x="331" y="384"/>
                        <a:pt x="327" y="390"/>
                        <a:pt x="327" y="390"/>
                      </a:cubicBezTo>
                      <a:cubicBezTo>
                        <a:pt x="327" y="390"/>
                        <a:pt x="357" y="395"/>
                        <a:pt x="359" y="389"/>
                      </a:cubicBezTo>
                      <a:cubicBezTo>
                        <a:pt x="361" y="383"/>
                        <a:pt x="344" y="381"/>
                        <a:pt x="348" y="376"/>
                      </a:cubicBezTo>
                      <a:cubicBezTo>
                        <a:pt x="352" y="371"/>
                        <a:pt x="366" y="367"/>
                        <a:pt x="366" y="367"/>
                      </a:cubicBezTo>
                      <a:cubicBezTo>
                        <a:pt x="366" y="367"/>
                        <a:pt x="373" y="361"/>
                        <a:pt x="381" y="361"/>
                      </a:cubicBezTo>
                      <a:cubicBezTo>
                        <a:pt x="389" y="361"/>
                        <a:pt x="399" y="359"/>
                        <a:pt x="399" y="359"/>
                      </a:cubicBezTo>
                      <a:cubicBezTo>
                        <a:pt x="399" y="359"/>
                        <a:pt x="396" y="378"/>
                        <a:pt x="409" y="371"/>
                      </a:cubicBezTo>
                      <a:cubicBezTo>
                        <a:pt x="422" y="364"/>
                        <a:pt x="425" y="355"/>
                        <a:pt x="425" y="355"/>
                      </a:cubicBezTo>
                      <a:cubicBezTo>
                        <a:pt x="425" y="355"/>
                        <a:pt x="416" y="337"/>
                        <a:pt x="417" y="325"/>
                      </a:cubicBezTo>
                      <a:cubicBezTo>
                        <a:pt x="418" y="313"/>
                        <a:pt x="424" y="316"/>
                        <a:pt x="424" y="316"/>
                      </a:cubicBezTo>
                      <a:cubicBezTo>
                        <a:pt x="424" y="316"/>
                        <a:pt x="421" y="294"/>
                        <a:pt x="425" y="291"/>
                      </a:cubicBezTo>
                      <a:cubicBezTo>
                        <a:pt x="429" y="288"/>
                        <a:pt x="442" y="289"/>
                        <a:pt x="442" y="289"/>
                      </a:cubicBezTo>
                      <a:cubicBezTo>
                        <a:pt x="462" y="275"/>
                        <a:pt x="462" y="275"/>
                        <a:pt x="462" y="275"/>
                      </a:cubicBezTo>
                      <a:cubicBezTo>
                        <a:pt x="462" y="275"/>
                        <a:pt x="451" y="276"/>
                        <a:pt x="449" y="269"/>
                      </a:cubicBezTo>
                      <a:cubicBezTo>
                        <a:pt x="447" y="262"/>
                        <a:pt x="447" y="258"/>
                        <a:pt x="447" y="258"/>
                      </a:cubicBezTo>
                      <a:cubicBezTo>
                        <a:pt x="447" y="258"/>
                        <a:pt x="432" y="254"/>
                        <a:pt x="431" y="249"/>
                      </a:cubicBezTo>
                      <a:cubicBezTo>
                        <a:pt x="430" y="244"/>
                        <a:pt x="430" y="239"/>
                        <a:pt x="434" y="238"/>
                      </a:cubicBezTo>
                      <a:cubicBezTo>
                        <a:pt x="438" y="237"/>
                        <a:pt x="445" y="245"/>
                        <a:pt x="445" y="245"/>
                      </a:cubicBezTo>
                      <a:cubicBezTo>
                        <a:pt x="456" y="246"/>
                        <a:pt x="456" y="246"/>
                        <a:pt x="456" y="246"/>
                      </a:cubicBezTo>
                      <a:cubicBezTo>
                        <a:pt x="463" y="249"/>
                        <a:pt x="463" y="249"/>
                        <a:pt x="463" y="249"/>
                      </a:cubicBezTo>
                      <a:cubicBezTo>
                        <a:pt x="467" y="242"/>
                        <a:pt x="467" y="242"/>
                        <a:pt x="467" y="242"/>
                      </a:cubicBezTo>
                      <a:cubicBezTo>
                        <a:pt x="467" y="242"/>
                        <a:pt x="478" y="245"/>
                        <a:pt x="479" y="238"/>
                      </a:cubicBezTo>
                      <a:cubicBezTo>
                        <a:pt x="480" y="231"/>
                        <a:pt x="479" y="222"/>
                        <a:pt x="479" y="222"/>
                      </a:cubicBezTo>
                      <a:cubicBezTo>
                        <a:pt x="479" y="222"/>
                        <a:pt x="472" y="221"/>
                        <a:pt x="473" y="212"/>
                      </a:cubicBezTo>
                      <a:cubicBezTo>
                        <a:pt x="474" y="203"/>
                        <a:pt x="491" y="195"/>
                        <a:pt x="494" y="188"/>
                      </a:cubicBezTo>
                      <a:cubicBezTo>
                        <a:pt x="497" y="181"/>
                        <a:pt x="487" y="173"/>
                        <a:pt x="487" y="173"/>
                      </a:cubicBezTo>
                      <a:cubicBezTo>
                        <a:pt x="487" y="173"/>
                        <a:pt x="490" y="156"/>
                        <a:pt x="479" y="144"/>
                      </a:cubicBezTo>
                      <a:cubicBezTo>
                        <a:pt x="468" y="132"/>
                        <a:pt x="463" y="136"/>
                        <a:pt x="469" y="124"/>
                      </a:cubicBezTo>
                      <a:cubicBezTo>
                        <a:pt x="475" y="112"/>
                        <a:pt x="486" y="109"/>
                        <a:pt x="486" y="109"/>
                      </a:cubicBezTo>
                      <a:cubicBezTo>
                        <a:pt x="486" y="109"/>
                        <a:pt x="509" y="93"/>
                        <a:pt x="516" y="90"/>
                      </a:cubicBezTo>
                      <a:cubicBezTo>
                        <a:pt x="523" y="87"/>
                        <a:pt x="540" y="88"/>
                        <a:pt x="540" y="88"/>
                      </a:cubicBezTo>
                      <a:cubicBezTo>
                        <a:pt x="540" y="88"/>
                        <a:pt x="563" y="83"/>
                        <a:pt x="566" y="83"/>
                      </a:cubicBezTo>
                      <a:cubicBezTo>
                        <a:pt x="569" y="83"/>
                        <a:pt x="579" y="89"/>
                        <a:pt x="584" y="88"/>
                      </a:cubicBezTo>
                      <a:cubicBezTo>
                        <a:pt x="587" y="87"/>
                        <a:pt x="596" y="82"/>
                        <a:pt x="602" y="78"/>
                      </a:cubicBezTo>
                      <a:cubicBezTo>
                        <a:pt x="602" y="78"/>
                        <a:pt x="602" y="78"/>
                        <a:pt x="602" y="78"/>
                      </a:cubicBezTo>
                      <a:cubicBezTo>
                        <a:pt x="599" y="76"/>
                        <a:pt x="597" y="74"/>
                        <a:pt x="596" y="7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14" name="Africa">
                <a:extLst>
                  <a:ext uri="{FF2B5EF4-FFF2-40B4-BE49-F238E27FC236}">
                    <a16:creationId xmlns:a16="http://schemas.microsoft.com/office/drawing/2014/main" id="{B6261796-70B1-7A66-A52D-DFD89CC3CA1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079181" y="2957001"/>
                <a:ext cx="2332580" cy="2796139"/>
                <a:chOff x="3409289" y="1387474"/>
                <a:chExt cx="5631978" cy="5151439"/>
              </a:xfrm>
            </p:grpSpPr>
            <p:sp>
              <p:nvSpPr>
                <p:cNvPr id="15" name="Zimbabwe">
                  <a:extLst>
                    <a:ext uri="{FF2B5EF4-FFF2-40B4-BE49-F238E27FC236}">
                      <a16:creationId xmlns:a16="http://schemas.microsoft.com/office/drawing/2014/main" id="{5CE577F8-0E08-0066-1432-6ED145D9F3E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25790" y="5166445"/>
                  <a:ext cx="616257" cy="485063"/>
                </a:xfrm>
                <a:custGeom>
                  <a:avLst/>
                  <a:gdLst>
                    <a:gd name="T0" fmla="*/ 11 w 372"/>
                    <a:gd name="T1" fmla="*/ 136 h 366"/>
                    <a:gd name="T2" fmla="*/ 11 w 372"/>
                    <a:gd name="T3" fmla="*/ 156 h 366"/>
                    <a:gd name="T4" fmla="*/ 23 w 372"/>
                    <a:gd name="T5" fmla="*/ 160 h 366"/>
                    <a:gd name="T6" fmla="*/ 33 w 372"/>
                    <a:gd name="T7" fmla="*/ 181 h 366"/>
                    <a:gd name="T8" fmla="*/ 42 w 372"/>
                    <a:gd name="T9" fmla="*/ 213 h 366"/>
                    <a:gd name="T10" fmla="*/ 70 w 372"/>
                    <a:gd name="T11" fmla="*/ 234 h 366"/>
                    <a:gd name="T12" fmla="*/ 90 w 372"/>
                    <a:gd name="T13" fmla="*/ 238 h 366"/>
                    <a:gd name="T14" fmla="*/ 91 w 372"/>
                    <a:gd name="T15" fmla="*/ 260 h 366"/>
                    <a:gd name="T16" fmla="*/ 112 w 372"/>
                    <a:gd name="T17" fmla="*/ 261 h 366"/>
                    <a:gd name="T18" fmla="*/ 114 w 372"/>
                    <a:gd name="T19" fmla="*/ 276 h 366"/>
                    <a:gd name="T20" fmla="*/ 110 w 372"/>
                    <a:gd name="T21" fmla="*/ 281 h 366"/>
                    <a:gd name="T22" fmla="*/ 110 w 372"/>
                    <a:gd name="T23" fmla="*/ 299 h 366"/>
                    <a:gd name="T24" fmla="*/ 122 w 372"/>
                    <a:gd name="T25" fmla="*/ 304 h 366"/>
                    <a:gd name="T26" fmla="*/ 122 w 372"/>
                    <a:gd name="T27" fmla="*/ 319 h 366"/>
                    <a:gd name="T28" fmla="*/ 161 w 372"/>
                    <a:gd name="T29" fmla="*/ 327 h 366"/>
                    <a:gd name="T30" fmla="*/ 180 w 372"/>
                    <a:gd name="T31" fmla="*/ 352 h 366"/>
                    <a:gd name="T32" fmla="*/ 167 w 372"/>
                    <a:gd name="T33" fmla="*/ 353 h 366"/>
                    <a:gd name="T34" fmla="*/ 206 w 372"/>
                    <a:gd name="T35" fmla="*/ 351 h 366"/>
                    <a:gd name="T36" fmla="*/ 230 w 372"/>
                    <a:gd name="T37" fmla="*/ 359 h 366"/>
                    <a:gd name="T38" fmla="*/ 265 w 372"/>
                    <a:gd name="T39" fmla="*/ 359 h 366"/>
                    <a:gd name="T40" fmla="*/ 277 w 372"/>
                    <a:gd name="T41" fmla="*/ 366 h 366"/>
                    <a:gd name="T42" fmla="*/ 324 w 372"/>
                    <a:gd name="T43" fmla="*/ 310 h 366"/>
                    <a:gd name="T44" fmla="*/ 334 w 372"/>
                    <a:gd name="T45" fmla="*/ 307 h 366"/>
                    <a:gd name="T46" fmla="*/ 325 w 372"/>
                    <a:gd name="T47" fmla="*/ 294 h 366"/>
                    <a:gd name="T48" fmla="*/ 333 w 372"/>
                    <a:gd name="T49" fmla="*/ 289 h 366"/>
                    <a:gd name="T50" fmla="*/ 334 w 372"/>
                    <a:gd name="T51" fmla="*/ 266 h 366"/>
                    <a:gd name="T52" fmla="*/ 350 w 372"/>
                    <a:gd name="T53" fmla="*/ 257 h 366"/>
                    <a:gd name="T54" fmla="*/ 354 w 372"/>
                    <a:gd name="T55" fmla="*/ 242 h 366"/>
                    <a:gd name="T56" fmla="*/ 364 w 372"/>
                    <a:gd name="T57" fmla="*/ 229 h 366"/>
                    <a:gd name="T58" fmla="*/ 346 w 372"/>
                    <a:gd name="T59" fmla="*/ 206 h 366"/>
                    <a:gd name="T60" fmla="*/ 360 w 372"/>
                    <a:gd name="T61" fmla="*/ 190 h 366"/>
                    <a:gd name="T62" fmla="*/ 346 w 372"/>
                    <a:gd name="T63" fmla="*/ 174 h 366"/>
                    <a:gd name="T64" fmla="*/ 360 w 372"/>
                    <a:gd name="T65" fmla="*/ 167 h 366"/>
                    <a:gd name="T66" fmla="*/ 360 w 372"/>
                    <a:gd name="T67" fmla="*/ 158 h 366"/>
                    <a:gd name="T68" fmla="*/ 366 w 372"/>
                    <a:gd name="T69" fmla="*/ 145 h 366"/>
                    <a:gd name="T70" fmla="*/ 358 w 372"/>
                    <a:gd name="T71" fmla="*/ 119 h 366"/>
                    <a:gd name="T72" fmla="*/ 366 w 372"/>
                    <a:gd name="T73" fmla="*/ 107 h 366"/>
                    <a:gd name="T74" fmla="*/ 360 w 372"/>
                    <a:gd name="T75" fmla="*/ 99 h 366"/>
                    <a:gd name="T76" fmla="*/ 366 w 372"/>
                    <a:gd name="T77" fmla="*/ 90 h 366"/>
                    <a:gd name="T78" fmla="*/ 358 w 372"/>
                    <a:gd name="T79" fmla="*/ 81 h 366"/>
                    <a:gd name="T80" fmla="*/ 368 w 372"/>
                    <a:gd name="T81" fmla="*/ 63 h 366"/>
                    <a:gd name="T82" fmla="*/ 349 w 372"/>
                    <a:gd name="T83" fmla="*/ 55 h 366"/>
                    <a:gd name="T84" fmla="*/ 336 w 372"/>
                    <a:gd name="T85" fmla="*/ 43 h 366"/>
                    <a:gd name="T86" fmla="*/ 318 w 372"/>
                    <a:gd name="T87" fmla="*/ 46 h 366"/>
                    <a:gd name="T88" fmla="*/ 308 w 372"/>
                    <a:gd name="T89" fmla="*/ 30 h 366"/>
                    <a:gd name="T90" fmla="*/ 293 w 372"/>
                    <a:gd name="T91" fmla="*/ 33 h 366"/>
                    <a:gd name="T92" fmla="*/ 285 w 372"/>
                    <a:gd name="T93" fmla="*/ 21 h 366"/>
                    <a:gd name="T94" fmla="*/ 246 w 372"/>
                    <a:gd name="T95" fmla="*/ 21 h 366"/>
                    <a:gd name="T96" fmla="*/ 245 w 372"/>
                    <a:gd name="T97" fmla="*/ 1 h 366"/>
                    <a:gd name="T98" fmla="*/ 205 w 372"/>
                    <a:gd name="T99" fmla="*/ 5 h 366"/>
                    <a:gd name="T100" fmla="*/ 170 w 372"/>
                    <a:gd name="T101" fmla="*/ 25 h 366"/>
                    <a:gd name="T102" fmla="*/ 172 w 372"/>
                    <a:gd name="T103" fmla="*/ 49 h 366"/>
                    <a:gd name="T104" fmla="*/ 125 w 372"/>
                    <a:gd name="T105" fmla="*/ 68 h 366"/>
                    <a:gd name="T106" fmla="*/ 116 w 372"/>
                    <a:gd name="T107" fmla="*/ 91 h 366"/>
                    <a:gd name="T108" fmla="*/ 77 w 372"/>
                    <a:gd name="T109" fmla="*/ 127 h 366"/>
                    <a:gd name="T110" fmla="*/ 51 w 372"/>
                    <a:gd name="T111" fmla="*/ 121 h 366"/>
                    <a:gd name="T112" fmla="*/ 38 w 372"/>
                    <a:gd name="T113" fmla="*/ 127 h 366"/>
                    <a:gd name="T114" fmla="*/ 26 w 372"/>
                    <a:gd name="T115" fmla="*/ 117 h 366"/>
                    <a:gd name="T116" fmla="*/ 0 w 372"/>
                    <a:gd name="T117" fmla="*/ 117 h 366"/>
                    <a:gd name="T118" fmla="*/ 2 w 372"/>
                    <a:gd name="T119" fmla="*/ 127 h 366"/>
                    <a:gd name="T120" fmla="*/ 11 w 372"/>
                    <a:gd name="T121" fmla="*/ 136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72" h="366">
                      <a:moveTo>
                        <a:pt x="11" y="136"/>
                      </a:moveTo>
                      <a:cubicBezTo>
                        <a:pt x="11" y="156"/>
                        <a:pt x="11" y="156"/>
                        <a:pt x="11" y="156"/>
                      </a:cubicBezTo>
                      <a:cubicBezTo>
                        <a:pt x="11" y="156"/>
                        <a:pt x="19" y="150"/>
                        <a:pt x="23" y="160"/>
                      </a:cubicBezTo>
                      <a:cubicBezTo>
                        <a:pt x="27" y="170"/>
                        <a:pt x="33" y="181"/>
                        <a:pt x="33" y="181"/>
                      </a:cubicBezTo>
                      <a:cubicBezTo>
                        <a:pt x="33" y="181"/>
                        <a:pt x="35" y="204"/>
                        <a:pt x="42" y="213"/>
                      </a:cubicBezTo>
                      <a:cubicBezTo>
                        <a:pt x="49" y="222"/>
                        <a:pt x="70" y="234"/>
                        <a:pt x="70" y="234"/>
                      </a:cubicBezTo>
                      <a:cubicBezTo>
                        <a:pt x="70" y="234"/>
                        <a:pt x="88" y="231"/>
                        <a:pt x="90" y="238"/>
                      </a:cubicBezTo>
                      <a:cubicBezTo>
                        <a:pt x="92" y="245"/>
                        <a:pt x="91" y="260"/>
                        <a:pt x="91" y="260"/>
                      </a:cubicBezTo>
                      <a:cubicBezTo>
                        <a:pt x="112" y="261"/>
                        <a:pt x="112" y="261"/>
                        <a:pt x="112" y="261"/>
                      </a:cubicBezTo>
                      <a:cubicBezTo>
                        <a:pt x="114" y="276"/>
                        <a:pt x="114" y="276"/>
                        <a:pt x="114" y="276"/>
                      </a:cubicBezTo>
                      <a:cubicBezTo>
                        <a:pt x="110" y="281"/>
                        <a:pt x="110" y="281"/>
                        <a:pt x="110" y="281"/>
                      </a:cubicBezTo>
                      <a:cubicBezTo>
                        <a:pt x="110" y="299"/>
                        <a:pt x="110" y="299"/>
                        <a:pt x="110" y="299"/>
                      </a:cubicBezTo>
                      <a:cubicBezTo>
                        <a:pt x="110" y="299"/>
                        <a:pt x="122" y="297"/>
                        <a:pt x="122" y="304"/>
                      </a:cubicBezTo>
                      <a:cubicBezTo>
                        <a:pt x="122" y="311"/>
                        <a:pt x="122" y="319"/>
                        <a:pt x="122" y="319"/>
                      </a:cubicBezTo>
                      <a:cubicBezTo>
                        <a:pt x="122" y="319"/>
                        <a:pt x="148" y="322"/>
                        <a:pt x="161" y="327"/>
                      </a:cubicBezTo>
                      <a:cubicBezTo>
                        <a:pt x="171" y="331"/>
                        <a:pt x="177" y="345"/>
                        <a:pt x="180" y="352"/>
                      </a:cubicBezTo>
                      <a:cubicBezTo>
                        <a:pt x="167" y="353"/>
                        <a:pt x="167" y="353"/>
                        <a:pt x="167" y="353"/>
                      </a:cubicBezTo>
                      <a:cubicBezTo>
                        <a:pt x="206" y="351"/>
                        <a:pt x="206" y="351"/>
                        <a:pt x="206" y="351"/>
                      </a:cubicBezTo>
                      <a:cubicBezTo>
                        <a:pt x="206" y="351"/>
                        <a:pt x="222" y="358"/>
                        <a:pt x="230" y="359"/>
                      </a:cubicBezTo>
                      <a:cubicBezTo>
                        <a:pt x="238" y="360"/>
                        <a:pt x="265" y="359"/>
                        <a:pt x="265" y="359"/>
                      </a:cubicBezTo>
                      <a:cubicBezTo>
                        <a:pt x="277" y="366"/>
                        <a:pt x="277" y="366"/>
                        <a:pt x="277" y="366"/>
                      </a:cubicBezTo>
                      <a:cubicBezTo>
                        <a:pt x="324" y="310"/>
                        <a:pt x="324" y="310"/>
                        <a:pt x="324" y="310"/>
                      </a:cubicBezTo>
                      <a:cubicBezTo>
                        <a:pt x="334" y="307"/>
                        <a:pt x="334" y="307"/>
                        <a:pt x="334" y="307"/>
                      </a:cubicBezTo>
                      <a:cubicBezTo>
                        <a:pt x="325" y="294"/>
                        <a:pt x="325" y="294"/>
                        <a:pt x="325" y="294"/>
                      </a:cubicBezTo>
                      <a:cubicBezTo>
                        <a:pt x="333" y="289"/>
                        <a:pt x="333" y="289"/>
                        <a:pt x="333" y="289"/>
                      </a:cubicBezTo>
                      <a:cubicBezTo>
                        <a:pt x="334" y="266"/>
                        <a:pt x="334" y="266"/>
                        <a:pt x="334" y="266"/>
                      </a:cubicBezTo>
                      <a:cubicBezTo>
                        <a:pt x="334" y="266"/>
                        <a:pt x="349" y="265"/>
                        <a:pt x="350" y="257"/>
                      </a:cubicBezTo>
                      <a:cubicBezTo>
                        <a:pt x="352" y="249"/>
                        <a:pt x="354" y="242"/>
                        <a:pt x="354" y="242"/>
                      </a:cubicBezTo>
                      <a:cubicBezTo>
                        <a:pt x="354" y="242"/>
                        <a:pt x="365" y="235"/>
                        <a:pt x="364" y="229"/>
                      </a:cubicBezTo>
                      <a:cubicBezTo>
                        <a:pt x="362" y="222"/>
                        <a:pt x="345" y="211"/>
                        <a:pt x="346" y="206"/>
                      </a:cubicBezTo>
                      <a:cubicBezTo>
                        <a:pt x="348" y="201"/>
                        <a:pt x="360" y="190"/>
                        <a:pt x="360" y="190"/>
                      </a:cubicBezTo>
                      <a:cubicBezTo>
                        <a:pt x="346" y="174"/>
                        <a:pt x="346" y="174"/>
                        <a:pt x="346" y="174"/>
                      </a:cubicBezTo>
                      <a:cubicBezTo>
                        <a:pt x="360" y="167"/>
                        <a:pt x="360" y="167"/>
                        <a:pt x="360" y="167"/>
                      </a:cubicBezTo>
                      <a:cubicBezTo>
                        <a:pt x="360" y="158"/>
                        <a:pt x="360" y="158"/>
                        <a:pt x="360" y="158"/>
                      </a:cubicBezTo>
                      <a:cubicBezTo>
                        <a:pt x="360" y="158"/>
                        <a:pt x="369" y="158"/>
                        <a:pt x="366" y="145"/>
                      </a:cubicBezTo>
                      <a:cubicBezTo>
                        <a:pt x="364" y="131"/>
                        <a:pt x="356" y="125"/>
                        <a:pt x="358" y="119"/>
                      </a:cubicBezTo>
                      <a:cubicBezTo>
                        <a:pt x="361" y="114"/>
                        <a:pt x="366" y="107"/>
                        <a:pt x="366" y="107"/>
                      </a:cubicBezTo>
                      <a:cubicBezTo>
                        <a:pt x="360" y="99"/>
                        <a:pt x="360" y="99"/>
                        <a:pt x="360" y="99"/>
                      </a:cubicBezTo>
                      <a:cubicBezTo>
                        <a:pt x="366" y="90"/>
                        <a:pt x="366" y="90"/>
                        <a:pt x="366" y="90"/>
                      </a:cubicBezTo>
                      <a:cubicBezTo>
                        <a:pt x="358" y="81"/>
                        <a:pt x="358" y="81"/>
                        <a:pt x="358" y="81"/>
                      </a:cubicBezTo>
                      <a:cubicBezTo>
                        <a:pt x="358" y="81"/>
                        <a:pt x="372" y="71"/>
                        <a:pt x="368" y="63"/>
                      </a:cubicBezTo>
                      <a:cubicBezTo>
                        <a:pt x="364" y="55"/>
                        <a:pt x="349" y="55"/>
                        <a:pt x="349" y="55"/>
                      </a:cubicBezTo>
                      <a:cubicBezTo>
                        <a:pt x="349" y="55"/>
                        <a:pt x="344" y="43"/>
                        <a:pt x="336" y="43"/>
                      </a:cubicBezTo>
                      <a:cubicBezTo>
                        <a:pt x="328" y="43"/>
                        <a:pt x="318" y="46"/>
                        <a:pt x="318" y="46"/>
                      </a:cubicBezTo>
                      <a:cubicBezTo>
                        <a:pt x="308" y="30"/>
                        <a:pt x="308" y="30"/>
                        <a:pt x="308" y="30"/>
                      </a:cubicBezTo>
                      <a:cubicBezTo>
                        <a:pt x="293" y="33"/>
                        <a:pt x="293" y="33"/>
                        <a:pt x="293" y="33"/>
                      </a:cubicBezTo>
                      <a:cubicBezTo>
                        <a:pt x="285" y="21"/>
                        <a:pt x="285" y="21"/>
                        <a:pt x="285" y="21"/>
                      </a:cubicBezTo>
                      <a:cubicBezTo>
                        <a:pt x="246" y="21"/>
                        <a:pt x="246" y="21"/>
                        <a:pt x="246" y="21"/>
                      </a:cubicBezTo>
                      <a:cubicBezTo>
                        <a:pt x="245" y="1"/>
                        <a:pt x="245" y="1"/>
                        <a:pt x="245" y="1"/>
                      </a:cubicBezTo>
                      <a:cubicBezTo>
                        <a:pt x="236" y="0"/>
                        <a:pt x="218" y="0"/>
                        <a:pt x="205" y="5"/>
                      </a:cubicBezTo>
                      <a:cubicBezTo>
                        <a:pt x="188" y="11"/>
                        <a:pt x="170" y="25"/>
                        <a:pt x="170" y="25"/>
                      </a:cubicBezTo>
                      <a:cubicBezTo>
                        <a:pt x="170" y="25"/>
                        <a:pt x="173" y="48"/>
                        <a:pt x="172" y="49"/>
                      </a:cubicBezTo>
                      <a:cubicBezTo>
                        <a:pt x="171" y="50"/>
                        <a:pt x="132" y="61"/>
                        <a:pt x="125" y="68"/>
                      </a:cubicBezTo>
                      <a:cubicBezTo>
                        <a:pt x="118" y="75"/>
                        <a:pt x="116" y="91"/>
                        <a:pt x="116" y="91"/>
                      </a:cubicBezTo>
                      <a:cubicBezTo>
                        <a:pt x="116" y="91"/>
                        <a:pt x="95" y="118"/>
                        <a:pt x="77" y="127"/>
                      </a:cubicBezTo>
                      <a:cubicBezTo>
                        <a:pt x="59" y="136"/>
                        <a:pt x="58" y="127"/>
                        <a:pt x="51" y="121"/>
                      </a:cubicBezTo>
                      <a:cubicBezTo>
                        <a:pt x="44" y="115"/>
                        <a:pt x="42" y="127"/>
                        <a:pt x="38" y="127"/>
                      </a:cubicBezTo>
                      <a:cubicBezTo>
                        <a:pt x="34" y="127"/>
                        <a:pt x="28" y="121"/>
                        <a:pt x="26" y="117"/>
                      </a:cubicBezTo>
                      <a:cubicBezTo>
                        <a:pt x="24" y="113"/>
                        <a:pt x="0" y="117"/>
                        <a:pt x="0" y="117"/>
                      </a:cubicBezTo>
                      <a:cubicBezTo>
                        <a:pt x="2" y="127"/>
                        <a:pt x="2" y="127"/>
                        <a:pt x="2" y="127"/>
                      </a:cubicBezTo>
                      <a:lnTo>
                        <a:pt x="11" y="13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6" name="Zambia">
                  <a:extLst>
                    <a:ext uri="{FF2B5EF4-FFF2-40B4-BE49-F238E27FC236}">
                      <a16:creationId xmlns:a16="http://schemas.microsoft.com/office/drawing/2014/main" id="{991875A1-DBB2-065A-D944-EFF4E6CCE20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76470" y="4636265"/>
                  <a:ext cx="931446" cy="710674"/>
                </a:xfrm>
                <a:custGeom>
                  <a:avLst/>
                  <a:gdLst>
                    <a:gd name="T0" fmla="*/ 551 w 563"/>
                    <a:gd name="T1" fmla="*/ 109 h 536"/>
                    <a:gd name="T2" fmla="*/ 540 w 563"/>
                    <a:gd name="T3" fmla="*/ 84 h 536"/>
                    <a:gd name="T4" fmla="*/ 525 w 563"/>
                    <a:gd name="T5" fmla="*/ 69 h 536"/>
                    <a:gd name="T6" fmla="*/ 502 w 563"/>
                    <a:gd name="T7" fmla="*/ 60 h 536"/>
                    <a:gd name="T8" fmla="*/ 485 w 563"/>
                    <a:gd name="T9" fmla="*/ 51 h 536"/>
                    <a:gd name="T10" fmla="*/ 461 w 563"/>
                    <a:gd name="T11" fmla="*/ 38 h 536"/>
                    <a:gd name="T12" fmla="*/ 436 w 563"/>
                    <a:gd name="T13" fmla="*/ 26 h 536"/>
                    <a:gd name="T14" fmla="*/ 419 w 563"/>
                    <a:gd name="T15" fmla="*/ 25 h 536"/>
                    <a:gd name="T16" fmla="*/ 402 w 563"/>
                    <a:gd name="T17" fmla="*/ 0 h 536"/>
                    <a:gd name="T18" fmla="*/ 333 w 563"/>
                    <a:gd name="T19" fmla="*/ 15 h 536"/>
                    <a:gd name="T20" fmla="*/ 306 w 563"/>
                    <a:gd name="T21" fmla="*/ 57 h 536"/>
                    <a:gd name="T22" fmla="*/ 320 w 563"/>
                    <a:gd name="T23" fmla="*/ 87 h 536"/>
                    <a:gd name="T24" fmla="*/ 304 w 563"/>
                    <a:gd name="T25" fmla="*/ 189 h 536"/>
                    <a:gd name="T26" fmla="*/ 351 w 563"/>
                    <a:gd name="T27" fmla="*/ 230 h 536"/>
                    <a:gd name="T28" fmla="*/ 364 w 563"/>
                    <a:gd name="T29" fmla="*/ 214 h 536"/>
                    <a:gd name="T30" fmla="*/ 367 w 563"/>
                    <a:gd name="T31" fmla="*/ 282 h 536"/>
                    <a:gd name="T32" fmla="*/ 344 w 563"/>
                    <a:gd name="T33" fmla="*/ 281 h 536"/>
                    <a:gd name="T34" fmla="*/ 324 w 563"/>
                    <a:gd name="T35" fmla="*/ 251 h 536"/>
                    <a:gd name="T36" fmla="*/ 305 w 563"/>
                    <a:gd name="T37" fmla="*/ 228 h 536"/>
                    <a:gd name="T38" fmla="*/ 282 w 563"/>
                    <a:gd name="T39" fmla="*/ 216 h 536"/>
                    <a:gd name="T40" fmla="*/ 267 w 563"/>
                    <a:gd name="T41" fmla="*/ 203 h 536"/>
                    <a:gd name="T42" fmla="*/ 246 w 563"/>
                    <a:gd name="T43" fmla="*/ 179 h 536"/>
                    <a:gd name="T44" fmla="*/ 165 w 563"/>
                    <a:gd name="T45" fmla="*/ 188 h 536"/>
                    <a:gd name="T46" fmla="*/ 128 w 563"/>
                    <a:gd name="T47" fmla="*/ 168 h 536"/>
                    <a:gd name="T48" fmla="*/ 117 w 563"/>
                    <a:gd name="T49" fmla="*/ 151 h 536"/>
                    <a:gd name="T50" fmla="*/ 101 w 563"/>
                    <a:gd name="T51" fmla="*/ 144 h 536"/>
                    <a:gd name="T52" fmla="*/ 107 w 563"/>
                    <a:gd name="T53" fmla="*/ 178 h 536"/>
                    <a:gd name="T54" fmla="*/ 98 w 563"/>
                    <a:gd name="T55" fmla="*/ 218 h 536"/>
                    <a:gd name="T56" fmla="*/ 93 w 563"/>
                    <a:gd name="T57" fmla="*/ 232 h 536"/>
                    <a:gd name="T58" fmla="*/ 84 w 563"/>
                    <a:gd name="T59" fmla="*/ 262 h 536"/>
                    <a:gd name="T60" fmla="*/ 0 w 563"/>
                    <a:gd name="T61" fmla="*/ 427 h 536"/>
                    <a:gd name="T62" fmla="*/ 6 w 563"/>
                    <a:gd name="T63" fmla="*/ 449 h 536"/>
                    <a:gd name="T64" fmla="*/ 79 w 563"/>
                    <a:gd name="T65" fmla="*/ 511 h 536"/>
                    <a:gd name="T66" fmla="*/ 108 w 563"/>
                    <a:gd name="T67" fmla="*/ 498 h 536"/>
                    <a:gd name="T68" fmla="*/ 138 w 563"/>
                    <a:gd name="T69" fmla="*/ 504 h 536"/>
                    <a:gd name="T70" fmla="*/ 177 w 563"/>
                    <a:gd name="T71" fmla="*/ 517 h 536"/>
                    <a:gd name="T72" fmla="*/ 202 w 563"/>
                    <a:gd name="T73" fmla="*/ 521 h 536"/>
                    <a:gd name="T74" fmla="*/ 267 w 563"/>
                    <a:gd name="T75" fmla="*/ 491 h 536"/>
                    <a:gd name="T76" fmla="*/ 323 w 563"/>
                    <a:gd name="T77" fmla="*/ 449 h 536"/>
                    <a:gd name="T78" fmla="*/ 356 w 563"/>
                    <a:gd name="T79" fmla="*/ 405 h 536"/>
                    <a:gd name="T80" fmla="*/ 395 w 563"/>
                    <a:gd name="T81" fmla="*/ 385 h 536"/>
                    <a:gd name="T82" fmla="*/ 411 w 563"/>
                    <a:gd name="T83" fmla="*/ 362 h 536"/>
                    <a:gd name="T84" fmla="*/ 475 w 563"/>
                    <a:gd name="T85" fmla="*/ 338 h 536"/>
                    <a:gd name="T86" fmla="*/ 506 w 563"/>
                    <a:gd name="T87" fmla="*/ 294 h 536"/>
                    <a:gd name="T88" fmla="*/ 519 w 563"/>
                    <a:gd name="T89" fmla="*/ 243 h 536"/>
                    <a:gd name="T90" fmla="*/ 539 w 563"/>
                    <a:gd name="T91" fmla="*/ 221 h 536"/>
                    <a:gd name="T92" fmla="*/ 542 w 563"/>
                    <a:gd name="T93" fmla="*/ 160 h 536"/>
                    <a:gd name="T94" fmla="*/ 535 w 563"/>
                    <a:gd name="T95" fmla="*/ 143 h 536"/>
                    <a:gd name="T96" fmla="*/ 551 w 563"/>
                    <a:gd name="T97" fmla="*/ 122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563" h="536">
                      <a:moveTo>
                        <a:pt x="551" y="122"/>
                      </a:moveTo>
                      <a:cubicBezTo>
                        <a:pt x="551" y="109"/>
                        <a:pt x="551" y="109"/>
                        <a:pt x="551" y="109"/>
                      </a:cubicBezTo>
                      <a:cubicBezTo>
                        <a:pt x="551" y="109"/>
                        <a:pt x="545" y="110"/>
                        <a:pt x="542" y="110"/>
                      </a:cubicBezTo>
                      <a:cubicBezTo>
                        <a:pt x="539" y="110"/>
                        <a:pt x="541" y="91"/>
                        <a:pt x="540" y="84"/>
                      </a:cubicBezTo>
                      <a:cubicBezTo>
                        <a:pt x="539" y="77"/>
                        <a:pt x="525" y="77"/>
                        <a:pt x="525" y="77"/>
                      </a:cubicBezTo>
                      <a:cubicBezTo>
                        <a:pt x="525" y="69"/>
                        <a:pt x="525" y="69"/>
                        <a:pt x="525" y="69"/>
                      </a:cubicBezTo>
                      <a:cubicBezTo>
                        <a:pt x="514" y="59"/>
                        <a:pt x="514" y="59"/>
                        <a:pt x="514" y="59"/>
                      </a:cubicBezTo>
                      <a:cubicBezTo>
                        <a:pt x="502" y="60"/>
                        <a:pt x="502" y="60"/>
                        <a:pt x="502" y="60"/>
                      </a:cubicBezTo>
                      <a:cubicBezTo>
                        <a:pt x="500" y="49"/>
                        <a:pt x="500" y="49"/>
                        <a:pt x="500" y="49"/>
                      </a:cubicBezTo>
                      <a:cubicBezTo>
                        <a:pt x="500" y="49"/>
                        <a:pt x="490" y="55"/>
                        <a:pt x="485" y="51"/>
                      </a:cubicBezTo>
                      <a:cubicBezTo>
                        <a:pt x="480" y="47"/>
                        <a:pt x="473" y="38"/>
                        <a:pt x="473" y="38"/>
                      </a:cubicBezTo>
                      <a:cubicBezTo>
                        <a:pt x="473" y="38"/>
                        <a:pt x="464" y="41"/>
                        <a:pt x="461" y="38"/>
                      </a:cubicBezTo>
                      <a:cubicBezTo>
                        <a:pt x="458" y="35"/>
                        <a:pt x="456" y="23"/>
                        <a:pt x="456" y="23"/>
                      </a:cubicBezTo>
                      <a:cubicBezTo>
                        <a:pt x="456" y="23"/>
                        <a:pt x="444" y="27"/>
                        <a:pt x="436" y="26"/>
                      </a:cubicBezTo>
                      <a:cubicBezTo>
                        <a:pt x="434" y="31"/>
                        <a:pt x="431" y="36"/>
                        <a:pt x="428" y="38"/>
                      </a:cubicBezTo>
                      <a:cubicBezTo>
                        <a:pt x="420" y="42"/>
                        <a:pt x="419" y="25"/>
                        <a:pt x="419" y="25"/>
                      </a:cubicBezTo>
                      <a:cubicBezTo>
                        <a:pt x="419" y="25"/>
                        <a:pt x="411" y="20"/>
                        <a:pt x="400" y="16"/>
                      </a:cubicBezTo>
                      <a:cubicBezTo>
                        <a:pt x="393" y="13"/>
                        <a:pt x="398" y="6"/>
                        <a:pt x="402" y="0"/>
                      </a:cubicBezTo>
                      <a:cubicBezTo>
                        <a:pt x="394" y="4"/>
                        <a:pt x="387" y="6"/>
                        <a:pt x="383" y="7"/>
                      </a:cubicBezTo>
                      <a:cubicBezTo>
                        <a:pt x="370" y="10"/>
                        <a:pt x="333" y="15"/>
                        <a:pt x="333" y="15"/>
                      </a:cubicBezTo>
                      <a:cubicBezTo>
                        <a:pt x="333" y="15"/>
                        <a:pt x="333" y="28"/>
                        <a:pt x="333" y="35"/>
                      </a:cubicBezTo>
                      <a:cubicBezTo>
                        <a:pt x="333" y="42"/>
                        <a:pt x="306" y="57"/>
                        <a:pt x="306" y="57"/>
                      </a:cubicBezTo>
                      <a:cubicBezTo>
                        <a:pt x="306" y="57"/>
                        <a:pt x="312" y="64"/>
                        <a:pt x="315" y="66"/>
                      </a:cubicBezTo>
                      <a:cubicBezTo>
                        <a:pt x="318" y="68"/>
                        <a:pt x="320" y="87"/>
                        <a:pt x="320" y="87"/>
                      </a:cubicBezTo>
                      <a:cubicBezTo>
                        <a:pt x="320" y="87"/>
                        <a:pt x="324" y="121"/>
                        <a:pt x="324" y="135"/>
                      </a:cubicBezTo>
                      <a:cubicBezTo>
                        <a:pt x="324" y="149"/>
                        <a:pt x="302" y="171"/>
                        <a:pt x="304" y="189"/>
                      </a:cubicBezTo>
                      <a:cubicBezTo>
                        <a:pt x="306" y="207"/>
                        <a:pt x="317" y="202"/>
                        <a:pt x="323" y="209"/>
                      </a:cubicBezTo>
                      <a:cubicBezTo>
                        <a:pt x="329" y="216"/>
                        <a:pt x="341" y="230"/>
                        <a:pt x="351" y="230"/>
                      </a:cubicBezTo>
                      <a:cubicBezTo>
                        <a:pt x="361" y="230"/>
                        <a:pt x="358" y="217"/>
                        <a:pt x="358" y="217"/>
                      </a:cubicBezTo>
                      <a:cubicBezTo>
                        <a:pt x="364" y="214"/>
                        <a:pt x="364" y="214"/>
                        <a:pt x="364" y="214"/>
                      </a:cubicBezTo>
                      <a:cubicBezTo>
                        <a:pt x="372" y="214"/>
                        <a:pt x="372" y="214"/>
                        <a:pt x="372" y="214"/>
                      </a:cubicBezTo>
                      <a:cubicBezTo>
                        <a:pt x="372" y="214"/>
                        <a:pt x="373" y="279"/>
                        <a:pt x="367" y="282"/>
                      </a:cubicBezTo>
                      <a:cubicBezTo>
                        <a:pt x="361" y="285"/>
                        <a:pt x="359" y="271"/>
                        <a:pt x="359" y="271"/>
                      </a:cubicBezTo>
                      <a:cubicBezTo>
                        <a:pt x="344" y="281"/>
                        <a:pt x="344" y="281"/>
                        <a:pt x="344" y="281"/>
                      </a:cubicBezTo>
                      <a:cubicBezTo>
                        <a:pt x="332" y="281"/>
                        <a:pt x="332" y="281"/>
                        <a:pt x="332" y="281"/>
                      </a:cubicBezTo>
                      <a:cubicBezTo>
                        <a:pt x="332" y="281"/>
                        <a:pt x="329" y="258"/>
                        <a:pt x="324" y="251"/>
                      </a:cubicBezTo>
                      <a:cubicBezTo>
                        <a:pt x="319" y="244"/>
                        <a:pt x="313" y="247"/>
                        <a:pt x="313" y="247"/>
                      </a:cubicBezTo>
                      <a:cubicBezTo>
                        <a:pt x="313" y="247"/>
                        <a:pt x="311" y="236"/>
                        <a:pt x="305" y="228"/>
                      </a:cubicBezTo>
                      <a:cubicBezTo>
                        <a:pt x="299" y="220"/>
                        <a:pt x="294" y="228"/>
                        <a:pt x="290" y="228"/>
                      </a:cubicBezTo>
                      <a:cubicBezTo>
                        <a:pt x="286" y="228"/>
                        <a:pt x="287" y="220"/>
                        <a:pt x="282" y="216"/>
                      </a:cubicBezTo>
                      <a:cubicBezTo>
                        <a:pt x="277" y="212"/>
                        <a:pt x="275" y="218"/>
                        <a:pt x="267" y="217"/>
                      </a:cubicBezTo>
                      <a:cubicBezTo>
                        <a:pt x="259" y="216"/>
                        <a:pt x="267" y="207"/>
                        <a:pt x="267" y="203"/>
                      </a:cubicBezTo>
                      <a:cubicBezTo>
                        <a:pt x="267" y="199"/>
                        <a:pt x="257" y="199"/>
                        <a:pt x="253" y="194"/>
                      </a:cubicBezTo>
                      <a:cubicBezTo>
                        <a:pt x="249" y="189"/>
                        <a:pt x="258" y="184"/>
                        <a:pt x="246" y="179"/>
                      </a:cubicBezTo>
                      <a:cubicBezTo>
                        <a:pt x="234" y="174"/>
                        <a:pt x="237" y="200"/>
                        <a:pt x="232" y="204"/>
                      </a:cubicBezTo>
                      <a:cubicBezTo>
                        <a:pt x="227" y="208"/>
                        <a:pt x="175" y="195"/>
                        <a:pt x="165" y="188"/>
                      </a:cubicBezTo>
                      <a:cubicBezTo>
                        <a:pt x="155" y="181"/>
                        <a:pt x="159" y="162"/>
                        <a:pt x="159" y="162"/>
                      </a:cubicBezTo>
                      <a:cubicBezTo>
                        <a:pt x="128" y="168"/>
                        <a:pt x="128" y="168"/>
                        <a:pt x="128" y="168"/>
                      </a:cubicBezTo>
                      <a:cubicBezTo>
                        <a:pt x="128" y="168"/>
                        <a:pt x="142" y="178"/>
                        <a:pt x="125" y="177"/>
                      </a:cubicBezTo>
                      <a:cubicBezTo>
                        <a:pt x="108" y="176"/>
                        <a:pt x="117" y="151"/>
                        <a:pt x="117" y="151"/>
                      </a:cubicBezTo>
                      <a:cubicBezTo>
                        <a:pt x="106" y="153"/>
                        <a:pt x="106" y="153"/>
                        <a:pt x="106" y="153"/>
                      </a:cubicBezTo>
                      <a:cubicBezTo>
                        <a:pt x="101" y="144"/>
                        <a:pt x="101" y="144"/>
                        <a:pt x="101" y="144"/>
                      </a:cubicBezTo>
                      <a:cubicBezTo>
                        <a:pt x="96" y="154"/>
                        <a:pt x="96" y="154"/>
                        <a:pt x="96" y="154"/>
                      </a:cubicBezTo>
                      <a:cubicBezTo>
                        <a:pt x="96" y="154"/>
                        <a:pt x="110" y="175"/>
                        <a:pt x="107" y="178"/>
                      </a:cubicBezTo>
                      <a:cubicBezTo>
                        <a:pt x="104" y="181"/>
                        <a:pt x="96" y="183"/>
                        <a:pt x="96" y="183"/>
                      </a:cubicBezTo>
                      <a:cubicBezTo>
                        <a:pt x="98" y="218"/>
                        <a:pt x="98" y="218"/>
                        <a:pt x="98" y="218"/>
                      </a:cubicBezTo>
                      <a:cubicBezTo>
                        <a:pt x="106" y="229"/>
                        <a:pt x="106" y="229"/>
                        <a:pt x="106" y="229"/>
                      </a:cubicBezTo>
                      <a:cubicBezTo>
                        <a:pt x="93" y="232"/>
                        <a:pt x="93" y="232"/>
                        <a:pt x="93" y="232"/>
                      </a:cubicBezTo>
                      <a:cubicBezTo>
                        <a:pt x="93" y="232"/>
                        <a:pt x="99" y="248"/>
                        <a:pt x="97" y="255"/>
                      </a:cubicBezTo>
                      <a:cubicBezTo>
                        <a:pt x="95" y="262"/>
                        <a:pt x="84" y="262"/>
                        <a:pt x="84" y="262"/>
                      </a:cubicBezTo>
                      <a:cubicBezTo>
                        <a:pt x="1" y="260"/>
                        <a:pt x="1" y="260"/>
                        <a:pt x="1" y="260"/>
                      </a:cubicBezTo>
                      <a:cubicBezTo>
                        <a:pt x="0" y="427"/>
                        <a:pt x="0" y="427"/>
                        <a:pt x="0" y="427"/>
                      </a:cubicBezTo>
                      <a:cubicBezTo>
                        <a:pt x="6" y="437"/>
                        <a:pt x="6" y="437"/>
                        <a:pt x="6" y="437"/>
                      </a:cubicBezTo>
                      <a:cubicBezTo>
                        <a:pt x="6" y="449"/>
                        <a:pt x="6" y="449"/>
                        <a:pt x="6" y="449"/>
                      </a:cubicBezTo>
                      <a:cubicBezTo>
                        <a:pt x="64" y="507"/>
                        <a:pt x="64" y="507"/>
                        <a:pt x="64" y="507"/>
                      </a:cubicBezTo>
                      <a:cubicBezTo>
                        <a:pt x="79" y="511"/>
                        <a:pt x="79" y="511"/>
                        <a:pt x="79" y="511"/>
                      </a:cubicBezTo>
                      <a:cubicBezTo>
                        <a:pt x="92" y="503"/>
                        <a:pt x="92" y="503"/>
                        <a:pt x="92" y="503"/>
                      </a:cubicBezTo>
                      <a:cubicBezTo>
                        <a:pt x="92" y="503"/>
                        <a:pt x="99" y="498"/>
                        <a:pt x="108" y="498"/>
                      </a:cubicBezTo>
                      <a:cubicBezTo>
                        <a:pt x="117" y="498"/>
                        <a:pt x="118" y="506"/>
                        <a:pt x="118" y="506"/>
                      </a:cubicBezTo>
                      <a:cubicBezTo>
                        <a:pt x="138" y="504"/>
                        <a:pt x="138" y="504"/>
                        <a:pt x="138" y="504"/>
                      </a:cubicBezTo>
                      <a:cubicBezTo>
                        <a:pt x="151" y="517"/>
                        <a:pt x="151" y="517"/>
                        <a:pt x="151" y="517"/>
                      </a:cubicBezTo>
                      <a:cubicBezTo>
                        <a:pt x="151" y="517"/>
                        <a:pt x="175" y="513"/>
                        <a:pt x="177" y="517"/>
                      </a:cubicBezTo>
                      <a:cubicBezTo>
                        <a:pt x="179" y="521"/>
                        <a:pt x="185" y="527"/>
                        <a:pt x="189" y="527"/>
                      </a:cubicBezTo>
                      <a:cubicBezTo>
                        <a:pt x="193" y="527"/>
                        <a:pt x="195" y="515"/>
                        <a:pt x="202" y="521"/>
                      </a:cubicBezTo>
                      <a:cubicBezTo>
                        <a:pt x="209" y="527"/>
                        <a:pt x="210" y="536"/>
                        <a:pt x="228" y="527"/>
                      </a:cubicBezTo>
                      <a:cubicBezTo>
                        <a:pt x="246" y="518"/>
                        <a:pt x="267" y="491"/>
                        <a:pt x="267" y="491"/>
                      </a:cubicBezTo>
                      <a:cubicBezTo>
                        <a:pt x="267" y="491"/>
                        <a:pt x="269" y="475"/>
                        <a:pt x="276" y="468"/>
                      </a:cubicBezTo>
                      <a:cubicBezTo>
                        <a:pt x="283" y="461"/>
                        <a:pt x="322" y="450"/>
                        <a:pt x="323" y="449"/>
                      </a:cubicBezTo>
                      <a:cubicBezTo>
                        <a:pt x="324" y="448"/>
                        <a:pt x="321" y="425"/>
                        <a:pt x="321" y="425"/>
                      </a:cubicBezTo>
                      <a:cubicBezTo>
                        <a:pt x="321" y="425"/>
                        <a:pt x="339" y="411"/>
                        <a:pt x="356" y="405"/>
                      </a:cubicBezTo>
                      <a:cubicBezTo>
                        <a:pt x="369" y="400"/>
                        <a:pt x="387" y="400"/>
                        <a:pt x="396" y="401"/>
                      </a:cubicBezTo>
                      <a:cubicBezTo>
                        <a:pt x="395" y="385"/>
                        <a:pt x="395" y="385"/>
                        <a:pt x="395" y="385"/>
                      </a:cubicBezTo>
                      <a:cubicBezTo>
                        <a:pt x="395" y="385"/>
                        <a:pt x="380" y="371"/>
                        <a:pt x="385" y="367"/>
                      </a:cubicBezTo>
                      <a:cubicBezTo>
                        <a:pt x="391" y="363"/>
                        <a:pt x="411" y="362"/>
                        <a:pt x="411" y="362"/>
                      </a:cubicBezTo>
                      <a:cubicBezTo>
                        <a:pt x="423" y="351"/>
                        <a:pt x="423" y="351"/>
                        <a:pt x="423" y="351"/>
                      </a:cubicBezTo>
                      <a:cubicBezTo>
                        <a:pt x="423" y="351"/>
                        <a:pt x="465" y="343"/>
                        <a:pt x="475" y="338"/>
                      </a:cubicBezTo>
                      <a:cubicBezTo>
                        <a:pt x="484" y="333"/>
                        <a:pt x="528" y="313"/>
                        <a:pt x="528" y="313"/>
                      </a:cubicBezTo>
                      <a:cubicBezTo>
                        <a:pt x="528" y="313"/>
                        <a:pt x="507" y="297"/>
                        <a:pt x="506" y="294"/>
                      </a:cubicBezTo>
                      <a:cubicBezTo>
                        <a:pt x="505" y="291"/>
                        <a:pt x="521" y="268"/>
                        <a:pt x="521" y="268"/>
                      </a:cubicBezTo>
                      <a:cubicBezTo>
                        <a:pt x="519" y="243"/>
                        <a:pt x="519" y="243"/>
                        <a:pt x="519" y="243"/>
                      </a:cubicBezTo>
                      <a:cubicBezTo>
                        <a:pt x="519" y="243"/>
                        <a:pt x="544" y="232"/>
                        <a:pt x="547" y="225"/>
                      </a:cubicBezTo>
                      <a:cubicBezTo>
                        <a:pt x="550" y="218"/>
                        <a:pt x="539" y="221"/>
                        <a:pt x="539" y="221"/>
                      </a:cubicBezTo>
                      <a:cubicBezTo>
                        <a:pt x="538" y="173"/>
                        <a:pt x="538" y="173"/>
                        <a:pt x="538" y="173"/>
                      </a:cubicBezTo>
                      <a:cubicBezTo>
                        <a:pt x="542" y="160"/>
                        <a:pt x="542" y="160"/>
                        <a:pt x="542" y="160"/>
                      </a:cubicBezTo>
                      <a:cubicBezTo>
                        <a:pt x="535" y="154"/>
                        <a:pt x="535" y="154"/>
                        <a:pt x="535" y="154"/>
                      </a:cubicBezTo>
                      <a:cubicBezTo>
                        <a:pt x="535" y="143"/>
                        <a:pt x="535" y="143"/>
                        <a:pt x="535" y="143"/>
                      </a:cubicBezTo>
                      <a:cubicBezTo>
                        <a:pt x="535" y="143"/>
                        <a:pt x="551" y="139"/>
                        <a:pt x="557" y="132"/>
                      </a:cubicBezTo>
                      <a:cubicBezTo>
                        <a:pt x="563" y="125"/>
                        <a:pt x="551" y="122"/>
                        <a:pt x="551" y="12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7" name="Western Sahara">
                  <a:extLst>
                    <a:ext uri="{FF2B5EF4-FFF2-40B4-BE49-F238E27FC236}">
                      <a16:creationId xmlns:a16="http://schemas.microsoft.com/office/drawing/2014/main" id="{ACE3E576-68B7-64D5-A04E-FB0D5979C12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61028" y="2083107"/>
                  <a:ext cx="663300" cy="454982"/>
                </a:xfrm>
                <a:custGeom>
                  <a:avLst/>
                  <a:gdLst>
                    <a:gd name="T0" fmla="*/ 364 w 401"/>
                    <a:gd name="T1" fmla="*/ 0 h 343"/>
                    <a:gd name="T2" fmla="*/ 192 w 401"/>
                    <a:gd name="T3" fmla="*/ 0 h 343"/>
                    <a:gd name="T4" fmla="*/ 186 w 401"/>
                    <a:gd name="T5" fmla="*/ 12 h 343"/>
                    <a:gd name="T6" fmla="*/ 176 w 401"/>
                    <a:gd name="T7" fmla="*/ 47 h 343"/>
                    <a:gd name="T8" fmla="*/ 160 w 401"/>
                    <a:gd name="T9" fmla="*/ 61 h 343"/>
                    <a:gd name="T10" fmla="*/ 140 w 401"/>
                    <a:gd name="T11" fmla="*/ 66 h 343"/>
                    <a:gd name="T12" fmla="*/ 125 w 401"/>
                    <a:gd name="T13" fmla="*/ 72 h 343"/>
                    <a:gd name="T14" fmla="*/ 123 w 401"/>
                    <a:gd name="T15" fmla="*/ 97 h 343"/>
                    <a:gd name="T16" fmla="*/ 104 w 401"/>
                    <a:gd name="T17" fmla="*/ 122 h 343"/>
                    <a:gd name="T18" fmla="*/ 108 w 401"/>
                    <a:gd name="T19" fmla="*/ 158 h 343"/>
                    <a:gd name="T20" fmla="*/ 92 w 401"/>
                    <a:gd name="T21" fmla="*/ 171 h 343"/>
                    <a:gd name="T22" fmla="*/ 78 w 401"/>
                    <a:gd name="T23" fmla="*/ 190 h 343"/>
                    <a:gd name="T24" fmla="*/ 58 w 401"/>
                    <a:gd name="T25" fmla="*/ 201 h 343"/>
                    <a:gd name="T26" fmla="*/ 52 w 401"/>
                    <a:gd name="T27" fmla="*/ 212 h 343"/>
                    <a:gd name="T28" fmla="*/ 60 w 401"/>
                    <a:gd name="T29" fmla="*/ 216 h 343"/>
                    <a:gd name="T30" fmla="*/ 45 w 401"/>
                    <a:gd name="T31" fmla="*/ 237 h 343"/>
                    <a:gd name="T32" fmla="*/ 41 w 401"/>
                    <a:gd name="T33" fmla="*/ 259 h 343"/>
                    <a:gd name="T34" fmla="*/ 32 w 401"/>
                    <a:gd name="T35" fmla="*/ 259 h 343"/>
                    <a:gd name="T36" fmla="*/ 31 w 401"/>
                    <a:gd name="T37" fmla="*/ 281 h 343"/>
                    <a:gd name="T38" fmla="*/ 18 w 401"/>
                    <a:gd name="T39" fmla="*/ 286 h 343"/>
                    <a:gd name="T40" fmla="*/ 1 w 401"/>
                    <a:gd name="T41" fmla="*/ 318 h 343"/>
                    <a:gd name="T42" fmla="*/ 0 w 401"/>
                    <a:gd name="T43" fmla="*/ 343 h 343"/>
                    <a:gd name="T44" fmla="*/ 186 w 401"/>
                    <a:gd name="T45" fmla="*/ 341 h 343"/>
                    <a:gd name="T46" fmla="*/ 187 w 401"/>
                    <a:gd name="T47" fmla="*/ 272 h 343"/>
                    <a:gd name="T48" fmla="*/ 189 w 401"/>
                    <a:gd name="T49" fmla="*/ 247 h 343"/>
                    <a:gd name="T50" fmla="*/ 208 w 401"/>
                    <a:gd name="T51" fmla="*/ 236 h 343"/>
                    <a:gd name="T52" fmla="*/ 235 w 401"/>
                    <a:gd name="T53" fmla="*/ 231 h 343"/>
                    <a:gd name="T54" fmla="*/ 238 w 401"/>
                    <a:gd name="T55" fmla="*/ 101 h 343"/>
                    <a:gd name="T56" fmla="*/ 243 w 401"/>
                    <a:gd name="T57" fmla="*/ 98 h 343"/>
                    <a:gd name="T58" fmla="*/ 243 w 401"/>
                    <a:gd name="T59" fmla="*/ 88 h 343"/>
                    <a:gd name="T60" fmla="*/ 391 w 401"/>
                    <a:gd name="T61" fmla="*/ 87 h 343"/>
                    <a:gd name="T62" fmla="*/ 392 w 401"/>
                    <a:gd name="T63" fmla="*/ 62 h 343"/>
                    <a:gd name="T64" fmla="*/ 397 w 401"/>
                    <a:gd name="T65" fmla="*/ 58 h 343"/>
                    <a:gd name="T66" fmla="*/ 401 w 401"/>
                    <a:gd name="T67" fmla="*/ 2 h 343"/>
                    <a:gd name="T68" fmla="*/ 364 w 401"/>
                    <a:gd name="T69" fmla="*/ 0 h 3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01" h="343">
                      <a:moveTo>
                        <a:pt x="364" y="0"/>
                      </a:moveTo>
                      <a:cubicBezTo>
                        <a:pt x="192" y="0"/>
                        <a:pt x="192" y="0"/>
                        <a:pt x="192" y="0"/>
                      </a:cubicBezTo>
                      <a:cubicBezTo>
                        <a:pt x="190" y="3"/>
                        <a:pt x="188" y="8"/>
                        <a:pt x="186" y="12"/>
                      </a:cubicBezTo>
                      <a:cubicBezTo>
                        <a:pt x="181" y="25"/>
                        <a:pt x="176" y="47"/>
                        <a:pt x="176" y="47"/>
                      </a:cubicBezTo>
                      <a:cubicBezTo>
                        <a:pt x="176" y="47"/>
                        <a:pt x="164" y="57"/>
                        <a:pt x="160" y="61"/>
                      </a:cubicBezTo>
                      <a:cubicBezTo>
                        <a:pt x="156" y="65"/>
                        <a:pt x="140" y="66"/>
                        <a:pt x="140" y="66"/>
                      </a:cubicBezTo>
                      <a:cubicBezTo>
                        <a:pt x="140" y="66"/>
                        <a:pt x="129" y="63"/>
                        <a:pt x="125" y="72"/>
                      </a:cubicBezTo>
                      <a:cubicBezTo>
                        <a:pt x="121" y="81"/>
                        <a:pt x="123" y="97"/>
                        <a:pt x="123" y="97"/>
                      </a:cubicBezTo>
                      <a:cubicBezTo>
                        <a:pt x="123" y="97"/>
                        <a:pt x="104" y="116"/>
                        <a:pt x="104" y="122"/>
                      </a:cubicBezTo>
                      <a:cubicBezTo>
                        <a:pt x="104" y="128"/>
                        <a:pt x="115" y="145"/>
                        <a:pt x="108" y="158"/>
                      </a:cubicBezTo>
                      <a:cubicBezTo>
                        <a:pt x="101" y="171"/>
                        <a:pt x="92" y="171"/>
                        <a:pt x="92" y="171"/>
                      </a:cubicBezTo>
                      <a:cubicBezTo>
                        <a:pt x="92" y="171"/>
                        <a:pt x="83" y="185"/>
                        <a:pt x="78" y="190"/>
                      </a:cubicBezTo>
                      <a:cubicBezTo>
                        <a:pt x="73" y="195"/>
                        <a:pt x="62" y="197"/>
                        <a:pt x="58" y="201"/>
                      </a:cubicBezTo>
                      <a:cubicBezTo>
                        <a:pt x="54" y="205"/>
                        <a:pt x="52" y="212"/>
                        <a:pt x="52" y="212"/>
                      </a:cubicBezTo>
                      <a:cubicBezTo>
                        <a:pt x="60" y="216"/>
                        <a:pt x="60" y="216"/>
                        <a:pt x="60" y="216"/>
                      </a:cubicBezTo>
                      <a:cubicBezTo>
                        <a:pt x="60" y="216"/>
                        <a:pt x="49" y="227"/>
                        <a:pt x="45" y="237"/>
                      </a:cubicBezTo>
                      <a:cubicBezTo>
                        <a:pt x="41" y="247"/>
                        <a:pt x="41" y="259"/>
                        <a:pt x="41" y="259"/>
                      </a:cubicBezTo>
                      <a:cubicBezTo>
                        <a:pt x="32" y="259"/>
                        <a:pt x="32" y="259"/>
                        <a:pt x="32" y="259"/>
                      </a:cubicBezTo>
                      <a:cubicBezTo>
                        <a:pt x="32" y="259"/>
                        <a:pt x="42" y="271"/>
                        <a:pt x="31" y="281"/>
                      </a:cubicBezTo>
                      <a:cubicBezTo>
                        <a:pt x="20" y="291"/>
                        <a:pt x="18" y="286"/>
                        <a:pt x="18" y="286"/>
                      </a:cubicBezTo>
                      <a:cubicBezTo>
                        <a:pt x="18" y="286"/>
                        <a:pt x="1" y="304"/>
                        <a:pt x="1" y="318"/>
                      </a:cubicBezTo>
                      <a:cubicBezTo>
                        <a:pt x="1" y="325"/>
                        <a:pt x="1" y="335"/>
                        <a:pt x="0" y="343"/>
                      </a:cubicBezTo>
                      <a:cubicBezTo>
                        <a:pt x="186" y="341"/>
                        <a:pt x="186" y="341"/>
                        <a:pt x="186" y="341"/>
                      </a:cubicBezTo>
                      <a:cubicBezTo>
                        <a:pt x="187" y="272"/>
                        <a:pt x="187" y="272"/>
                        <a:pt x="187" y="272"/>
                      </a:cubicBezTo>
                      <a:cubicBezTo>
                        <a:pt x="187" y="272"/>
                        <a:pt x="178" y="257"/>
                        <a:pt x="189" y="247"/>
                      </a:cubicBezTo>
                      <a:cubicBezTo>
                        <a:pt x="200" y="237"/>
                        <a:pt x="208" y="236"/>
                        <a:pt x="208" y="236"/>
                      </a:cubicBezTo>
                      <a:cubicBezTo>
                        <a:pt x="208" y="236"/>
                        <a:pt x="233" y="237"/>
                        <a:pt x="235" y="231"/>
                      </a:cubicBezTo>
                      <a:cubicBezTo>
                        <a:pt x="237" y="225"/>
                        <a:pt x="238" y="101"/>
                        <a:pt x="238" y="101"/>
                      </a:cubicBezTo>
                      <a:cubicBezTo>
                        <a:pt x="243" y="98"/>
                        <a:pt x="243" y="98"/>
                        <a:pt x="243" y="98"/>
                      </a:cubicBezTo>
                      <a:cubicBezTo>
                        <a:pt x="243" y="88"/>
                        <a:pt x="243" y="88"/>
                        <a:pt x="243" y="88"/>
                      </a:cubicBezTo>
                      <a:cubicBezTo>
                        <a:pt x="391" y="87"/>
                        <a:pt x="391" y="87"/>
                        <a:pt x="391" y="87"/>
                      </a:cubicBezTo>
                      <a:cubicBezTo>
                        <a:pt x="392" y="62"/>
                        <a:pt x="392" y="62"/>
                        <a:pt x="392" y="62"/>
                      </a:cubicBezTo>
                      <a:cubicBezTo>
                        <a:pt x="397" y="58"/>
                        <a:pt x="397" y="58"/>
                        <a:pt x="397" y="58"/>
                      </a:cubicBezTo>
                      <a:cubicBezTo>
                        <a:pt x="401" y="2"/>
                        <a:pt x="401" y="2"/>
                        <a:pt x="401" y="2"/>
                      </a:cubicBezTo>
                      <a:lnTo>
                        <a:pt x="364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8" name="Uganda">
                  <a:extLst>
                    <a:ext uri="{FF2B5EF4-FFF2-40B4-BE49-F238E27FC236}">
                      <a16:creationId xmlns:a16="http://schemas.microsoft.com/office/drawing/2014/main" id="{1DA56091-D7AA-F806-B1F1-CCBC8F2A6F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088008" y="3756384"/>
                  <a:ext cx="442201" cy="417380"/>
                </a:xfrm>
                <a:custGeom>
                  <a:avLst/>
                  <a:gdLst>
                    <a:gd name="T0" fmla="*/ 204 w 266"/>
                    <a:gd name="T1" fmla="*/ 283 h 314"/>
                    <a:gd name="T2" fmla="*/ 214 w 266"/>
                    <a:gd name="T3" fmla="*/ 283 h 314"/>
                    <a:gd name="T4" fmla="*/ 215 w 266"/>
                    <a:gd name="T5" fmla="*/ 282 h 314"/>
                    <a:gd name="T6" fmla="*/ 204 w 266"/>
                    <a:gd name="T7" fmla="*/ 283 h 314"/>
                    <a:gd name="T8" fmla="*/ 262 w 266"/>
                    <a:gd name="T9" fmla="*/ 127 h 314"/>
                    <a:gd name="T10" fmla="*/ 246 w 266"/>
                    <a:gd name="T11" fmla="*/ 97 h 314"/>
                    <a:gd name="T12" fmla="*/ 255 w 266"/>
                    <a:gd name="T13" fmla="*/ 87 h 314"/>
                    <a:gd name="T14" fmla="*/ 234 w 266"/>
                    <a:gd name="T15" fmla="*/ 62 h 314"/>
                    <a:gd name="T16" fmla="*/ 235 w 266"/>
                    <a:gd name="T17" fmla="*/ 57 h 314"/>
                    <a:gd name="T18" fmla="*/ 226 w 266"/>
                    <a:gd name="T19" fmla="*/ 42 h 314"/>
                    <a:gd name="T20" fmla="*/ 228 w 266"/>
                    <a:gd name="T21" fmla="*/ 27 h 314"/>
                    <a:gd name="T22" fmla="*/ 215 w 266"/>
                    <a:gd name="T23" fmla="*/ 22 h 314"/>
                    <a:gd name="T24" fmla="*/ 208 w 266"/>
                    <a:gd name="T25" fmla="*/ 0 h 314"/>
                    <a:gd name="T26" fmla="*/ 200 w 266"/>
                    <a:gd name="T27" fmla="*/ 0 h 314"/>
                    <a:gd name="T28" fmla="*/ 178 w 266"/>
                    <a:gd name="T29" fmla="*/ 25 h 314"/>
                    <a:gd name="T30" fmla="*/ 161 w 266"/>
                    <a:gd name="T31" fmla="*/ 17 h 314"/>
                    <a:gd name="T32" fmla="*/ 149 w 266"/>
                    <a:gd name="T33" fmla="*/ 25 h 314"/>
                    <a:gd name="T34" fmla="*/ 133 w 266"/>
                    <a:gd name="T35" fmla="*/ 24 h 314"/>
                    <a:gd name="T36" fmla="*/ 120 w 266"/>
                    <a:gd name="T37" fmla="*/ 39 h 314"/>
                    <a:gd name="T38" fmla="*/ 106 w 266"/>
                    <a:gd name="T39" fmla="*/ 21 h 314"/>
                    <a:gd name="T40" fmla="*/ 99 w 266"/>
                    <a:gd name="T41" fmla="*/ 22 h 314"/>
                    <a:gd name="T42" fmla="*/ 92 w 266"/>
                    <a:gd name="T43" fmla="*/ 29 h 314"/>
                    <a:gd name="T44" fmla="*/ 72 w 266"/>
                    <a:gd name="T45" fmla="*/ 21 h 314"/>
                    <a:gd name="T46" fmla="*/ 56 w 266"/>
                    <a:gd name="T47" fmla="*/ 34 h 314"/>
                    <a:gd name="T48" fmla="*/ 62 w 266"/>
                    <a:gd name="T49" fmla="*/ 47 h 314"/>
                    <a:gd name="T50" fmla="*/ 49 w 266"/>
                    <a:gd name="T51" fmla="*/ 61 h 314"/>
                    <a:gd name="T52" fmla="*/ 59 w 266"/>
                    <a:gd name="T53" fmla="*/ 71 h 314"/>
                    <a:gd name="T54" fmla="*/ 52 w 266"/>
                    <a:gd name="T55" fmla="*/ 92 h 314"/>
                    <a:gd name="T56" fmla="*/ 66 w 266"/>
                    <a:gd name="T57" fmla="*/ 97 h 314"/>
                    <a:gd name="T58" fmla="*/ 78 w 266"/>
                    <a:gd name="T59" fmla="*/ 108 h 314"/>
                    <a:gd name="T60" fmla="*/ 45 w 266"/>
                    <a:gd name="T61" fmla="*/ 156 h 314"/>
                    <a:gd name="T62" fmla="*/ 29 w 266"/>
                    <a:gd name="T63" fmla="*/ 164 h 314"/>
                    <a:gd name="T64" fmla="*/ 29 w 266"/>
                    <a:gd name="T65" fmla="*/ 173 h 314"/>
                    <a:gd name="T66" fmla="*/ 16 w 266"/>
                    <a:gd name="T67" fmla="*/ 181 h 314"/>
                    <a:gd name="T68" fmla="*/ 14 w 266"/>
                    <a:gd name="T69" fmla="*/ 198 h 314"/>
                    <a:gd name="T70" fmla="*/ 4 w 266"/>
                    <a:gd name="T71" fmla="*/ 229 h 314"/>
                    <a:gd name="T72" fmla="*/ 4 w 266"/>
                    <a:gd name="T73" fmla="*/ 249 h 314"/>
                    <a:gd name="T74" fmla="*/ 0 w 266"/>
                    <a:gd name="T75" fmla="*/ 299 h 314"/>
                    <a:gd name="T76" fmla="*/ 10 w 266"/>
                    <a:gd name="T77" fmla="*/ 299 h 314"/>
                    <a:gd name="T78" fmla="*/ 22 w 266"/>
                    <a:gd name="T79" fmla="*/ 307 h 314"/>
                    <a:gd name="T80" fmla="*/ 33 w 266"/>
                    <a:gd name="T81" fmla="*/ 283 h 314"/>
                    <a:gd name="T82" fmla="*/ 49 w 266"/>
                    <a:gd name="T83" fmla="*/ 282 h 314"/>
                    <a:gd name="T84" fmla="*/ 110 w 266"/>
                    <a:gd name="T85" fmla="*/ 282 h 314"/>
                    <a:gd name="T86" fmla="*/ 102 w 266"/>
                    <a:gd name="T87" fmla="*/ 265 h 314"/>
                    <a:gd name="T88" fmla="*/ 111 w 266"/>
                    <a:gd name="T89" fmla="*/ 246 h 314"/>
                    <a:gd name="T90" fmla="*/ 118 w 266"/>
                    <a:gd name="T91" fmla="*/ 223 h 314"/>
                    <a:gd name="T92" fmla="*/ 160 w 266"/>
                    <a:gd name="T93" fmla="*/ 216 h 314"/>
                    <a:gd name="T94" fmla="*/ 176 w 266"/>
                    <a:gd name="T95" fmla="*/ 202 h 314"/>
                    <a:gd name="T96" fmla="*/ 182 w 266"/>
                    <a:gd name="T97" fmla="*/ 219 h 314"/>
                    <a:gd name="T98" fmla="*/ 200 w 266"/>
                    <a:gd name="T99" fmla="*/ 215 h 314"/>
                    <a:gd name="T100" fmla="*/ 207 w 266"/>
                    <a:gd name="T101" fmla="*/ 217 h 314"/>
                    <a:gd name="T102" fmla="*/ 207 w 266"/>
                    <a:gd name="T103" fmla="*/ 219 h 314"/>
                    <a:gd name="T104" fmla="*/ 218 w 266"/>
                    <a:gd name="T105" fmla="*/ 201 h 314"/>
                    <a:gd name="T106" fmla="*/ 219 w 266"/>
                    <a:gd name="T107" fmla="*/ 190 h 314"/>
                    <a:gd name="T108" fmla="*/ 231 w 266"/>
                    <a:gd name="T109" fmla="*/ 179 h 314"/>
                    <a:gd name="T110" fmla="*/ 234 w 266"/>
                    <a:gd name="T111" fmla="*/ 164 h 314"/>
                    <a:gd name="T112" fmla="*/ 247 w 266"/>
                    <a:gd name="T113" fmla="*/ 160 h 314"/>
                    <a:gd name="T114" fmla="*/ 251 w 266"/>
                    <a:gd name="T115" fmla="*/ 145 h 314"/>
                    <a:gd name="T116" fmla="*/ 262 w 266"/>
                    <a:gd name="T117" fmla="*/ 127 h 3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66" h="314">
                      <a:moveTo>
                        <a:pt x="204" y="283"/>
                      </a:moveTo>
                      <a:cubicBezTo>
                        <a:pt x="214" y="283"/>
                        <a:pt x="214" y="283"/>
                        <a:pt x="214" y="283"/>
                      </a:cubicBezTo>
                      <a:cubicBezTo>
                        <a:pt x="215" y="282"/>
                        <a:pt x="215" y="282"/>
                        <a:pt x="215" y="282"/>
                      </a:cubicBezTo>
                      <a:cubicBezTo>
                        <a:pt x="209" y="282"/>
                        <a:pt x="204" y="282"/>
                        <a:pt x="204" y="283"/>
                      </a:cubicBezTo>
                      <a:close/>
                      <a:moveTo>
                        <a:pt x="262" y="127"/>
                      </a:moveTo>
                      <a:cubicBezTo>
                        <a:pt x="258" y="121"/>
                        <a:pt x="245" y="102"/>
                        <a:pt x="246" y="97"/>
                      </a:cubicBezTo>
                      <a:cubicBezTo>
                        <a:pt x="247" y="92"/>
                        <a:pt x="255" y="87"/>
                        <a:pt x="255" y="87"/>
                      </a:cubicBezTo>
                      <a:cubicBezTo>
                        <a:pt x="234" y="62"/>
                        <a:pt x="234" y="62"/>
                        <a:pt x="234" y="62"/>
                      </a:cubicBezTo>
                      <a:cubicBezTo>
                        <a:pt x="235" y="57"/>
                        <a:pt x="235" y="57"/>
                        <a:pt x="235" y="57"/>
                      </a:cubicBezTo>
                      <a:cubicBezTo>
                        <a:pt x="235" y="57"/>
                        <a:pt x="224" y="48"/>
                        <a:pt x="226" y="42"/>
                      </a:cubicBezTo>
                      <a:cubicBezTo>
                        <a:pt x="228" y="36"/>
                        <a:pt x="228" y="27"/>
                        <a:pt x="228" y="27"/>
                      </a:cubicBezTo>
                      <a:cubicBezTo>
                        <a:pt x="228" y="27"/>
                        <a:pt x="215" y="35"/>
                        <a:pt x="215" y="22"/>
                      </a:cubicBezTo>
                      <a:cubicBezTo>
                        <a:pt x="215" y="9"/>
                        <a:pt x="208" y="0"/>
                        <a:pt x="208" y="0"/>
                      </a:cubicBezTo>
                      <a:cubicBezTo>
                        <a:pt x="200" y="0"/>
                        <a:pt x="200" y="0"/>
                        <a:pt x="200" y="0"/>
                      </a:cubicBezTo>
                      <a:cubicBezTo>
                        <a:pt x="200" y="0"/>
                        <a:pt x="191" y="27"/>
                        <a:pt x="178" y="25"/>
                      </a:cubicBezTo>
                      <a:cubicBezTo>
                        <a:pt x="165" y="23"/>
                        <a:pt x="166" y="17"/>
                        <a:pt x="161" y="17"/>
                      </a:cubicBezTo>
                      <a:cubicBezTo>
                        <a:pt x="156" y="17"/>
                        <a:pt x="149" y="25"/>
                        <a:pt x="149" y="25"/>
                      </a:cubicBezTo>
                      <a:cubicBezTo>
                        <a:pt x="133" y="24"/>
                        <a:pt x="133" y="24"/>
                        <a:pt x="133" y="24"/>
                      </a:cubicBezTo>
                      <a:cubicBezTo>
                        <a:pt x="120" y="39"/>
                        <a:pt x="120" y="39"/>
                        <a:pt x="120" y="39"/>
                      </a:cubicBezTo>
                      <a:cubicBezTo>
                        <a:pt x="106" y="21"/>
                        <a:pt x="106" y="21"/>
                        <a:pt x="106" y="21"/>
                      </a:cubicBezTo>
                      <a:cubicBezTo>
                        <a:pt x="99" y="22"/>
                        <a:pt x="99" y="22"/>
                        <a:pt x="99" y="22"/>
                      </a:cubicBezTo>
                      <a:cubicBezTo>
                        <a:pt x="99" y="22"/>
                        <a:pt x="98" y="30"/>
                        <a:pt x="92" y="29"/>
                      </a:cubicBezTo>
                      <a:cubicBezTo>
                        <a:pt x="86" y="28"/>
                        <a:pt x="77" y="21"/>
                        <a:pt x="72" y="21"/>
                      </a:cubicBezTo>
                      <a:cubicBezTo>
                        <a:pt x="67" y="21"/>
                        <a:pt x="56" y="34"/>
                        <a:pt x="56" y="34"/>
                      </a:cubicBezTo>
                      <a:cubicBezTo>
                        <a:pt x="62" y="47"/>
                        <a:pt x="62" y="47"/>
                        <a:pt x="62" y="47"/>
                      </a:cubicBezTo>
                      <a:cubicBezTo>
                        <a:pt x="49" y="61"/>
                        <a:pt x="49" y="61"/>
                        <a:pt x="49" y="61"/>
                      </a:cubicBezTo>
                      <a:cubicBezTo>
                        <a:pt x="49" y="61"/>
                        <a:pt x="60" y="65"/>
                        <a:pt x="59" y="71"/>
                      </a:cubicBezTo>
                      <a:cubicBezTo>
                        <a:pt x="58" y="76"/>
                        <a:pt x="49" y="87"/>
                        <a:pt x="52" y="92"/>
                      </a:cubicBezTo>
                      <a:cubicBezTo>
                        <a:pt x="55" y="98"/>
                        <a:pt x="66" y="97"/>
                        <a:pt x="66" y="97"/>
                      </a:cubicBezTo>
                      <a:cubicBezTo>
                        <a:pt x="66" y="97"/>
                        <a:pt x="78" y="100"/>
                        <a:pt x="78" y="108"/>
                      </a:cubicBezTo>
                      <a:cubicBezTo>
                        <a:pt x="78" y="116"/>
                        <a:pt x="45" y="156"/>
                        <a:pt x="45" y="156"/>
                      </a:cubicBezTo>
                      <a:cubicBezTo>
                        <a:pt x="29" y="164"/>
                        <a:pt x="29" y="164"/>
                        <a:pt x="29" y="164"/>
                      </a:cubicBezTo>
                      <a:cubicBezTo>
                        <a:pt x="29" y="173"/>
                        <a:pt x="29" y="173"/>
                        <a:pt x="29" y="173"/>
                      </a:cubicBezTo>
                      <a:cubicBezTo>
                        <a:pt x="16" y="181"/>
                        <a:pt x="16" y="181"/>
                        <a:pt x="16" y="181"/>
                      </a:cubicBezTo>
                      <a:cubicBezTo>
                        <a:pt x="14" y="198"/>
                        <a:pt x="14" y="198"/>
                        <a:pt x="14" y="198"/>
                      </a:cubicBezTo>
                      <a:cubicBezTo>
                        <a:pt x="4" y="229"/>
                        <a:pt x="4" y="229"/>
                        <a:pt x="4" y="229"/>
                      </a:cubicBezTo>
                      <a:cubicBezTo>
                        <a:pt x="4" y="249"/>
                        <a:pt x="4" y="249"/>
                        <a:pt x="4" y="249"/>
                      </a:cubicBezTo>
                      <a:cubicBezTo>
                        <a:pt x="0" y="299"/>
                        <a:pt x="0" y="299"/>
                        <a:pt x="0" y="299"/>
                      </a:cubicBezTo>
                      <a:cubicBezTo>
                        <a:pt x="10" y="299"/>
                        <a:pt x="10" y="299"/>
                        <a:pt x="10" y="299"/>
                      </a:cubicBezTo>
                      <a:cubicBezTo>
                        <a:pt x="10" y="299"/>
                        <a:pt x="16" y="314"/>
                        <a:pt x="22" y="307"/>
                      </a:cubicBezTo>
                      <a:cubicBezTo>
                        <a:pt x="29" y="299"/>
                        <a:pt x="33" y="283"/>
                        <a:pt x="33" y="283"/>
                      </a:cubicBezTo>
                      <a:cubicBezTo>
                        <a:pt x="49" y="282"/>
                        <a:pt x="49" y="282"/>
                        <a:pt x="49" y="282"/>
                      </a:cubicBezTo>
                      <a:cubicBezTo>
                        <a:pt x="110" y="282"/>
                        <a:pt x="110" y="282"/>
                        <a:pt x="110" y="282"/>
                      </a:cubicBezTo>
                      <a:cubicBezTo>
                        <a:pt x="110" y="277"/>
                        <a:pt x="104" y="271"/>
                        <a:pt x="102" y="265"/>
                      </a:cubicBezTo>
                      <a:cubicBezTo>
                        <a:pt x="100" y="258"/>
                        <a:pt x="107" y="250"/>
                        <a:pt x="111" y="246"/>
                      </a:cubicBezTo>
                      <a:cubicBezTo>
                        <a:pt x="115" y="242"/>
                        <a:pt x="109" y="230"/>
                        <a:pt x="118" y="223"/>
                      </a:cubicBezTo>
                      <a:cubicBezTo>
                        <a:pt x="127" y="216"/>
                        <a:pt x="157" y="218"/>
                        <a:pt x="160" y="216"/>
                      </a:cubicBezTo>
                      <a:cubicBezTo>
                        <a:pt x="163" y="214"/>
                        <a:pt x="170" y="202"/>
                        <a:pt x="176" y="202"/>
                      </a:cubicBezTo>
                      <a:cubicBezTo>
                        <a:pt x="182" y="202"/>
                        <a:pt x="182" y="219"/>
                        <a:pt x="182" y="219"/>
                      </a:cubicBezTo>
                      <a:cubicBezTo>
                        <a:pt x="182" y="219"/>
                        <a:pt x="189" y="212"/>
                        <a:pt x="200" y="215"/>
                      </a:cubicBezTo>
                      <a:cubicBezTo>
                        <a:pt x="202" y="215"/>
                        <a:pt x="204" y="216"/>
                        <a:pt x="207" y="217"/>
                      </a:cubicBezTo>
                      <a:cubicBezTo>
                        <a:pt x="207" y="218"/>
                        <a:pt x="207" y="218"/>
                        <a:pt x="207" y="219"/>
                      </a:cubicBezTo>
                      <a:cubicBezTo>
                        <a:pt x="207" y="208"/>
                        <a:pt x="218" y="201"/>
                        <a:pt x="218" y="201"/>
                      </a:cubicBezTo>
                      <a:cubicBezTo>
                        <a:pt x="219" y="190"/>
                        <a:pt x="219" y="190"/>
                        <a:pt x="219" y="190"/>
                      </a:cubicBezTo>
                      <a:cubicBezTo>
                        <a:pt x="231" y="179"/>
                        <a:pt x="231" y="179"/>
                        <a:pt x="231" y="179"/>
                      </a:cubicBezTo>
                      <a:cubicBezTo>
                        <a:pt x="231" y="179"/>
                        <a:pt x="227" y="170"/>
                        <a:pt x="234" y="164"/>
                      </a:cubicBezTo>
                      <a:cubicBezTo>
                        <a:pt x="241" y="158"/>
                        <a:pt x="247" y="160"/>
                        <a:pt x="247" y="160"/>
                      </a:cubicBezTo>
                      <a:cubicBezTo>
                        <a:pt x="251" y="145"/>
                        <a:pt x="251" y="145"/>
                        <a:pt x="251" y="145"/>
                      </a:cubicBezTo>
                      <a:cubicBezTo>
                        <a:pt x="251" y="145"/>
                        <a:pt x="266" y="133"/>
                        <a:pt x="262" y="127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9" name="Tunisia">
                  <a:extLst>
                    <a:ext uri="{FF2B5EF4-FFF2-40B4-BE49-F238E27FC236}">
                      <a16:creationId xmlns:a16="http://schemas.microsoft.com/office/drawing/2014/main" id="{B35FC59E-5C63-D9D9-4B99-772B0810D46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61559" y="1387474"/>
                  <a:ext cx="310481" cy="515144"/>
                </a:xfrm>
                <a:custGeom>
                  <a:avLst/>
                  <a:gdLst>
                    <a:gd name="T0" fmla="*/ 25 w 187"/>
                    <a:gd name="T1" fmla="*/ 48 h 387"/>
                    <a:gd name="T2" fmla="*/ 38 w 187"/>
                    <a:gd name="T3" fmla="*/ 52 h 387"/>
                    <a:gd name="T4" fmla="*/ 33 w 187"/>
                    <a:gd name="T5" fmla="*/ 90 h 387"/>
                    <a:gd name="T6" fmla="*/ 38 w 187"/>
                    <a:gd name="T7" fmla="*/ 119 h 387"/>
                    <a:gd name="T8" fmla="*/ 30 w 187"/>
                    <a:gd name="T9" fmla="*/ 151 h 387"/>
                    <a:gd name="T10" fmla="*/ 16 w 187"/>
                    <a:gd name="T11" fmla="*/ 162 h 387"/>
                    <a:gd name="T12" fmla="*/ 0 w 187"/>
                    <a:gd name="T13" fmla="*/ 185 h 387"/>
                    <a:gd name="T14" fmla="*/ 0 w 187"/>
                    <a:gd name="T15" fmla="*/ 208 h 387"/>
                    <a:gd name="T16" fmla="*/ 7 w 187"/>
                    <a:gd name="T17" fmla="*/ 208 h 387"/>
                    <a:gd name="T18" fmla="*/ 7 w 187"/>
                    <a:gd name="T19" fmla="*/ 227 h 387"/>
                    <a:gd name="T20" fmla="*/ 34 w 187"/>
                    <a:gd name="T21" fmla="*/ 240 h 387"/>
                    <a:gd name="T22" fmla="*/ 35 w 187"/>
                    <a:gd name="T23" fmla="*/ 266 h 387"/>
                    <a:gd name="T24" fmla="*/ 67 w 187"/>
                    <a:gd name="T25" fmla="*/ 291 h 387"/>
                    <a:gd name="T26" fmla="*/ 88 w 187"/>
                    <a:gd name="T27" fmla="*/ 387 h 387"/>
                    <a:gd name="T28" fmla="*/ 104 w 187"/>
                    <a:gd name="T29" fmla="*/ 381 h 387"/>
                    <a:gd name="T30" fmla="*/ 123 w 187"/>
                    <a:gd name="T31" fmla="*/ 355 h 387"/>
                    <a:gd name="T32" fmla="*/ 114 w 187"/>
                    <a:gd name="T33" fmla="*/ 317 h 387"/>
                    <a:gd name="T34" fmla="*/ 129 w 187"/>
                    <a:gd name="T35" fmla="*/ 306 h 387"/>
                    <a:gd name="T36" fmla="*/ 148 w 187"/>
                    <a:gd name="T37" fmla="*/ 283 h 387"/>
                    <a:gd name="T38" fmla="*/ 183 w 187"/>
                    <a:gd name="T39" fmla="*/ 265 h 387"/>
                    <a:gd name="T40" fmla="*/ 172 w 187"/>
                    <a:gd name="T41" fmla="*/ 255 h 387"/>
                    <a:gd name="T42" fmla="*/ 175 w 187"/>
                    <a:gd name="T43" fmla="*/ 228 h 387"/>
                    <a:gd name="T44" fmla="*/ 167 w 187"/>
                    <a:gd name="T45" fmla="*/ 226 h 387"/>
                    <a:gd name="T46" fmla="*/ 160 w 187"/>
                    <a:gd name="T47" fmla="*/ 207 h 387"/>
                    <a:gd name="T48" fmla="*/ 150 w 187"/>
                    <a:gd name="T49" fmla="*/ 201 h 387"/>
                    <a:gd name="T50" fmla="*/ 148 w 187"/>
                    <a:gd name="T51" fmla="*/ 212 h 387"/>
                    <a:gd name="T52" fmla="*/ 142 w 187"/>
                    <a:gd name="T53" fmla="*/ 203 h 387"/>
                    <a:gd name="T54" fmla="*/ 111 w 187"/>
                    <a:gd name="T55" fmla="*/ 183 h 387"/>
                    <a:gd name="T56" fmla="*/ 132 w 187"/>
                    <a:gd name="T57" fmla="*/ 154 h 387"/>
                    <a:gd name="T58" fmla="*/ 156 w 187"/>
                    <a:gd name="T59" fmla="*/ 102 h 387"/>
                    <a:gd name="T60" fmla="*/ 132 w 187"/>
                    <a:gd name="T61" fmla="*/ 73 h 387"/>
                    <a:gd name="T62" fmla="*/ 145 w 187"/>
                    <a:gd name="T63" fmla="*/ 50 h 387"/>
                    <a:gd name="T64" fmla="*/ 156 w 187"/>
                    <a:gd name="T65" fmla="*/ 18 h 387"/>
                    <a:gd name="T66" fmla="*/ 125 w 187"/>
                    <a:gd name="T67" fmla="*/ 45 h 387"/>
                    <a:gd name="T68" fmla="*/ 108 w 187"/>
                    <a:gd name="T69" fmla="*/ 33 h 387"/>
                    <a:gd name="T70" fmla="*/ 110 w 187"/>
                    <a:gd name="T71" fmla="*/ 8 h 387"/>
                    <a:gd name="T72" fmla="*/ 60 w 187"/>
                    <a:gd name="T73" fmla="*/ 23 h 387"/>
                    <a:gd name="T74" fmla="*/ 53 w 187"/>
                    <a:gd name="T75" fmla="*/ 25 h 387"/>
                    <a:gd name="T76" fmla="*/ 53 w 187"/>
                    <a:gd name="T77" fmla="*/ 35 h 387"/>
                    <a:gd name="T78" fmla="*/ 25 w 187"/>
                    <a:gd name="T79" fmla="*/ 48 h 3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87" h="387">
                      <a:moveTo>
                        <a:pt x="25" y="48"/>
                      </a:move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8" y="52"/>
                        <a:pt x="29" y="83"/>
                        <a:pt x="33" y="90"/>
                      </a:cubicBezTo>
                      <a:cubicBezTo>
                        <a:pt x="37" y="97"/>
                        <a:pt x="39" y="109"/>
                        <a:pt x="38" y="119"/>
                      </a:cubicBezTo>
                      <a:cubicBezTo>
                        <a:pt x="37" y="129"/>
                        <a:pt x="30" y="151"/>
                        <a:pt x="30" y="151"/>
                      </a:cubicBezTo>
                      <a:cubicBezTo>
                        <a:pt x="16" y="162"/>
                        <a:pt x="16" y="162"/>
                        <a:pt x="16" y="162"/>
                      </a:cubicBezTo>
                      <a:cubicBezTo>
                        <a:pt x="16" y="162"/>
                        <a:pt x="0" y="175"/>
                        <a:pt x="0" y="185"/>
                      </a:cubicBezTo>
                      <a:cubicBezTo>
                        <a:pt x="0" y="195"/>
                        <a:pt x="0" y="208"/>
                        <a:pt x="0" y="208"/>
                      </a:cubicBezTo>
                      <a:cubicBezTo>
                        <a:pt x="7" y="208"/>
                        <a:pt x="7" y="208"/>
                        <a:pt x="7" y="208"/>
                      </a:cubicBezTo>
                      <a:cubicBezTo>
                        <a:pt x="7" y="227"/>
                        <a:pt x="7" y="227"/>
                        <a:pt x="7" y="227"/>
                      </a:cubicBezTo>
                      <a:cubicBezTo>
                        <a:pt x="7" y="227"/>
                        <a:pt x="33" y="232"/>
                        <a:pt x="34" y="240"/>
                      </a:cubicBezTo>
                      <a:cubicBezTo>
                        <a:pt x="35" y="248"/>
                        <a:pt x="35" y="266"/>
                        <a:pt x="35" y="266"/>
                      </a:cubicBezTo>
                      <a:cubicBezTo>
                        <a:pt x="35" y="266"/>
                        <a:pt x="67" y="278"/>
                        <a:pt x="67" y="291"/>
                      </a:cubicBezTo>
                      <a:cubicBezTo>
                        <a:pt x="67" y="302"/>
                        <a:pt x="82" y="364"/>
                        <a:pt x="88" y="387"/>
                      </a:cubicBezTo>
                      <a:cubicBezTo>
                        <a:pt x="95" y="384"/>
                        <a:pt x="104" y="381"/>
                        <a:pt x="104" y="381"/>
                      </a:cubicBezTo>
                      <a:cubicBezTo>
                        <a:pt x="104" y="381"/>
                        <a:pt x="124" y="367"/>
                        <a:pt x="123" y="355"/>
                      </a:cubicBezTo>
                      <a:cubicBezTo>
                        <a:pt x="122" y="343"/>
                        <a:pt x="112" y="323"/>
                        <a:pt x="114" y="317"/>
                      </a:cubicBezTo>
                      <a:cubicBezTo>
                        <a:pt x="116" y="311"/>
                        <a:pt x="129" y="306"/>
                        <a:pt x="129" y="306"/>
                      </a:cubicBezTo>
                      <a:cubicBezTo>
                        <a:pt x="129" y="306"/>
                        <a:pt x="142" y="289"/>
                        <a:pt x="148" y="283"/>
                      </a:cubicBezTo>
                      <a:cubicBezTo>
                        <a:pt x="154" y="277"/>
                        <a:pt x="179" y="273"/>
                        <a:pt x="183" y="265"/>
                      </a:cubicBezTo>
                      <a:cubicBezTo>
                        <a:pt x="187" y="257"/>
                        <a:pt x="172" y="255"/>
                        <a:pt x="172" y="255"/>
                      </a:cubicBezTo>
                      <a:cubicBezTo>
                        <a:pt x="175" y="228"/>
                        <a:pt x="175" y="228"/>
                        <a:pt x="175" y="228"/>
                      </a:cubicBezTo>
                      <a:cubicBezTo>
                        <a:pt x="170" y="227"/>
                        <a:pt x="167" y="226"/>
                        <a:pt x="167" y="226"/>
                      </a:cubicBezTo>
                      <a:cubicBezTo>
                        <a:pt x="160" y="207"/>
                        <a:pt x="160" y="207"/>
                        <a:pt x="160" y="207"/>
                      </a:cubicBezTo>
                      <a:cubicBezTo>
                        <a:pt x="150" y="201"/>
                        <a:pt x="150" y="201"/>
                        <a:pt x="150" y="201"/>
                      </a:cubicBezTo>
                      <a:cubicBezTo>
                        <a:pt x="148" y="212"/>
                        <a:pt x="148" y="212"/>
                        <a:pt x="148" y="212"/>
                      </a:cubicBezTo>
                      <a:cubicBezTo>
                        <a:pt x="142" y="203"/>
                        <a:pt x="142" y="203"/>
                        <a:pt x="142" y="203"/>
                      </a:cubicBezTo>
                      <a:cubicBezTo>
                        <a:pt x="142" y="203"/>
                        <a:pt x="111" y="202"/>
                        <a:pt x="111" y="183"/>
                      </a:cubicBezTo>
                      <a:cubicBezTo>
                        <a:pt x="111" y="164"/>
                        <a:pt x="109" y="174"/>
                        <a:pt x="132" y="154"/>
                      </a:cubicBezTo>
                      <a:cubicBezTo>
                        <a:pt x="155" y="134"/>
                        <a:pt x="169" y="118"/>
                        <a:pt x="156" y="102"/>
                      </a:cubicBezTo>
                      <a:cubicBezTo>
                        <a:pt x="143" y="86"/>
                        <a:pt x="128" y="89"/>
                        <a:pt x="132" y="73"/>
                      </a:cubicBezTo>
                      <a:cubicBezTo>
                        <a:pt x="136" y="57"/>
                        <a:pt x="135" y="59"/>
                        <a:pt x="145" y="50"/>
                      </a:cubicBezTo>
                      <a:cubicBezTo>
                        <a:pt x="155" y="41"/>
                        <a:pt x="163" y="19"/>
                        <a:pt x="156" y="18"/>
                      </a:cubicBezTo>
                      <a:cubicBezTo>
                        <a:pt x="149" y="17"/>
                        <a:pt x="130" y="43"/>
                        <a:pt x="125" y="45"/>
                      </a:cubicBezTo>
                      <a:cubicBezTo>
                        <a:pt x="120" y="47"/>
                        <a:pt x="108" y="33"/>
                        <a:pt x="108" y="33"/>
                      </a:cubicBezTo>
                      <a:cubicBezTo>
                        <a:pt x="108" y="33"/>
                        <a:pt x="127" y="16"/>
                        <a:pt x="110" y="8"/>
                      </a:cubicBezTo>
                      <a:cubicBezTo>
                        <a:pt x="93" y="0"/>
                        <a:pt x="66" y="19"/>
                        <a:pt x="60" y="23"/>
                      </a:cubicBezTo>
                      <a:cubicBezTo>
                        <a:pt x="58" y="24"/>
                        <a:pt x="56" y="25"/>
                        <a:pt x="53" y="25"/>
                      </a:cubicBezTo>
                      <a:cubicBezTo>
                        <a:pt x="53" y="35"/>
                        <a:pt x="53" y="35"/>
                        <a:pt x="53" y="35"/>
                      </a:cubicBezTo>
                      <a:lnTo>
                        <a:pt x="25" y="4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0" name="Togo">
                  <a:extLst>
                    <a:ext uri="{FF2B5EF4-FFF2-40B4-BE49-F238E27FC236}">
                      <a16:creationId xmlns:a16="http://schemas.microsoft.com/office/drawing/2014/main" id="{0DEB29B8-B67F-7D90-C4D2-DF2EC1F0A98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750004" y="3267560"/>
                  <a:ext cx="150537" cy="357217"/>
                </a:xfrm>
                <a:custGeom>
                  <a:avLst/>
                  <a:gdLst>
                    <a:gd name="T0" fmla="*/ 82 w 91"/>
                    <a:gd name="T1" fmla="*/ 239 h 270"/>
                    <a:gd name="T2" fmla="*/ 80 w 91"/>
                    <a:gd name="T3" fmla="*/ 195 h 270"/>
                    <a:gd name="T4" fmla="*/ 85 w 91"/>
                    <a:gd name="T5" fmla="*/ 188 h 270"/>
                    <a:gd name="T6" fmla="*/ 79 w 91"/>
                    <a:gd name="T7" fmla="*/ 182 h 270"/>
                    <a:gd name="T8" fmla="*/ 80 w 91"/>
                    <a:gd name="T9" fmla="*/ 143 h 270"/>
                    <a:gd name="T10" fmla="*/ 85 w 91"/>
                    <a:gd name="T11" fmla="*/ 135 h 270"/>
                    <a:gd name="T12" fmla="*/ 81 w 91"/>
                    <a:gd name="T13" fmla="*/ 108 h 270"/>
                    <a:gd name="T14" fmla="*/ 69 w 91"/>
                    <a:gd name="T15" fmla="*/ 91 h 270"/>
                    <a:gd name="T16" fmla="*/ 69 w 91"/>
                    <a:gd name="T17" fmla="*/ 60 h 270"/>
                    <a:gd name="T18" fmla="*/ 42 w 91"/>
                    <a:gd name="T19" fmla="*/ 37 h 270"/>
                    <a:gd name="T20" fmla="*/ 41 w 91"/>
                    <a:gd name="T21" fmla="*/ 18 h 270"/>
                    <a:gd name="T22" fmla="*/ 47 w 91"/>
                    <a:gd name="T23" fmla="*/ 6 h 270"/>
                    <a:gd name="T24" fmla="*/ 33 w 91"/>
                    <a:gd name="T25" fmla="*/ 7 h 270"/>
                    <a:gd name="T26" fmla="*/ 18 w 91"/>
                    <a:gd name="T27" fmla="*/ 0 h 270"/>
                    <a:gd name="T28" fmla="*/ 7 w 91"/>
                    <a:gd name="T29" fmla="*/ 1 h 270"/>
                    <a:gd name="T30" fmla="*/ 7 w 91"/>
                    <a:gd name="T31" fmla="*/ 12 h 270"/>
                    <a:gd name="T32" fmla="*/ 0 w 91"/>
                    <a:gd name="T33" fmla="*/ 21 h 270"/>
                    <a:gd name="T34" fmla="*/ 22 w 91"/>
                    <a:gd name="T35" fmla="*/ 39 h 270"/>
                    <a:gd name="T36" fmla="*/ 14 w 91"/>
                    <a:gd name="T37" fmla="*/ 88 h 270"/>
                    <a:gd name="T38" fmla="*/ 30 w 91"/>
                    <a:gd name="T39" fmla="*/ 85 h 270"/>
                    <a:gd name="T40" fmla="*/ 26 w 91"/>
                    <a:gd name="T41" fmla="*/ 110 h 270"/>
                    <a:gd name="T42" fmla="*/ 33 w 91"/>
                    <a:gd name="T43" fmla="*/ 120 h 270"/>
                    <a:gd name="T44" fmla="*/ 21 w 91"/>
                    <a:gd name="T45" fmla="*/ 131 h 270"/>
                    <a:gd name="T46" fmla="*/ 39 w 91"/>
                    <a:gd name="T47" fmla="*/ 145 h 270"/>
                    <a:gd name="T48" fmla="*/ 35 w 91"/>
                    <a:gd name="T49" fmla="*/ 154 h 270"/>
                    <a:gd name="T50" fmla="*/ 33 w 91"/>
                    <a:gd name="T51" fmla="*/ 183 h 270"/>
                    <a:gd name="T52" fmla="*/ 30 w 91"/>
                    <a:gd name="T53" fmla="*/ 195 h 270"/>
                    <a:gd name="T54" fmla="*/ 38 w 91"/>
                    <a:gd name="T55" fmla="*/ 202 h 270"/>
                    <a:gd name="T56" fmla="*/ 33 w 91"/>
                    <a:gd name="T57" fmla="*/ 225 h 270"/>
                    <a:gd name="T58" fmla="*/ 41 w 91"/>
                    <a:gd name="T59" fmla="*/ 253 h 270"/>
                    <a:gd name="T60" fmla="*/ 61 w 91"/>
                    <a:gd name="T61" fmla="*/ 270 h 270"/>
                    <a:gd name="T62" fmla="*/ 78 w 91"/>
                    <a:gd name="T63" fmla="*/ 259 h 270"/>
                    <a:gd name="T64" fmla="*/ 91 w 91"/>
                    <a:gd name="T65" fmla="*/ 258 h 270"/>
                    <a:gd name="T66" fmla="*/ 82 w 91"/>
                    <a:gd name="T67" fmla="*/ 239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91" h="270">
                      <a:moveTo>
                        <a:pt x="82" y="239"/>
                      </a:moveTo>
                      <a:cubicBezTo>
                        <a:pt x="80" y="195"/>
                        <a:pt x="80" y="195"/>
                        <a:pt x="80" y="195"/>
                      </a:cubicBezTo>
                      <a:cubicBezTo>
                        <a:pt x="85" y="188"/>
                        <a:pt x="85" y="188"/>
                        <a:pt x="85" y="188"/>
                      </a:cubicBezTo>
                      <a:cubicBezTo>
                        <a:pt x="79" y="182"/>
                        <a:pt x="79" y="182"/>
                        <a:pt x="79" y="182"/>
                      </a:cubicBezTo>
                      <a:cubicBezTo>
                        <a:pt x="80" y="143"/>
                        <a:pt x="80" y="143"/>
                        <a:pt x="80" y="143"/>
                      </a:cubicBezTo>
                      <a:cubicBezTo>
                        <a:pt x="85" y="135"/>
                        <a:pt x="85" y="135"/>
                        <a:pt x="85" y="135"/>
                      </a:cubicBezTo>
                      <a:cubicBezTo>
                        <a:pt x="85" y="135"/>
                        <a:pt x="80" y="116"/>
                        <a:pt x="81" y="108"/>
                      </a:cubicBezTo>
                      <a:cubicBezTo>
                        <a:pt x="82" y="100"/>
                        <a:pt x="69" y="91"/>
                        <a:pt x="69" y="91"/>
                      </a:cubicBezTo>
                      <a:cubicBezTo>
                        <a:pt x="69" y="91"/>
                        <a:pt x="71" y="68"/>
                        <a:pt x="69" y="60"/>
                      </a:cubicBezTo>
                      <a:cubicBezTo>
                        <a:pt x="67" y="52"/>
                        <a:pt x="42" y="37"/>
                        <a:pt x="42" y="37"/>
                      </a:cubicBezTo>
                      <a:cubicBezTo>
                        <a:pt x="41" y="18"/>
                        <a:pt x="41" y="18"/>
                        <a:pt x="41" y="18"/>
                      </a:cubicBezTo>
                      <a:cubicBezTo>
                        <a:pt x="47" y="6"/>
                        <a:pt x="47" y="6"/>
                        <a:pt x="47" y="6"/>
                      </a:cubicBez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7" y="12"/>
                        <a:pt x="7" y="12"/>
                        <a:pt x="7" y="12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22" y="39"/>
                        <a:pt x="22" y="39"/>
                        <a:pt x="22" y="39"/>
                      </a:cubicBezTo>
                      <a:cubicBezTo>
                        <a:pt x="14" y="88"/>
                        <a:pt x="14" y="88"/>
                        <a:pt x="14" y="88"/>
                      </a:cubicBezTo>
                      <a:cubicBezTo>
                        <a:pt x="14" y="88"/>
                        <a:pt x="26" y="78"/>
                        <a:pt x="30" y="85"/>
                      </a:cubicBezTo>
                      <a:cubicBezTo>
                        <a:pt x="34" y="92"/>
                        <a:pt x="26" y="110"/>
                        <a:pt x="26" y="110"/>
                      </a:cubicBezTo>
                      <a:cubicBezTo>
                        <a:pt x="26" y="110"/>
                        <a:pt x="34" y="117"/>
                        <a:pt x="33" y="120"/>
                      </a:cubicBezTo>
                      <a:cubicBezTo>
                        <a:pt x="32" y="123"/>
                        <a:pt x="21" y="131"/>
                        <a:pt x="21" y="131"/>
                      </a:cubicBezTo>
                      <a:cubicBezTo>
                        <a:pt x="21" y="131"/>
                        <a:pt x="38" y="139"/>
                        <a:pt x="39" y="145"/>
                      </a:cubicBezTo>
                      <a:cubicBezTo>
                        <a:pt x="40" y="151"/>
                        <a:pt x="35" y="154"/>
                        <a:pt x="35" y="154"/>
                      </a:cubicBezTo>
                      <a:cubicBezTo>
                        <a:pt x="33" y="183"/>
                        <a:pt x="33" y="183"/>
                        <a:pt x="33" y="183"/>
                      </a:cubicBezTo>
                      <a:cubicBezTo>
                        <a:pt x="33" y="183"/>
                        <a:pt x="30" y="190"/>
                        <a:pt x="30" y="195"/>
                      </a:cubicBezTo>
                      <a:cubicBezTo>
                        <a:pt x="30" y="200"/>
                        <a:pt x="37" y="196"/>
                        <a:pt x="38" y="202"/>
                      </a:cubicBezTo>
                      <a:cubicBezTo>
                        <a:pt x="39" y="208"/>
                        <a:pt x="33" y="225"/>
                        <a:pt x="33" y="225"/>
                      </a:cubicBezTo>
                      <a:cubicBezTo>
                        <a:pt x="41" y="253"/>
                        <a:pt x="41" y="253"/>
                        <a:pt x="41" y="253"/>
                      </a:cubicBezTo>
                      <a:cubicBezTo>
                        <a:pt x="61" y="270"/>
                        <a:pt x="61" y="270"/>
                        <a:pt x="61" y="270"/>
                      </a:cubicBezTo>
                      <a:cubicBezTo>
                        <a:pt x="66" y="264"/>
                        <a:pt x="72" y="260"/>
                        <a:pt x="78" y="259"/>
                      </a:cubicBezTo>
                      <a:cubicBezTo>
                        <a:pt x="82" y="258"/>
                        <a:pt x="86" y="258"/>
                        <a:pt x="91" y="258"/>
                      </a:cubicBezTo>
                      <a:cubicBezTo>
                        <a:pt x="91" y="248"/>
                        <a:pt x="82" y="239"/>
                        <a:pt x="82" y="239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1" name="The Gambia">
                  <a:extLst>
                    <a:ext uri="{FF2B5EF4-FFF2-40B4-BE49-F238E27FC236}">
                      <a16:creationId xmlns:a16="http://schemas.microsoft.com/office/drawing/2014/main" id="{AD5358CF-A26C-E2C5-14E3-07B4D3489DE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51619" y="3068270"/>
                  <a:ext cx="254031" cy="52643"/>
                </a:xfrm>
                <a:custGeom>
                  <a:avLst/>
                  <a:gdLst>
                    <a:gd name="T0" fmla="*/ 11 w 154"/>
                    <a:gd name="T1" fmla="*/ 15 h 39"/>
                    <a:gd name="T2" fmla="*/ 0 w 154"/>
                    <a:gd name="T3" fmla="*/ 37 h 39"/>
                    <a:gd name="T4" fmla="*/ 0 w 154"/>
                    <a:gd name="T5" fmla="*/ 39 h 39"/>
                    <a:gd name="T6" fmla="*/ 43 w 154"/>
                    <a:gd name="T7" fmla="*/ 39 h 39"/>
                    <a:gd name="T8" fmla="*/ 47 w 154"/>
                    <a:gd name="T9" fmla="*/ 30 h 39"/>
                    <a:gd name="T10" fmla="*/ 72 w 154"/>
                    <a:gd name="T11" fmla="*/ 27 h 39"/>
                    <a:gd name="T12" fmla="*/ 84 w 154"/>
                    <a:gd name="T13" fmla="*/ 15 h 39"/>
                    <a:gd name="T14" fmla="*/ 118 w 154"/>
                    <a:gd name="T15" fmla="*/ 34 h 39"/>
                    <a:gd name="T16" fmla="*/ 137 w 154"/>
                    <a:gd name="T17" fmla="*/ 15 h 39"/>
                    <a:gd name="T18" fmla="*/ 116 w 154"/>
                    <a:gd name="T19" fmla="*/ 20 h 39"/>
                    <a:gd name="T20" fmla="*/ 103 w 154"/>
                    <a:gd name="T21" fmla="*/ 8 h 39"/>
                    <a:gd name="T22" fmla="*/ 95 w 154"/>
                    <a:gd name="T23" fmla="*/ 10 h 39"/>
                    <a:gd name="T24" fmla="*/ 84 w 154"/>
                    <a:gd name="T25" fmla="*/ 2 h 39"/>
                    <a:gd name="T26" fmla="*/ 59 w 154"/>
                    <a:gd name="T27" fmla="*/ 3 h 39"/>
                    <a:gd name="T28" fmla="*/ 59 w 154"/>
                    <a:gd name="T29" fmla="*/ 13 h 39"/>
                    <a:gd name="T30" fmla="*/ 9 w 154"/>
                    <a:gd name="T31" fmla="*/ 13 h 39"/>
                    <a:gd name="T32" fmla="*/ 11 w 154"/>
                    <a:gd name="T33" fmla="*/ 15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4" h="39">
                      <a:moveTo>
                        <a:pt x="11" y="15"/>
                      </a:moveTo>
                      <a:cubicBezTo>
                        <a:pt x="11" y="15"/>
                        <a:pt x="1" y="30"/>
                        <a:pt x="0" y="37"/>
                      </a:cubicBezTo>
                      <a:cubicBezTo>
                        <a:pt x="0" y="38"/>
                        <a:pt x="0" y="38"/>
                        <a:pt x="0" y="39"/>
                      </a:cubicBezTo>
                      <a:cubicBezTo>
                        <a:pt x="11" y="39"/>
                        <a:pt x="41" y="39"/>
                        <a:pt x="43" y="39"/>
                      </a:cubicBezTo>
                      <a:cubicBezTo>
                        <a:pt x="46" y="39"/>
                        <a:pt x="47" y="30"/>
                        <a:pt x="47" y="30"/>
                      </a:cubicBezTo>
                      <a:cubicBezTo>
                        <a:pt x="47" y="30"/>
                        <a:pt x="66" y="28"/>
                        <a:pt x="72" y="27"/>
                      </a:cubicBezTo>
                      <a:cubicBezTo>
                        <a:pt x="78" y="26"/>
                        <a:pt x="84" y="15"/>
                        <a:pt x="84" y="15"/>
                      </a:cubicBezTo>
                      <a:cubicBezTo>
                        <a:pt x="84" y="15"/>
                        <a:pt x="100" y="34"/>
                        <a:pt x="118" y="34"/>
                      </a:cubicBezTo>
                      <a:cubicBezTo>
                        <a:pt x="136" y="34"/>
                        <a:pt x="154" y="19"/>
                        <a:pt x="137" y="15"/>
                      </a:cubicBezTo>
                      <a:cubicBezTo>
                        <a:pt x="120" y="11"/>
                        <a:pt x="121" y="21"/>
                        <a:pt x="116" y="20"/>
                      </a:cubicBezTo>
                      <a:cubicBezTo>
                        <a:pt x="111" y="19"/>
                        <a:pt x="103" y="8"/>
                        <a:pt x="103" y="8"/>
                      </a:cubicBezTo>
                      <a:cubicBezTo>
                        <a:pt x="95" y="10"/>
                        <a:pt x="95" y="10"/>
                        <a:pt x="95" y="10"/>
                      </a:cubicBezTo>
                      <a:cubicBezTo>
                        <a:pt x="95" y="10"/>
                        <a:pt x="97" y="0"/>
                        <a:pt x="84" y="2"/>
                      </a:cubicBezTo>
                      <a:cubicBezTo>
                        <a:pt x="71" y="4"/>
                        <a:pt x="59" y="3"/>
                        <a:pt x="59" y="3"/>
                      </a:cubicBezTo>
                      <a:cubicBezTo>
                        <a:pt x="59" y="13"/>
                        <a:pt x="59" y="13"/>
                        <a:pt x="59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4"/>
                        <a:pt x="11" y="15"/>
                        <a:pt x="11" y="1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2" name="Tanzania">
                  <a:extLst>
                    <a:ext uri="{FF2B5EF4-FFF2-40B4-BE49-F238E27FC236}">
                      <a16:creationId xmlns:a16="http://schemas.microsoft.com/office/drawing/2014/main" id="{F8ACB3EF-9738-3090-25F9-EC6926F2BE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083318" y="4128640"/>
                  <a:ext cx="846769" cy="767075"/>
                </a:xfrm>
                <a:custGeom>
                  <a:avLst/>
                  <a:gdLst>
                    <a:gd name="T0" fmla="*/ 477 w 510"/>
                    <a:gd name="T1" fmla="*/ 478 h 579"/>
                    <a:gd name="T2" fmla="*/ 458 w 510"/>
                    <a:gd name="T3" fmla="*/ 405 h 579"/>
                    <a:gd name="T4" fmla="*/ 456 w 510"/>
                    <a:gd name="T5" fmla="*/ 360 h 579"/>
                    <a:gd name="T6" fmla="*/ 436 w 510"/>
                    <a:gd name="T7" fmla="*/ 290 h 579"/>
                    <a:gd name="T8" fmla="*/ 455 w 510"/>
                    <a:gd name="T9" fmla="*/ 198 h 579"/>
                    <a:gd name="T10" fmla="*/ 391 w 510"/>
                    <a:gd name="T11" fmla="*/ 118 h 579"/>
                    <a:gd name="T12" fmla="*/ 216 w 510"/>
                    <a:gd name="T13" fmla="*/ 1 h 579"/>
                    <a:gd name="T14" fmla="*/ 206 w 510"/>
                    <a:gd name="T15" fmla="*/ 1 h 579"/>
                    <a:gd name="T16" fmla="*/ 194 w 510"/>
                    <a:gd name="T17" fmla="*/ 31 h 579"/>
                    <a:gd name="T18" fmla="*/ 206 w 510"/>
                    <a:gd name="T19" fmla="*/ 59 h 579"/>
                    <a:gd name="T20" fmla="*/ 162 w 510"/>
                    <a:gd name="T21" fmla="*/ 71 h 579"/>
                    <a:gd name="T22" fmla="*/ 161 w 510"/>
                    <a:gd name="T23" fmla="*/ 99 h 579"/>
                    <a:gd name="T24" fmla="*/ 150 w 510"/>
                    <a:gd name="T25" fmla="*/ 73 h 579"/>
                    <a:gd name="T26" fmla="*/ 123 w 510"/>
                    <a:gd name="T27" fmla="*/ 66 h 579"/>
                    <a:gd name="T28" fmla="*/ 104 w 510"/>
                    <a:gd name="T29" fmla="*/ 80 h 579"/>
                    <a:gd name="T30" fmla="*/ 112 w 510"/>
                    <a:gd name="T31" fmla="*/ 2 h 579"/>
                    <a:gd name="T32" fmla="*/ 51 w 510"/>
                    <a:gd name="T33" fmla="*/ 0 h 579"/>
                    <a:gd name="T34" fmla="*/ 60 w 510"/>
                    <a:gd name="T35" fmla="*/ 31 h 579"/>
                    <a:gd name="T36" fmla="*/ 64 w 510"/>
                    <a:gd name="T37" fmla="*/ 64 h 579"/>
                    <a:gd name="T38" fmla="*/ 38 w 510"/>
                    <a:gd name="T39" fmla="*/ 97 h 579"/>
                    <a:gd name="T40" fmla="*/ 59 w 510"/>
                    <a:gd name="T41" fmla="*/ 118 h 579"/>
                    <a:gd name="T42" fmla="*/ 53 w 510"/>
                    <a:gd name="T43" fmla="*/ 130 h 579"/>
                    <a:gd name="T44" fmla="*/ 18 w 510"/>
                    <a:gd name="T45" fmla="*/ 177 h 579"/>
                    <a:gd name="T46" fmla="*/ 0 w 510"/>
                    <a:gd name="T47" fmla="*/ 194 h 579"/>
                    <a:gd name="T48" fmla="*/ 8 w 510"/>
                    <a:gd name="T49" fmla="*/ 226 h 579"/>
                    <a:gd name="T50" fmla="*/ 9 w 510"/>
                    <a:gd name="T51" fmla="*/ 279 h 579"/>
                    <a:gd name="T52" fmla="*/ 51 w 510"/>
                    <a:gd name="T53" fmla="*/ 322 h 579"/>
                    <a:gd name="T54" fmla="*/ 56 w 510"/>
                    <a:gd name="T55" fmla="*/ 370 h 579"/>
                    <a:gd name="T56" fmla="*/ 69 w 510"/>
                    <a:gd name="T57" fmla="*/ 409 h 579"/>
                    <a:gd name="T58" fmla="*/ 94 w 510"/>
                    <a:gd name="T59" fmla="*/ 421 h 579"/>
                    <a:gd name="T60" fmla="*/ 118 w 510"/>
                    <a:gd name="T61" fmla="*/ 434 h 579"/>
                    <a:gd name="T62" fmla="*/ 135 w 510"/>
                    <a:gd name="T63" fmla="*/ 443 h 579"/>
                    <a:gd name="T64" fmla="*/ 158 w 510"/>
                    <a:gd name="T65" fmla="*/ 452 h 579"/>
                    <a:gd name="T66" fmla="*/ 179 w 510"/>
                    <a:gd name="T67" fmla="*/ 461 h 579"/>
                    <a:gd name="T68" fmla="*/ 212 w 510"/>
                    <a:gd name="T69" fmla="*/ 453 h 579"/>
                    <a:gd name="T70" fmla="*/ 232 w 510"/>
                    <a:gd name="T71" fmla="*/ 514 h 579"/>
                    <a:gd name="T72" fmla="*/ 231 w 510"/>
                    <a:gd name="T73" fmla="*/ 539 h 579"/>
                    <a:gd name="T74" fmla="*/ 249 w 510"/>
                    <a:gd name="T75" fmla="*/ 569 h 579"/>
                    <a:gd name="T76" fmla="*/ 292 w 510"/>
                    <a:gd name="T77" fmla="*/ 558 h 579"/>
                    <a:gd name="T78" fmla="*/ 338 w 510"/>
                    <a:gd name="T79" fmla="*/ 568 h 579"/>
                    <a:gd name="T80" fmla="*/ 367 w 510"/>
                    <a:gd name="T81" fmla="*/ 573 h 579"/>
                    <a:gd name="T82" fmla="*/ 406 w 510"/>
                    <a:gd name="T83" fmla="*/ 552 h 579"/>
                    <a:gd name="T84" fmla="*/ 438 w 510"/>
                    <a:gd name="T85" fmla="*/ 545 h 579"/>
                    <a:gd name="T86" fmla="*/ 510 w 510"/>
                    <a:gd name="T87" fmla="*/ 507 h 579"/>
                    <a:gd name="T88" fmla="*/ 481 w 510"/>
                    <a:gd name="T89" fmla="*/ 237 h 579"/>
                    <a:gd name="T90" fmla="*/ 481 w 510"/>
                    <a:gd name="T91" fmla="*/ 237 h 579"/>
                    <a:gd name="T92" fmla="*/ 478 w 510"/>
                    <a:gd name="T93" fmla="*/ 294 h 579"/>
                    <a:gd name="T94" fmla="*/ 458 w 510"/>
                    <a:gd name="T95" fmla="*/ 251 h 5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10" h="579">
                      <a:moveTo>
                        <a:pt x="507" y="496"/>
                      </a:moveTo>
                      <a:cubicBezTo>
                        <a:pt x="507" y="496"/>
                        <a:pt x="479" y="489"/>
                        <a:pt x="477" y="478"/>
                      </a:cubicBezTo>
                      <a:cubicBezTo>
                        <a:pt x="475" y="467"/>
                        <a:pt x="473" y="436"/>
                        <a:pt x="473" y="436"/>
                      </a:cubicBezTo>
                      <a:cubicBezTo>
                        <a:pt x="458" y="405"/>
                        <a:pt x="458" y="405"/>
                        <a:pt x="458" y="405"/>
                      </a:cubicBezTo>
                      <a:cubicBezTo>
                        <a:pt x="467" y="374"/>
                        <a:pt x="467" y="374"/>
                        <a:pt x="467" y="374"/>
                      </a:cubicBezTo>
                      <a:cubicBezTo>
                        <a:pt x="456" y="360"/>
                        <a:pt x="456" y="360"/>
                        <a:pt x="456" y="360"/>
                      </a:cubicBezTo>
                      <a:cubicBezTo>
                        <a:pt x="456" y="360"/>
                        <a:pt x="476" y="325"/>
                        <a:pt x="471" y="317"/>
                      </a:cubicBezTo>
                      <a:cubicBezTo>
                        <a:pt x="466" y="309"/>
                        <a:pt x="439" y="302"/>
                        <a:pt x="436" y="290"/>
                      </a:cubicBezTo>
                      <a:cubicBezTo>
                        <a:pt x="433" y="278"/>
                        <a:pt x="450" y="239"/>
                        <a:pt x="451" y="232"/>
                      </a:cubicBezTo>
                      <a:cubicBezTo>
                        <a:pt x="452" y="226"/>
                        <a:pt x="454" y="203"/>
                        <a:pt x="455" y="198"/>
                      </a:cubicBezTo>
                      <a:cubicBezTo>
                        <a:pt x="380" y="128"/>
                        <a:pt x="380" y="128"/>
                        <a:pt x="380" y="128"/>
                      </a:cubicBezTo>
                      <a:cubicBezTo>
                        <a:pt x="380" y="128"/>
                        <a:pt x="388" y="122"/>
                        <a:pt x="391" y="118"/>
                      </a:cubicBezTo>
                      <a:cubicBezTo>
                        <a:pt x="394" y="114"/>
                        <a:pt x="382" y="105"/>
                        <a:pt x="382" y="105"/>
                      </a:cubicBezTo>
                      <a:cubicBezTo>
                        <a:pt x="216" y="1"/>
                        <a:pt x="216" y="1"/>
                        <a:pt x="216" y="1"/>
                      </a:cubicBezTo>
                      <a:cubicBezTo>
                        <a:pt x="206" y="1"/>
                        <a:pt x="206" y="1"/>
                        <a:pt x="206" y="1"/>
                      </a:cubicBezTo>
                      <a:cubicBezTo>
                        <a:pt x="206" y="1"/>
                        <a:pt x="206" y="1"/>
                        <a:pt x="206" y="1"/>
                      </a:cubicBezTo>
                      <a:cubicBezTo>
                        <a:pt x="206" y="10"/>
                        <a:pt x="209" y="24"/>
                        <a:pt x="209" y="24"/>
                      </a:cubicBezTo>
                      <a:cubicBezTo>
                        <a:pt x="194" y="31"/>
                        <a:pt x="194" y="31"/>
                        <a:pt x="194" y="31"/>
                      </a:cubicBezTo>
                      <a:cubicBezTo>
                        <a:pt x="194" y="31"/>
                        <a:pt x="181" y="40"/>
                        <a:pt x="176" y="55"/>
                      </a:cubicBezTo>
                      <a:cubicBezTo>
                        <a:pt x="171" y="70"/>
                        <a:pt x="206" y="59"/>
                        <a:pt x="206" y="59"/>
                      </a:cubicBezTo>
                      <a:cubicBezTo>
                        <a:pt x="206" y="59"/>
                        <a:pt x="187" y="75"/>
                        <a:pt x="181" y="78"/>
                      </a:cubicBezTo>
                      <a:cubicBezTo>
                        <a:pt x="175" y="81"/>
                        <a:pt x="171" y="72"/>
                        <a:pt x="162" y="71"/>
                      </a:cubicBezTo>
                      <a:cubicBezTo>
                        <a:pt x="153" y="70"/>
                        <a:pt x="154" y="89"/>
                        <a:pt x="154" y="89"/>
                      </a:cubicBezTo>
                      <a:cubicBezTo>
                        <a:pt x="161" y="99"/>
                        <a:pt x="161" y="99"/>
                        <a:pt x="161" y="99"/>
                      </a:cubicBezTo>
                      <a:cubicBezTo>
                        <a:pt x="161" y="99"/>
                        <a:pt x="158" y="100"/>
                        <a:pt x="148" y="99"/>
                      </a:cubicBezTo>
                      <a:cubicBezTo>
                        <a:pt x="138" y="98"/>
                        <a:pt x="150" y="73"/>
                        <a:pt x="150" y="73"/>
                      </a:cubicBezTo>
                      <a:cubicBezTo>
                        <a:pt x="138" y="78"/>
                        <a:pt x="138" y="78"/>
                        <a:pt x="138" y="78"/>
                      </a:cubicBezTo>
                      <a:cubicBezTo>
                        <a:pt x="138" y="78"/>
                        <a:pt x="130" y="66"/>
                        <a:pt x="123" y="66"/>
                      </a:cubicBezTo>
                      <a:cubicBezTo>
                        <a:pt x="113" y="66"/>
                        <a:pt x="114" y="92"/>
                        <a:pt x="109" y="92"/>
                      </a:cubicBezTo>
                      <a:cubicBezTo>
                        <a:pt x="104" y="92"/>
                        <a:pt x="104" y="80"/>
                        <a:pt x="104" y="80"/>
                      </a:cubicBezTo>
                      <a:cubicBezTo>
                        <a:pt x="104" y="80"/>
                        <a:pt x="99" y="54"/>
                        <a:pt x="101" y="40"/>
                      </a:cubicBezTo>
                      <a:cubicBezTo>
                        <a:pt x="103" y="26"/>
                        <a:pt x="111" y="8"/>
                        <a:pt x="112" y="2"/>
                      </a:cubicBezTo>
                      <a:cubicBezTo>
                        <a:pt x="112" y="1"/>
                        <a:pt x="112" y="1"/>
                        <a:pt x="112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46" y="13"/>
                        <a:pt x="56" y="23"/>
                        <a:pt x="60" y="31"/>
                      </a:cubicBezTo>
                      <a:cubicBezTo>
                        <a:pt x="64" y="39"/>
                        <a:pt x="58" y="44"/>
                        <a:pt x="58" y="44"/>
                      </a:cubicBezTo>
                      <a:cubicBezTo>
                        <a:pt x="58" y="44"/>
                        <a:pt x="64" y="52"/>
                        <a:pt x="64" y="64"/>
                      </a:cubicBezTo>
                      <a:cubicBezTo>
                        <a:pt x="64" y="76"/>
                        <a:pt x="44" y="74"/>
                        <a:pt x="44" y="74"/>
                      </a:cubicBezTo>
                      <a:cubicBezTo>
                        <a:pt x="44" y="74"/>
                        <a:pt x="40" y="88"/>
                        <a:pt x="38" y="97"/>
                      </a:cubicBezTo>
                      <a:cubicBezTo>
                        <a:pt x="36" y="106"/>
                        <a:pt x="60" y="107"/>
                        <a:pt x="60" y="107"/>
                      </a:cubicBezTo>
                      <a:cubicBezTo>
                        <a:pt x="59" y="118"/>
                        <a:pt x="59" y="118"/>
                        <a:pt x="59" y="118"/>
                      </a:cubicBezTo>
                      <a:cubicBezTo>
                        <a:pt x="51" y="121"/>
                        <a:pt x="51" y="121"/>
                        <a:pt x="51" y="121"/>
                      </a:cubicBezTo>
                      <a:cubicBezTo>
                        <a:pt x="53" y="130"/>
                        <a:pt x="53" y="130"/>
                        <a:pt x="53" y="130"/>
                      </a:cubicBezTo>
                      <a:cubicBezTo>
                        <a:pt x="53" y="130"/>
                        <a:pt x="41" y="129"/>
                        <a:pt x="34" y="142"/>
                      </a:cubicBezTo>
                      <a:cubicBezTo>
                        <a:pt x="27" y="155"/>
                        <a:pt x="34" y="165"/>
                        <a:pt x="18" y="177"/>
                      </a:cubicBezTo>
                      <a:cubicBezTo>
                        <a:pt x="11" y="182"/>
                        <a:pt x="6" y="184"/>
                        <a:pt x="2" y="185"/>
                      </a:cubicBezTo>
                      <a:cubicBezTo>
                        <a:pt x="0" y="194"/>
                        <a:pt x="0" y="194"/>
                        <a:pt x="0" y="194"/>
                      </a:cubicBezTo>
                      <a:cubicBezTo>
                        <a:pt x="0" y="194"/>
                        <a:pt x="6" y="205"/>
                        <a:pt x="9" y="209"/>
                      </a:cubicBezTo>
                      <a:cubicBezTo>
                        <a:pt x="12" y="213"/>
                        <a:pt x="8" y="226"/>
                        <a:pt x="8" y="226"/>
                      </a:cubicBezTo>
                      <a:cubicBezTo>
                        <a:pt x="8" y="226"/>
                        <a:pt x="19" y="256"/>
                        <a:pt x="15" y="261"/>
                      </a:cubicBezTo>
                      <a:cubicBezTo>
                        <a:pt x="11" y="266"/>
                        <a:pt x="8" y="269"/>
                        <a:pt x="9" y="279"/>
                      </a:cubicBezTo>
                      <a:cubicBezTo>
                        <a:pt x="10" y="289"/>
                        <a:pt x="18" y="294"/>
                        <a:pt x="24" y="296"/>
                      </a:cubicBezTo>
                      <a:cubicBezTo>
                        <a:pt x="30" y="298"/>
                        <a:pt x="47" y="316"/>
                        <a:pt x="51" y="322"/>
                      </a:cubicBezTo>
                      <a:cubicBezTo>
                        <a:pt x="55" y="328"/>
                        <a:pt x="51" y="337"/>
                        <a:pt x="49" y="345"/>
                      </a:cubicBezTo>
                      <a:cubicBezTo>
                        <a:pt x="47" y="353"/>
                        <a:pt x="56" y="370"/>
                        <a:pt x="56" y="370"/>
                      </a:cubicBezTo>
                      <a:cubicBezTo>
                        <a:pt x="74" y="394"/>
                        <a:pt x="74" y="394"/>
                        <a:pt x="74" y="394"/>
                      </a:cubicBezTo>
                      <a:cubicBezTo>
                        <a:pt x="74" y="394"/>
                        <a:pt x="72" y="401"/>
                        <a:pt x="69" y="409"/>
                      </a:cubicBezTo>
                      <a:cubicBezTo>
                        <a:pt x="77" y="410"/>
                        <a:pt x="89" y="406"/>
                        <a:pt x="89" y="406"/>
                      </a:cubicBezTo>
                      <a:cubicBezTo>
                        <a:pt x="89" y="406"/>
                        <a:pt x="91" y="418"/>
                        <a:pt x="94" y="421"/>
                      </a:cubicBezTo>
                      <a:cubicBezTo>
                        <a:pt x="97" y="424"/>
                        <a:pt x="106" y="421"/>
                        <a:pt x="106" y="421"/>
                      </a:cubicBezTo>
                      <a:cubicBezTo>
                        <a:pt x="106" y="421"/>
                        <a:pt x="113" y="430"/>
                        <a:pt x="118" y="434"/>
                      </a:cubicBezTo>
                      <a:cubicBezTo>
                        <a:pt x="123" y="438"/>
                        <a:pt x="133" y="432"/>
                        <a:pt x="133" y="432"/>
                      </a:cubicBezTo>
                      <a:cubicBezTo>
                        <a:pt x="135" y="443"/>
                        <a:pt x="135" y="443"/>
                        <a:pt x="135" y="443"/>
                      </a:cubicBezTo>
                      <a:cubicBezTo>
                        <a:pt x="147" y="442"/>
                        <a:pt x="147" y="442"/>
                        <a:pt x="147" y="442"/>
                      </a:cubicBezTo>
                      <a:cubicBezTo>
                        <a:pt x="158" y="452"/>
                        <a:pt x="158" y="452"/>
                        <a:pt x="158" y="452"/>
                      </a:cubicBezTo>
                      <a:cubicBezTo>
                        <a:pt x="173" y="451"/>
                        <a:pt x="173" y="451"/>
                        <a:pt x="173" y="451"/>
                      </a:cubicBezTo>
                      <a:cubicBezTo>
                        <a:pt x="179" y="461"/>
                        <a:pt x="179" y="461"/>
                        <a:pt x="179" y="461"/>
                      </a:cubicBezTo>
                      <a:cubicBezTo>
                        <a:pt x="198" y="461"/>
                        <a:pt x="198" y="461"/>
                        <a:pt x="198" y="461"/>
                      </a:cubicBezTo>
                      <a:cubicBezTo>
                        <a:pt x="198" y="461"/>
                        <a:pt x="202" y="448"/>
                        <a:pt x="212" y="453"/>
                      </a:cubicBezTo>
                      <a:cubicBezTo>
                        <a:pt x="222" y="458"/>
                        <a:pt x="230" y="479"/>
                        <a:pt x="230" y="479"/>
                      </a:cubicBezTo>
                      <a:cubicBezTo>
                        <a:pt x="232" y="514"/>
                        <a:pt x="232" y="514"/>
                        <a:pt x="232" y="514"/>
                      </a:cubicBezTo>
                      <a:cubicBezTo>
                        <a:pt x="232" y="514"/>
                        <a:pt x="237" y="515"/>
                        <a:pt x="237" y="522"/>
                      </a:cubicBezTo>
                      <a:cubicBezTo>
                        <a:pt x="237" y="529"/>
                        <a:pt x="234" y="531"/>
                        <a:pt x="231" y="539"/>
                      </a:cubicBezTo>
                      <a:cubicBezTo>
                        <a:pt x="228" y="547"/>
                        <a:pt x="250" y="557"/>
                        <a:pt x="250" y="557"/>
                      </a:cubicBezTo>
                      <a:cubicBezTo>
                        <a:pt x="249" y="569"/>
                        <a:pt x="249" y="569"/>
                        <a:pt x="249" y="569"/>
                      </a:cubicBezTo>
                      <a:cubicBezTo>
                        <a:pt x="262" y="569"/>
                        <a:pt x="280" y="568"/>
                        <a:pt x="280" y="568"/>
                      </a:cubicBezTo>
                      <a:cubicBezTo>
                        <a:pt x="280" y="568"/>
                        <a:pt x="284" y="558"/>
                        <a:pt x="292" y="558"/>
                      </a:cubicBezTo>
                      <a:cubicBezTo>
                        <a:pt x="300" y="558"/>
                        <a:pt x="319" y="579"/>
                        <a:pt x="324" y="579"/>
                      </a:cubicBezTo>
                      <a:cubicBezTo>
                        <a:pt x="329" y="579"/>
                        <a:pt x="334" y="570"/>
                        <a:pt x="338" y="568"/>
                      </a:cubicBezTo>
                      <a:cubicBezTo>
                        <a:pt x="342" y="566"/>
                        <a:pt x="356" y="574"/>
                        <a:pt x="356" y="574"/>
                      </a:cubicBezTo>
                      <a:cubicBezTo>
                        <a:pt x="356" y="574"/>
                        <a:pt x="360" y="576"/>
                        <a:pt x="367" y="573"/>
                      </a:cubicBezTo>
                      <a:cubicBezTo>
                        <a:pt x="374" y="570"/>
                        <a:pt x="390" y="552"/>
                        <a:pt x="390" y="552"/>
                      </a:cubicBezTo>
                      <a:cubicBezTo>
                        <a:pt x="406" y="552"/>
                        <a:pt x="406" y="552"/>
                        <a:pt x="406" y="552"/>
                      </a:cubicBezTo>
                      <a:cubicBezTo>
                        <a:pt x="406" y="552"/>
                        <a:pt x="409" y="560"/>
                        <a:pt x="413" y="559"/>
                      </a:cubicBezTo>
                      <a:cubicBezTo>
                        <a:pt x="417" y="558"/>
                        <a:pt x="438" y="545"/>
                        <a:pt x="438" y="545"/>
                      </a:cubicBezTo>
                      <a:cubicBezTo>
                        <a:pt x="457" y="544"/>
                        <a:pt x="457" y="544"/>
                        <a:pt x="457" y="544"/>
                      </a:cubicBezTo>
                      <a:cubicBezTo>
                        <a:pt x="510" y="507"/>
                        <a:pt x="510" y="507"/>
                        <a:pt x="510" y="507"/>
                      </a:cubicBezTo>
                      <a:lnTo>
                        <a:pt x="507" y="496"/>
                      </a:lnTo>
                      <a:close/>
                      <a:moveTo>
                        <a:pt x="481" y="237"/>
                      </a:moveTo>
                      <a:cubicBezTo>
                        <a:pt x="497" y="235"/>
                        <a:pt x="483" y="196"/>
                        <a:pt x="476" y="204"/>
                      </a:cubicBezTo>
                      <a:cubicBezTo>
                        <a:pt x="468" y="212"/>
                        <a:pt x="468" y="239"/>
                        <a:pt x="481" y="237"/>
                      </a:cubicBezTo>
                      <a:close/>
                      <a:moveTo>
                        <a:pt x="452" y="278"/>
                      </a:moveTo>
                      <a:cubicBezTo>
                        <a:pt x="452" y="278"/>
                        <a:pt x="468" y="296"/>
                        <a:pt x="478" y="294"/>
                      </a:cubicBezTo>
                      <a:cubicBezTo>
                        <a:pt x="487" y="292"/>
                        <a:pt x="470" y="272"/>
                        <a:pt x="470" y="272"/>
                      </a:cubicBezTo>
                      <a:cubicBezTo>
                        <a:pt x="470" y="272"/>
                        <a:pt x="474" y="251"/>
                        <a:pt x="458" y="251"/>
                      </a:cubicBezTo>
                      <a:cubicBezTo>
                        <a:pt x="442" y="251"/>
                        <a:pt x="452" y="278"/>
                        <a:pt x="452" y="27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3" name="Swaziland">
                  <a:extLst>
                    <a:ext uri="{FF2B5EF4-FFF2-40B4-BE49-F238E27FC236}">
                      <a16:creationId xmlns:a16="http://schemas.microsoft.com/office/drawing/2014/main" id="{4D4B7C24-58D2-A36D-2B79-0E075199655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130361" y="5888401"/>
                  <a:ext cx="122310" cy="116566"/>
                </a:xfrm>
                <a:custGeom>
                  <a:avLst/>
                  <a:gdLst>
                    <a:gd name="T0" fmla="*/ 59 w 73"/>
                    <a:gd name="T1" fmla="*/ 35 h 87"/>
                    <a:gd name="T2" fmla="*/ 62 w 73"/>
                    <a:gd name="T3" fmla="*/ 11 h 87"/>
                    <a:gd name="T4" fmla="*/ 46 w 73"/>
                    <a:gd name="T5" fmla="*/ 14 h 87"/>
                    <a:gd name="T6" fmla="*/ 27 w 73"/>
                    <a:gd name="T7" fmla="*/ 0 h 87"/>
                    <a:gd name="T8" fmla="*/ 11 w 73"/>
                    <a:gd name="T9" fmla="*/ 29 h 87"/>
                    <a:gd name="T10" fmla="*/ 2 w 73"/>
                    <a:gd name="T11" fmla="*/ 58 h 87"/>
                    <a:gd name="T12" fmla="*/ 34 w 73"/>
                    <a:gd name="T13" fmla="*/ 86 h 87"/>
                    <a:gd name="T14" fmla="*/ 56 w 73"/>
                    <a:gd name="T15" fmla="*/ 87 h 87"/>
                    <a:gd name="T16" fmla="*/ 63 w 73"/>
                    <a:gd name="T17" fmla="*/ 62 h 87"/>
                    <a:gd name="T18" fmla="*/ 73 w 73"/>
                    <a:gd name="T19" fmla="*/ 58 h 87"/>
                    <a:gd name="T20" fmla="*/ 69 w 73"/>
                    <a:gd name="T21" fmla="*/ 42 h 87"/>
                    <a:gd name="T22" fmla="*/ 59 w 73"/>
                    <a:gd name="T23" fmla="*/ 35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3" h="87">
                      <a:moveTo>
                        <a:pt x="59" y="35"/>
                      </a:moveTo>
                      <a:cubicBezTo>
                        <a:pt x="57" y="28"/>
                        <a:pt x="62" y="11"/>
                        <a:pt x="62" y="11"/>
                      </a:cubicBezTo>
                      <a:cubicBezTo>
                        <a:pt x="46" y="14"/>
                        <a:pt x="46" y="14"/>
                        <a:pt x="46" y="14"/>
                      </a:cubicBezTo>
                      <a:cubicBezTo>
                        <a:pt x="46" y="14"/>
                        <a:pt x="34" y="0"/>
                        <a:pt x="27" y="0"/>
                      </a:cubicBezTo>
                      <a:cubicBezTo>
                        <a:pt x="20" y="0"/>
                        <a:pt x="14" y="25"/>
                        <a:pt x="11" y="29"/>
                      </a:cubicBezTo>
                      <a:cubicBezTo>
                        <a:pt x="8" y="33"/>
                        <a:pt x="0" y="46"/>
                        <a:pt x="2" y="58"/>
                      </a:cubicBezTo>
                      <a:cubicBezTo>
                        <a:pt x="4" y="70"/>
                        <a:pt x="27" y="86"/>
                        <a:pt x="34" y="86"/>
                      </a:cubicBezTo>
                      <a:cubicBezTo>
                        <a:pt x="41" y="86"/>
                        <a:pt x="56" y="87"/>
                        <a:pt x="56" y="87"/>
                      </a:cubicBezTo>
                      <a:cubicBezTo>
                        <a:pt x="63" y="62"/>
                        <a:pt x="63" y="62"/>
                        <a:pt x="63" y="62"/>
                      </a:cubicBezTo>
                      <a:cubicBezTo>
                        <a:pt x="63" y="62"/>
                        <a:pt x="68" y="59"/>
                        <a:pt x="73" y="58"/>
                      </a:cubicBezTo>
                      <a:cubicBezTo>
                        <a:pt x="69" y="42"/>
                        <a:pt x="69" y="42"/>
                        <a:pt x="69" y="42"/>
                      </a:cubicBezTo>
                      <a:cubicBezTo>
                        <a:pt x="69" y="42"/>
                        <a:pt x="62" y="42"/>
                        <a:pt x="59" y="3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" name="Sudan">
                  <a:extLst>
                    <a:ext uri="{FF2B5EF4-FFF2-40B4-BE49-F238E27FC236}">
                      <a16:creationId xmlns:a16="http://schemas.microsoft.com/office/drawing/2014/main" id="{58104929-2AFD-1E53-C6D1-3D0D1B77264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67061" y="2410244"/>
                  <a:ext cx="1293672" cy="1398786"/>
                </a:xfrm>
                <a:custGeom>
                  <a:avLst/>
                  <a:gdLst>
                    <a:gd name="T0" fmla="*/ 569 w 781"/>
                    <a:gd name="T1" fmla="*/ 46 h 1054"/>
                    <a:gd name="T2" fmla="*/ 443 w 781"/>
                    <a:gd name="T3" fmla="*/ 56 h 1054"/>
                    <a:gd name="T4" fmla="*/ 143 w 781"/>
                    <a:gd name="T5" fmla="*/ 56 h 1054"/>
                    <a:gd name="T6" fmla="*/ 101 w 781"/>
                    <a:gd name="T7" fmla="*/ 398 h 1054"/>
                    <a:gd name="T8" fmla="*/ 41 w 781"/>
                    <a:gd name="T9" fmla="*/ 434 h 1054"/>
                    <a:gd name="T10" fmla="*/ 30 w 781"/>
                    <a:gd name="T11" fmla="*/ 468 h 1054"/>
                    <a:gd name="T12" fmla="*/ 15 w 781"/>
                    <a:gd name="T13" fmla="*/ 504 h 1054"/>
                    <a:gd name="T14" fmla="*/ 11 w 781"/>
                    <a:gd name="T15" fmla="*/ 565 h 1054"/>
                    <a:gd name="T16" fmla="*/ 42 w 781"/>
                    <a:gd name="T17" fmla="*/ 598 h 1054"/>
                    <a:gd name="T18" fmla="*/ 56 w 781"/>
                    <a:gd name="T19" fmla="*/ 634 h 1054"/>
                    <a:gd name="T20" fmla="*/ 93 w 781"/>
                    <a:gd name="T21" fmla="*/ 714 h 1054"/>
                    <a:gd name="T22" fmla="*/ 83 w 781"/>
                    <a:gd name="T23" fmla="*/ 771 h 1054"/>
                    <a:gd name="T24" fmla="*/ 116 w 781"/>
                    <a:gd name="T25" fmla="*/ 797 h 1054"/>
                    <a:gd name="T26" fmla="*/ 171 w 781"/>
                    <a:gd name="T27" fmla="*/ 826 h 1054"/>
                    <a:gd name="T28" fmla="*/ 208 w 781"/>
                    <a:gd name="T29" fmla="*/ 878 h 1054"/>
                    <a:gd name="T30" fmla="*/ 225 w 781"/>
                    <a:gd name="T31" fmla="*/ 904 h 1054"/>
                    <a:gd name="T32" fmla="*/ 256 w 781"/>
                    <a:gd name="T33" fmla="*/ 932 h 1054"/>
                    <a:gd name="T34" fmla="*/ 285 w 781"/>
                    <a:gd name="T35" fmla="*/ 981 h 1054"/>
                    <a:gd name="T36" fmla="*/ 333 w 781"/>
                    <a:gd name="T37" fmla="*/ 994 h 1054"/>
                    <a:gd name="T38" fmla="*/ 390 w 781"/>
                    <a:gd name="T39" fmla="*/ 1017 h 1054"/>
                    <a:gd name="T40" fmla="*/ 431 w 781"/>
                    <a:gd name="T41" fmla="*/ 1049 h 1054"/>
                    <a:gd name="T42" fmla="*/ 474 w 781"/>
                    <a:gd name="T43" fmla="*/ 1037 h 1054"/>
                    <a:gd name="T44" fmla="*/ 508 w 781"/>
                    <a:gd name="T45" fmla="*/ 1039 h 1054"/>
                    <a:gd name="T46" fmla="*/ 553 w 781"/>
                    <a:gd name="T47" fmla="*/ 1040 h 1054"/>
                    <a:gd name="T48" fmla="*/ 597 w 781"/>
                    <a:gd name="T49" fmla="*/ 995 h 1054"/>
                    <a:gd name="T50" fmla="*/ 669 w 781"/>
                    <a:gd name="T51" fmla="*/ 976 h 1054"/>
                    <a:gd name="T52" fmla="*/ 628 w 781"/>
                    <a:gd name="T53" fmla="*/ 912 h 1054"/>
                    <a:gd name="T54" fmla="*/ 610 w 781"/>
                    <a:gd name="T55" fmla="*/ 882 h 1054"/>
                    <a:gd name="T56" fmla="*/ 587 w 781"/>
                    <a:gd name="T57" fmla="*/ 846 h 1054"/>
                    <a:gd name="T58" fmla="*/ 542 w 781"/>
                    <a:gd name="T59" fmla="*/ 802 h 1054"/>
                    <a:gd name="T60" fmla="*/ 568 w 781"/>
                    <a:gd name="T61" fmla="*/ 792 h 1054"/>
                    <a:gd name="T62" fmla="*/ 580 w 781"/>
                    <a:gd name="T63" fmla="*/ 719 h 1054"/>
                    <a:gd name="T64" fmla="*/ 603 w 781"/>
                    <a:gd name="T65" fmla="*/ 656 h 1054"/>
                    <a:gd name="T66" fmla="*/ 621 w 781"/>
                    <a:gd name="T67" fmla="*/ 631 h 1054"/>
                    <a:gd name="T68" fmla="*/ 642 w 781"/>
                    <a:gd name="T69" fmla="*/ 596 h 1054"/>
                    <a:gd name="T70" fmla="*/ 677 w 781"/>
                    <a:gd name="T71" fmla="*/ 555 h 1054"/>
                    <a:gd name="T72" fmla="*/ 691 w 781"/>
                    <a:gd name="T73" fmla="*/ 471 h 1054"/>
                    <a:gd name="T74" fmla="*/ 696 w 781"/>
                    <a:gd name="T75" fmla="*/ 414 h 1054"/>
                    <a:gd name="T76" fmla="*/ 703 w 781"/>
                    <a:gd name="T77" fmla="*/ 346 h 1054"/>
                    <a:gd name="T78" fmla="*/ 733 w 781"/>
                    <a:gd name="T79" fmla="*/ 321 h 1054"/>
                    <a:gd name="T80" fmla="*/ 781 w 781"/>
                    <a:gd name="T81" fmla="*/ 271 h 1054"/>
                    <a:gd name="T82" fmla="*/ 722 w 781"/>
                    <a:gd name="T83" fmla="*/ 228 h 1054"/>
                    <a:gd name="T84" fmla="*/ 708 w 781"/>
                    <a:gd name="T85" fmla="*/ 127 h 1054"/>
                    <a:gd name="T86" fmla="*/ 696 w 781"/>
                    <a:gd name="T87" fmla="*/ 84 h 1054"/>
                    <a:gd name="T88" fmla="*/ 661 w 781"/>
                    <a:gd name="T89" fmla="*/ 23 h 1054"/>
                    <a:gd name="T90" fmla="*/ 618 w 781"/>
                    <a:gd name="T91" fmla="*/ 15 h 10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81" h="1054">
                      <a:moveTo>
                        <a:pt x="601" y="16"/>
                      </a:moveTo>
                      <a:cubicBezTo>
                        <a:pt x="601" y="16"/>
                        <a:pt x="601" y="39"/>
                        <a:pt x="591" y="43"/>
                      </a:cubicBezTo>
                      <a:cubicBezTo>
                        <a:pt x="581" y="47"/>
                        <a:pt x="579" y="43"/>
                        <a:pt x="569" y="46"/>
                      </a:cubicBezTo>
                      <a:cubicBezTo>
                        <a:pt x="559" y="49"/>
                        <a:pt x="560" y="70"/>
                        <a:pt x="547" y="77"/>
                      </a:cubicBezTo>
                      <a:cubicBezTo>
                        <a:pt x="534" y="84"/>
                        <a:pt x="522" y="59"/>
                        <a:pt x="522" y="59"/>
                      </a:cubicBezTo>
                      <a:cubicBezTo>
                        <a:pt x="443" y="56"/>
                        <a:pt x="443" y="56"/>
                        <a:pt x="443" y="56"/>
                      </a:cubicBezTo>
                      <a:cubicBezTo>
                        <a:pt x="443" y="56"/>
                        <a:pt x="445" y="46"/>
                        <a:pt x="438" y="48"/>
                      </a:cubicBezTo>
                      <a:cubicBezTo>
                        <a:pt x="431" y="50"/>
                        <a:pt x="429" y="60"/>
                        <a:pt x="429" y="60"/>
                      </a:cubicBezTo>
                      <a:cubicBezTo>
                        <a:pt x="143" y="56"/>
                        <a:pt x="143" y="56"/>
                        <a:pt x="143" y="56"/>
                      </a:cubicBezTo>
                      <a:cubicBezTo>
                        <a:pt x="144" y="164"/>
                        <a:pt x="144" y="164"/>
                        <a:pt x="144" y="164"/>
                      </a:cubicBezTo>
                      <a:cubicBezTo>
                        <a:pt x="96" y="165"/>
                        <a:pt x="96" y="165"/>
                        <a:pt x="96" y="165"/>
                      </a:cubicBezTo>
                      <a:cubicBezTo>
                        <a:pt x="101" y="398"/>
                        <a:pt x="101" y="398"/>
                        <a:pt x="101" y="398"/>
                      </a:cubicBezTo>
                      <a:cubicBezTo>
                        <a:pt x="101" y="398"/>
                        <a:pt x="69" y="393"/>
                        <a:pt x="56" y="397"/>
                      </a:cubicBezTo>
                      <a:cubicBezTo>
                        <a:pt x="43" y="401"/>
                        <a:pt x="52" y="412"/>
                        <a:pt x="54" y="420"/>
                      </a:cubicBezTo>
                      <a:cubicBezTo>
                        <a:pt x="56" y="428"/>
                        <a:pt x="47" y="428"/>
                        <a:pt x="41" y="434"/>
                      </a:cubicBezTo>
                      <a:cubicBezTo>
                        <a:pt x="35" y="440"/>
                        <a:pt x="37" y="452"/>
                        <a:pt x="37" y="452"/>
                      </a:cubicBezTo>
                      <a:cubicBezTo>
                        <a:pt x="27" y="452"/>
                        <a:pt x="27" y="452"/>
                        <a:pt x="27" y="452"/>
                      </a:cubicBezTo>
                      <a:cubicBezTo>
                        <a:pt x="30" y="468"/>
                        <a:pt x="30" y="468"/>
                        <a:pt x="30" y="468"/>
                      </a:cubicBezTo>
                      <a:cubicBezTo>
                        <a:pt x="35" y="479"/>
                        <a:pt x="35" y="479"/>
                        <a:pt x="35" y="479"/>
                      </a:cubicBezTo>
                      <a:cubicBezTo>
                        <a:pt x="24" y="486"/>
                        <a:pt x="24" y="486"/>
                        <a:pt x="24" y="486"/>
                      </a:cubicBezTo>
                      <a:cubicBezTo>
                        <a:pt x="24" y="486"/>
                        <a:pt x="9" y="494"/>
                        <a:pt x="15" y="504"/>
                      </a:cubicBezTo>
                      <a:cubicBezTo>
                        <a:pt x="21" y="514"/>
                        <a:pt x="24" y="518"/>
                        <a:pt x="22" y="527"/>
                      </a:cubicBezTo>
                      <a:cubicBezTo>
                        <a:pt x="20" y="536"/>
                        <a:pt x="6" y="536"/>
                        <a:pt x="3" y="547"/>
                      </a:cubicBezTo>
                      <a:cubicBezTo>
                        <a:pt x="0" y="558"/>
                        <a:pt x="6" y="563"/>
                        <a:pt x="11" y="565"/>
                      </a:cubicBezTo>
                      <a:cubicBezTo>
                        <a:pt x="16" y="567"/>
                        <a:pt x="21" y="557"/>
                        <a:pt x="28" y="560"/>
                      </a:cubicBezTo>
                      <a:cubicBezTo>
                        <a:pt x="35" y="563"/>
                        <a:pt x="33" y="590"/>
                        <a:pt x="33" y="590"/>
                      </a:cubicBezTo>
                      <a:cubicBezTo>
                        <a:pt x="42" y="598"/>
                        <a:pt x="42" y="598"/>
                        <a:pt x="42" y="598"/>
                      </a:cubicBezTo>
                      <a:cubicBezTo>
                        <a:pt x="31" y="603"/>
                        <a:pt x="31" y="603"/>
                        <a:pt x="31" y="603"/>
                      </a:cubicBezTo>
                      <a:cubicBezTo>
                        <a:pt x="35" y="620"/>
                        <a:pt x="35" y="620"/>
                        <a:pt x="35" y="620"/>
                      </a:cubicBezTo>
                      <a:cubicBezTo>
                        <a:pt x="35" y="620"/>
                        <a:pt x="44" y="621"/>
                        <a:pt x="56" y="634"/>
                      </a:cubicBezTo>
                      <a:cubicBezTo>
                        <a:pt x="68" y="647"/>
                        <a:pt x="50" y="643"/>
                        <a:pt x="50" y="643"/>
                      </a:cubicBezTo>
                      <a:cubicBezTo>
                        <a:pt x="52" y="659"/>
                        <a:pt x="52" y="659"/>
                        <a:pt x="52" y="659"/>
                      </a:cubicBezTo>
                      <a:cubicBezTo>
                        <a:pt x="52" y="659"/>
                        <a:pt x="89" y="692"/>
                        <a:pt x="93" y="714"/>
                      </a:cubicBezTo>
                      <a:cubicBezTo>
                        <a:pt x="97" y="736"/>
                        <a:pt x="82" y="743"/>
                        <a:pt x="81" y="753"/>
                      </a:cubicBezTo>
                      <a:cubicBezTo>
                        <a:pt x="80" y="763"/>
                        <a:pt x="89" y="760"/>
                        <a:pt x="89" y="760"/>
                      </a:cubicBezTo>
                      <a:cubicBezTo>
                        <a:pt x="83" y="771"/>
                        <a:pt x="83" y="771"/>
                        <a:pt x="83" y="771"/>
                      </a:cubicBezTo>
                      <a:cubicBezTo>
                        <a:pt x="117" y="774"/>
                        <a:pt x="117" y="774"/>
                        <a:pt x="117" y="774"/>
                      </a:cubicBezTo>
                      <a:cubicBezTo>
                        <a:pt x="117" y="781"/>
                        <a:pt x="117" y="781"/>
                        <a:pt x="117" y="781"/>
                      </a:cubicBezTo>
                      <a:cubicBezTo>
                        <a:pt x="117" y="781"/>
                        <a:pt x="110" y="789"/>
                        <a:pt x="116" y="797"/>
                      </a:cubicBezTo>
                      <a:cubicBezTo>
                        <a:pt x="122" y="805"/>
                        <a:pt x="152" y="803"/>
                        <a:pt x="152" y="803"/>
                      </a:cubicBezTo>
                      <a:cubicBezTo>
                        <a:pt x="152" y="816"/>
                        <a:pt x="152" y="816"/>
                        <a:pt x="152" y="816"/>
                      </a:cubicBezTo>
                      <a:cubicBezTo>
                        <a:pt x="152" y="816"/>
                        <a:pt x="168" y="815"/>
                        <a:pt x="171" y="826"/>
                      </a:cubicBezTo>
                      <a:cubicBezTo>
                        <a:pt x="174" y="837"/>
                        <a:pt x="159" y="831"/>
                        <a:pt x="165" y="841"/>
                      </a:cubicBezTo>
                      <a:cubicBezTo>
                        <a:pt x="171" y="851"/>
                        <a:pt x="185" y="853"/>
                        <a:pt x="192" y="854"/>
                      </a:cubicBezTo>
                      <a:cubicBezTo>
                        <a:pt x="199" y="855"/>
                        <a:pt x="208" y="878"/>
                        <a:pt x="208" y="878"/>
                      </a:cubicBezTo>
                      <a:cubicBezTo>
                        <a:pt x="208" y="878"/>
                        <a:pt x="223" y="879"/>
                        <a:pt x="223" y="887"/>
                      </a:cubicBezTo>
                      <a:cubicBezTo>
                        <a:pt x="223" y="895"/>
                        <a:pt x="216" y="889"/>
                        <a:pt x="217" y="895"/>
                      </a:cubicBezTo>
                      <a:cubicBezTo>
                        <a:pt x="218" y="901"/>
                        <a:pt x="225" y="904"/>
                        <a:pt x="225" y="904"/>
                      </a:cubicBezTo>
                      <a:cubicBezTo>
                        <a:pt x="224" y="917"/>
                        <a:pt x="224" y="917"/>
                        <a:pt x="224" y="917"/>
                      </a:cubicBezTo>
                      <a:cubicBezTo>
                        <a:pt x="239" y="918"/>
                        <a:pt x="239" y="918"/>
                        <a:pt x="239" y="918"/>
                      </a:cubicBezTo>
                      <a:cubicBezTo>
                        <a:pt x="239" y="918"/>
                        <a:pt x="248" y="924"/>
                        <a:pt x="256" y="932"/>
                      </a:cubicBezTo>
                      <a:cubicBezTo>
                        <a:pt x="264" y="940"/>
                        <a:pt x="260" y="954"/>
                        <a:pt x="260" y="954"/>
                      </a:cubicBezTo>
                      <a:cubicBezTo>
                        <a:pt x="264" y="962"/>
                        <a:pt x="264" y="962"/>
                        <a:pt x="264" y="962"/>
                      </a:cubicBezTo>
                      <a:cubicBezTo>
                        <a:pt x="285" y="981"/>
                        <a:pt x="285" y="981"/>
                        <a:pt x="285" y="981"/>
                      </a:cubicBezTo>
                      <a:cubicBezTo>
                        <a:pt x="285" y="995"/>
                        <a:pt x="285" y="995"/>
                        <a:pt x="285" y="995"/>
                      </a:cubicBezTo>
                      <a:cubicBezTo>
                        <a:pt x="316" y="1010"/>
                        <a:pt x="316" y="1010"/>
                        <a:pt x="316" y="1010"/>
                      </a:cubicBezTo>
                      <a:cubicBezTo>
                        <a:pt x="316" y="1010"/>
                        <a:pt x="324" y="994"/>
                        <a:pt x="333" y="994"/>
                      </a:cubicBezTo>
                      <a:cubicBezTo>
                        <a:pt x="342" y="994"/>
                        <a:pt x="343" y="1006"/>
                        <a:pt x="354" y="1006"/>
                      </a:cubicBezTo>
                      <a:cubicBezTo>
                        <a:pt x="365" y="1006"/>
                        <a:pt x="364" y="988"/>
                        <a:pt x="371" y="988"/>
                      </a:cubicBezTo>
                      <a:cubicBezTo>
                        <a:pt x="378" y="988"/>
                        <a:pt x="382" y="1005"/>
                        <a:pt x="390" y="1017"/>
                      </a:cubicBezTo>
                      <a:cubicBezTo>
                        <a:pt x="398" y="1029"/>
                        <a:pt x="417" y="1033"/>
                        <a:pt x="417" y="1033"/>
                      </a:cubicBezTo>
                      <a:cubicBezTo>
                        <a:pt x="420" y="1047"/>
                        <a:pt x="420" y="1047"/>
                        <a:pt x="420" y="1047"/>
                      </a:cubicBezTo>
                      <a:cubicBezTo>
                        <a:pt x="431" y="1049"/>
                        <a:pt x="431" y="1049"/>
                        <a:pt x="431" y="1049"/>
                      </a:cubicBezTo>
                      <a:cubicBezTo>
                        <a:pt x="431" y="1049"/>
                        <a:pt x="442" y="1036"/>
                        <a:pt x="447" y="1036"/>
                      </a:cubicBezTo>
                      <a:cubicBezTo>
                        <a:pt x="452" y="1036"/>
                        <a:pt x="461" y="1043"/>
                        <a:pt x="467" y="1044"/>
                      </a:cubicBezTo>
                      <a:cubicBezTo>
                        <a:pt x="473" y="1045"/>
                        <a:pt x="474" y="1037"/>
                        <a:pt x="474" y="1037"/>
                      </a:cubicBezTo>
                      <a:cubicBezTo>
                        <a:pt x="481" y="1036"/>
                        <a:pt x="481" y="1036"/>
                        <a:pt x="481" y="1036"/>
                      </a:cubicBezTo>
                      <a:cubicBezTo>
                        <a:pt x="495" y="1054"/>
                        <a:pt x="495" y="1054"/>
                        <a:pt x="495" y="1054"/>
                      </a:cubicBezTo>
                      <a:cubicBezTo>
                        <a:pt x="508" y="1039"/>
                        <a:pt x="508" y="1039"/>
                        <a:pt x="508" y="1039"/>
                      </a:cubicBezTo>
                      <a:cubicBezTo>
                        <a:pt x="524" y="1040"/>
                        <a:pt x="524" y="1040"/>
                        <a:pt x="524" y="1040"/>
                      </a:cubicBezTo>
                      <a:cubicBezTo>
                        <a:pt x="524" y="1040"/>
                        <a:pt x="531" y="1032"/>
                        <a:pt x="536" y="1032"/>
                      </a:cubicBezTo>
                      <a:cubicBezTo>
                        <a:pt x="541" y="1032"/>
                        <a:pt x="540" y="1038"/>
                        <a:pt x="553" y="1040"/>
                      </a:cubicBezTo>
                      <a:cubicBezTo>
                        <a:pt x="566" y="1042"/>
                        <a:pt x="575" y="1015"/>
                        <a:pt x="575" y="1015"/>
                      </a:cubicBezTo>
                      <a:cubicBezTo>
                        <a:pt x="583" y="1015"/>
                        <a:pt x="583" y="1015"/>
                        <a:pt x="583" y="1015"/>
                      </a:cubicBezTo>
                      <a:cubicBezTo>
                        <a:pt x="597" y="995"/>
                        <a:pt x="597" y="995"/>
                        <a:pt x="597" y="995"/>
                      </a:cubicBezTo>
                      <a:cubicBezTo>
                        <a:pt x="657" y="994"/>
                        <a:pt x="657" y="994"/>
                        <a:pt x="657" y="994"/>
                      </a:cubicBezTo>
                      <a:cubicBezTo>
                        <a:pt x="670" y="986"/>
                        <a:pt x="670" y="986"/>
                        <a:pt x="670" y="986"/>
                      </a:cubicBezTo>
                      <a:cubicBezTo>
                        <a:pt x="669" y="976"/>
                        <a:pt x="669" y="976"/>
                        <a:pt x="669" y="976"/>
                      </a:cubicBezTo>
                      <a:cubicBezTo>
                        <a:pt x="669" y="976"/>
                        <a:pt x="670" y="962"/>
                        <a:pt x="665" y="954"/>
                      </a:cubicBezTo>
                      <a:cubicBezTo>
                        <a:pt x="660" y="946"/>
                        <a:pt x="650" y="955"/>
                        <a:pt x="640" y="947"/>
                      </a:cubicBezTo>
                      <a:cubicBezTo>
                        <a:pt x="630" y="939"/>
                        <a:pt x="628" y="912"/>
                        <a:pt x="628" y="912"/>
                      </a:cubicBezTo>
                      <a:cubicBezTo>
                        <a:pt x="621" y="908"/>
                        <a:pt x="621" y="908"/>
                        <a:pt x="621" y="908"/>
                      </a:cubicBezTo>
                      <a:cubicBezTo>
                        <a:pt x="619" y="883"/>
                        <a:pt x="619" y="883"/>
                        <a:pt x="619" y="883"/>
                      </a:cubicBezTo>
                      <a:cubicBezTo>
                        <a:pt x="610" y="882"/>
                        <a:pt x="610" y="882"/>
                        <a:pt x="610" y="882"/>
                      </a:cubicBezTo>
                      <a:cubicBezTo>
                        <a:pt x="607" y="869"/>
                        <a:pt x="607" y="869"/>
                        <a:pt x="607" y="869"/>
                      </a:cubicBezTo>
                      <a:cubicBezTo>
                        <a:pt x="607" y="869"/>
                        <a:pt x="596" y="871"/>
                        <a:pt x="592" y="866"/>
                      </a:cubicBezTo>
                      <a:cubicBezTo>
                        <a:pt x="588" y="861"/>
                        <a:pt x="587" y="846"/>
                        <a:pt x="587" y="846"/>
                      </a:cubicBezTo>
                      <a:cubicBezTo>
                        <a:pt x="587" y="846"/>
                        <a:pt x="570" y="831"/>
                        <a:pt x="562" y="827"/>
                      </a:cubicBezTo>
                      <a:cubicBezTo>
                        <a:pt x="554" y="823"/>
                        <a:pt x="538" y="829"/>
                        <a:pt x="535" y="824"/>
                      </a:cubicBezTo>
                      <a:cubicBezTo>
                        <a:pt x="532" y="819"/>
                        <a:pt x="542" y="802"/>
                        <a:pt x="542" y="802"/>
                      </a:cubicBezTo>
                      <a:cubicBezTo>
                        <a:pt x="540" y="786"/>
                        <a:pt x="540" y="786"/>
                        <a:pt x="540" y="786"/>
                      </a:cubicBezTo>
                      <a:cubicBezTo>
                        <a:pt x="563" y="787"/>
                        <a:pt x="563" y="787"/>
                        <a:pt x="563" y="787"/>
                      </a:cubicBezTo>
                      <a:cubicBezTo>
                        <a:pt x="568" y="792"/>
                        <a:pt x="568" y="792"/>
                        <a:pt x="568" y="792"/>
                      </a:cubicBezTo>
                      <a:cubicBezTo>
                        <a:pt x="568" y="792"/>
                        <a:pt x="575" y="787"/>
                        <a:pt x="582" y="782"/>
                      </a:cubicBezTo>
                      <a:cubicBezTo>
                        <a:pt x="589" y="777"/>
                        <a:pt x="586" y="746"/>
                        <a:pt x="586" y="746"/>
                      </a:cubicBezTo>
                      <a:cubicBezTo>
                        <a:pt x="586" y="746"/>
                        <a:pt x="579" y="727"/>
                        <a:pt x="580" y="719"/>
                      </a:cubicBezTo>
                      <a:cubicBezTo>
                        <a:pt x="581" y="711"/>
                        <a:pt x="596" y="700"/>
                        <a:pt x="597" y="697"/>
                      </a:cubicBezTo>
                      <a:cubicBezTo>
                        <a:pt x="598" y="694"/>
                        <a:pt x="592" y="683"/>
                        <a:pt x="592" y="676"/>
                      </a:cubicBezTo>
                      <a:cubicBezTo>
                        <a:pt x="592" y="669"/>
                        <a:pt x="598" y="656"/>
                        <a:pt x="603" y="656"/>
                      </a:cubicBezTo>
                      <a:cubicBezTo>
                        <a:pt x="608" y="656"/>
                        <a:pt x="610" y="667"/>
                        <a:pt x="610" y="667"/>
                      </a:cubicBezTo>
                      <a:cubicBezTo>
                        <a:pt x="610" y="667"/>
                        <a:pt x="616" y="670"/>
                        <a:pt x="622" y="662"/>
                      </a:cubicBezTo>
                      <a:cubicBezTo>
                        <a:pt x="628" y="654"/>
                        <a:pt x="621" y="631"/>
                        <a:pt x="621" y="631"/>
                      </a:cubicBezTo>
                      <a:cubicBezTo>
                        <a:pt x="628" y="620"/>
                        <a:pt x="628" y="620"/>
                        <a:pt x="628" y="620"/>
                      </a:cubicBezTo>
                      <a:cubicBezTo>
                        <a:pt x="626" y="605"/>
                        <a:pt x="626" y="605"/>
                        <a:pt x="626" y="605"/>
                      </a:cubicBezTo>
                      <a:cubicBezTo>
                        <a:pt x="626" y="605"/>
                        <a:pt x="637" y="601"/>
                        <a:pt x="642" y="596"/>
                      </a:cubicBezTo>
                      <a:cubicBezTo>
                        <a:pt x="647" y="591"/>
                        <a:pt x="642" y="581"/>
                        <a:pt x="643" y="576"/>
                      </a:cubicBezTo>
                      <a:cubicBezTo>
                        <a:pt x="644" y="571"/>
                        <a:pt x="655" y="557"/>
                        <a:pt x="655" y="557"/>
                      </a:cubicBezTo>
                      <a:cubicBezTo>
                        <a:pt x="677" y="555"/>
                        <a:pt x="677" y="555"/>
                        <a:pt x="677" y="555"/>
                      </a:cubicBezTo>
                      <a:cubicBezTo>
                        <a:pt x="677" y="555"/>
                        <a:pt x="675" y="537"/>
                        <a:pt x="675" y="529"/>
                      </a:cubicBezTo>
                      <a:cubicBezTo>
                        <a:pt x="675" y="521"/>
                        <a:pt x="691" y="501"/>
                        <a:pt x="691" y="501"/>
                      </a:cubicBezTo>
                      <a:cubicBezTo>
                        <a:pt x="691" y="471"/>
                        <a:pt x="691" y="471"/>
                        <a:pt x="691" y="471"/>
                      </a:cubicBezTo>
                      <a:cubicBezTo>
                        <a:pt x="689" y="438"/>
                        <a:pt x="689" y="438"/>
                        <a:pt x="689" y="438"/>
                      </a:cubicBezTo>
                      <a:cubicBezTo>
                        <a:pt x="689" y="438"/>
                        <a:pt x="683" y="436"/>
                        <a:pt x="684" y="428"/>
                      </a:cubicBezTo>
                      <a:cubicBezTo>
                        <a:pt x="685" y="420"/>
                        <a:pt x="696" y="421"/>
                        <a:pt x="696" y="414"/>
                      </a:cubicBezTo>
                      <a:cubicBezTo>
                        <a:pt x="696" y="407"/>
                        <a:pt x="697" y="397"/>
                        <a:pt x="697" y="397"/>
                      </a:cubicBezTo>
                      <a:cubicBezTo>
                        <a:pt x="697" y="397"/>
                        <a:pt x="709" y="395"/>
                        <a:pt x="709" y="377"/>
                      </a:cubicBezTo>
                      <a:cubicBezTo>
                        <a:pt x="709" y="359"/>
                        <a:pt x="703" y="349"/>
                        <a:pt x="703" y="346"/>
                      </a:cubicBezTo>
                      <a:cubicBezTo>
                        <a:pt x="703" y="343"/>
                        <a:pt x="714" y="338"/>
                        <a:pt x="714" y="338"/>
                      </a:cubicBezTo>
                      <a:cubicBezTo>
                        <a:pt x="714" y="328"/>
                        <a:pt x="714" y="328"/>
                        <a:pt x="714" y="328"/>
                      </a:cubicBezTo>
                      <a:cubicBezTo>
                        <a:pt x="714" y="328"/>
                        <a:pt x="732" y="328"/>
                        <a:pt x="733" y="321"/>
                      </a:cubicBezTo>
                      <a:cubicBezTo>
                        <a:pt x="734" y="314"/>
                        <a:pt x="734" y="306"/>
                        <a:pt x="734" y="306"/>
                      </a:cubicBezTo>
                      <a:cubicBezTo>
                        <a:pt x="734" y="306"/>
                        <a:pt x="761" y="304"/>
                        <a:pt x="770" y="296"/>
                      </a:cubicBezTo>
                      <a:cubicBezTo>
                        <a:pt x="775" y="292"/>
                        <a:pt x="779" y="280"/>
                        <a:pt x="781" y="271"/>
                      </a:cubicBezTo>
                      <a:cubicBezTo>
                        <a:pt x="756" y="256"/>
                        <a:pt x="756" y="256"/>
                        <a:pt x="756" y="256"/>
                      </a:cubicBezTo>
                      <a:cubicBezTo>
                        <a:pt x="756" y="256"/>
                        <a:pt x="753" y="240"/>
                        <a:pt x="747" y="236"/>
                      </a:cubicBezTo>
                      <a:cubicBezTo>
                        <a:pt x="741" y="232"/>
                        <a:pt x="726" y="242"/>
                        <a:pt x="722" y="228"/>
                      </a:cubicBezTo>
                      <a:cubicBezTo>
                        <a:pt x="718" y="214"/>
                        <a:pt x="717" y="176"/>
                        <a:pt x="717" y="176"/>
                      </a:cubicBezTo>
                      <a:cubicBezTo>
                        <a:pt x="710" y="174"/>
                        <a:pt x="710" y="174"/>
                        <a:pt x="710" y="174"/>
                      </a:cubicBezTo>
                      <a:cubicBezTo>
                        <a:pt x="710" y="174"/>
                        <a:pt x="708" y="132"/>
                        <a:pt x="708" y="127"/>
                      </a:cubicBezTo>
                      <a:cubicBezTo>
                        <a:pt x="708" y="122"/>
                        <a:pt x="703" y="111"/>
                        <a:pt x="703" y="111"/>
                      </a:cubicBezTo>
                      <a:cubicBezTo>
                        <a:pt x="715" y="108"/>
                        <a:pt x="715" y="108"/>
                        <a:pt x="715" y="108"/>
                      </a:cubicBezTo>
                      <a:cubicBezTo>
                        <a:pt x="715" y="108"/>
                        <a:pt x="697" y="93"/>
                        <a:pt x="696" y="84"/>
                      </a:cubicBezTo>
                      <a:cubicBezTo>
                        <a:pt x="695" y="75"/>
                        <a:pt x="701" y="59"/>
                        <a:pt x="693" y="53"/>
                      </a:cubicBezTo>
                      <a:cubicBezTo>
                        <a:pt x="685" y="47"/>
                        <a:pt x="674" y="39"/>
                        <a:pt x="674" y="39"/>
                      </a:cubicBezTo>
                      <a:cubicBezTo>
                        <a:pt x="674" y="39"/>
                        <a:pt x="665" y="27"/>
                        <a:pt x="661" y="23"/>
                      </a:cubicBezTo>
                      <a:cubicBezTo>
                        <a:pt x="657" y="19"/>
                        <a:pt x="656" y="26"/>
                        <a:pt x="650" y="22"/>
                      </a:cubicBezTo>
                      <a:cubicBezTo>
                        <a:pt x="646" y="19"/>
                        <a:pt x="639" y="10"/>
                        <a:pt x="634" y="0"/>
                      </a:cubicBezTo>
                      <a:cubicBezTo>
                        <a:pt x="618" y="15"/>
                        <a:pt x="618" y="15"/>
                        <a:pt x="618" y="15"/>
                      </a:cubicBezTo>
                      <a:lnTo>
                        <a:pt x="601" y="1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5" name="South Africa">
                  <a:extLst>
                    <a:ext uri="{FF2B5EF4-FFF2-40B4-BE49-F238E27FC236}">
                      <a16:creationId xmlns:a16="http://schemas.microsoft.com/office/drawing/2014/main" id="{168800B6-1EBA-116D-B1E6-591CEACE41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029561" y="5632709"/>
                  <a:ext cx="1260743" cy="906204"/>
                </a:xfrm>
                <a:custGeom>
                  <a:avLst/>
                  <a:gdLst>
                    <a:gd name="T0" fmla="*/ 725 w 759"/>
                    <a:gd name="T1" fmla="*/ 254 h 682"/>
                    <a:gd name="T2" fmla="*/ 696 w 759"/>
                    <a:gd name="T3" fmla="*/ 278 h 682"/>
                    <a:gd name="T4" fmla="*/ 673 w 759"/>
                    <a:gd name="T5" fmla="*/ 221 h 682"/>
                    <a:gd name="T6" fmla="*/ 708 w 759"/>
                    <a:gd name="T7" fmla="*/ 206 h 682"/>
                    <a:gd name="T8" fmla="*/ 727 w 759"/>
                    <a:gd name="T9" fmla="*/ 125 h 682"/>
                    <a:gd name="T10" fmla="*/ 696 w 759"/>
                    <a:gd name="T11" fmla="*/ 15 h 682"/>
                    <a:gd name="T12" fmla="*/ 649 w 759"/>
                    <a:gd name="T13" fmla="*/ 8 h 682"/>
                    <a:gd name="T14" fmla="*/ 586 w 759"/>
                    <a:gd name="T15" fmla="*/ 2 h 682"/>
                    <a:gd name="T16" fmla="*/ 549 w 759"/>
                    <a:gd name="T17" fmla="*/ 25 h 682"/>
                    <a:gd name="T18" fmla="*/ 495 w 759"/>
                    <a:gd name="T19" fmla="*/ 77 h 682"/>
                    <a:gd name="T20" fmla="*/ 461 w 759"/>
                    <a:gd name="T21" fmla="*/ 137 h 682"/>
                    <a:gd name="T22" fmla="*/ 436 w 759"/>
                    <a:gd name="T23" fmla="*/ 152 h 682"/>
                    <a:gd name="T24" fmla="*/ 402 w 759"/>
                    <a:gd name="T25" fmla="*/ 192 h 682"/>
                    <a:gd name="T26" fmla="*/ 364 w 759"/>
                    <a:gd name="T27" fmla="*/ 190 h 682"/>
                    <a:gd name="T28" fmla="*/ 337 w 759"/>
                    <a:gd name="T29" fmla="*/ 179 h 682"/>
                    <a:gd name="T30" fmla="*/ 290 w 759"/>
                    <a:gd name="T31" fmla="*/ 212 h 682"/>
                    <a:gd name="T32" fmla="*/ 263 w 759"/>
                    <a:gd name="T33" fmla="*/ 240 h 682"/>
                    <a:gd name="T34" fmla="*/ 244 w 759"/>
                    <a:gd name="T35" fmla="*/ 251 h 682"/>
                    <a:gd name="T36" fmla="*/ 193 w 759"/>
                    <a:gd name="T37" fmla="*/ 231 h 682"/>
                    <a:gd name="T38" fmla="*/ 196 w 759"/>
                    <a:gd name="T39" fmla="*/ 189 h 682"/>
                    <a:gd name="T40" fmla="*/ 166 w 759"/>
                    <a:gd name="T41" fmla="*/ 143 h 682"/>
                    <a:gd name="T42" fmla="*/ 142 w 759"/>
                    <a:gd name="T43" fmla="*/ 343 h 682"/>
                    <a:gd name="T44" fmla="*/ 129 w 759"/>
                    <a:gd name="T45" fmla="*/ 353 h 682"/>
                    <a:gd name="T46" fmla="*/ 114 w 759"/>
                    <a:gd name="T47" fmla="*/ 367 h 682"/>
                    <a:gd name="T48" fmla="*/ 88 w 759"/>
                    <a:gd name="T49" fmla="*/ 369 h 682"/>
                    <a:gd name="T50" fmla="*/ 65 w 759"/>
                    <a:gd name="T51" fmla="*/ 357 h 682"/>
                    <a:gd name="T52" fmla="*/ 41 w 759"/>
                    <a:gd name="T53" fmla="*/ 330 h 682"/>
                    <a:gd name="T54" fmla="*/ 12 w 759"/>
                    <a:gd name="T55" fmla="*/ 340 h 682"/>
                    <a:gd name="T56" fmla="*/ 0 w 759"/>
                    <a:gd name="T57" fmla="*/ 345 h 682"/>
                    <a:gd name="T58" fmla="*/ 31 w 759"/>
                    <a:gd name="T59" fmla="*/ 407 h 682"/>
                    <a:gd name="T60" fmla="*/ 83 w 759"/>
                    <a:gd name="T61" fmla="*/ 523 h 682"/>
                    <a:gd name="T62" fmla="*/ 61 w 759"/>
                    <a:gd name="T63" fmla="*/ 572 h 682"/>
                    <a:gd name="T64" fmla="*/ 81 w 759"/>
                    <a:gd name="T65" fmla="*/ 649 h 682"/>
                    <a:gd name="T66" fmla="*/ 103 w 759"/>
                    <a:gd name="T67" fmla="*/ 650 h 682"/>
                    <a:gd name="T68" fmla="*/ 145 w 759"/>
                    <a:gd name="T69" fmla="*/ 679 h 682"/>
                    <a:gd name="T70" fmla="*/ 233 w 759"/>
                    <a:gd name="T71" fmla="*/ 662 h 682"/>
                    <a:gd name="T72" fmla="*/ 292 w 759"/>
                    <a:gd name="T73" fmla="*/ 646 h 682"/>
                    <a:gd name="T74" fmla="*/ 366 w 759"/>
                    <a:gd name="T75" fmla="*/ 646 h 682"/>
                    <a:gd name="T76" fmla="*/ 406 w 759"/>
                    <a:gd name="T77" fmla="*/ 637 h 682"/>
                    <a:gd name="T78" fmla="*/ 473 w 759"/>
                    <a:gd name="T79" fmla="*/ 617 h 682"/>
                    <a:gd name="T80" fmla="*/ 538 w 759"/>
                    <a:gd name="T81" fmla="*/ 565 h 682"/>
                    <a:gd name="T82" fmla="*/ 615 w 759"/>
                    <a:gd name="T83" fmla="*/ 500 h 682"/>
                    <a:gd name="T84" fmla="*/ 686 w 759"/>
                    <a:gd name="T85" fmla="*/ 379 h 682"/>
                    <a:gd name="T86" fmla="*/ 748 w 759"/>
                    <a:gd name="T87" fmla="*/ 297 h 682"/>
                    <a:gd name="T88" fmla="*/ 746 w 759"/>
                    <a:gd name="T89" fmla="*/ 250 h 682"/>
                    <a:gd name="T90" fmla="*/ 563 w 759"/>
                    <a:gd name="T91" fmla="*/ 428 h 682"/>
                    <a:gd name="T92" fmla="*/ 531 w 759"/>
                    <a:gd name="T93" fmla="*/ 456 h 682"/>
                    <a:gd name="T94" fmla="*/ 498 w 759"/>
                    <a:gd name="T95" fmla="*/ 437 h 682"/>
                    <a:gd name="T96" fmla="*/ 481 w 759"/>
                    <a:gd name="T97" fmla="*/ 401 h 682"/>
                    <a:gd name="T98" fmla="*/ 500 w 759"/>
                    <a:gd name="T99" fmla="*/ 389 h 682"/>
                    <a:gd name="T100" fmla="*/ 519 w 759"/>
                    <a:gd name="T101" fmla="*/ 362 h 682"/>
                    <a:gd name="T102" fmla="*/ 535 w 759"/>
                    <a:gd name="T103" fmla="*/ 351 h 682"/>
                    <a:gd name="T104" fmla="*/ 564 w 759"/>
                    <a:gd name="T105" fmla="*/ 349 h 682"/>
                    <a:gd name="T106" fmla="*/ 591 w 759"/>
                    <a:gd name="T107" fmla="*/ 377 h 682"/>
                    <a:gd name="T108" fmla="*/ 577 w 759"/>
                    <a:gd name="T109" fmla="*/ 406 h 6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59" h="682">
                      <a:moveTo>
                        <a:pt x="746" y="250"/>
                      </a:moveTo>
                      <a:cubicBezTo>
                        <a:pt x="738" y="246"/>
                        <a:pt x="725" y="254"/>
                        <a:pt x="725" y="254"/>
                      </a:cubicBezTo>
                      <a:cubicBezTo>
                        <a:pt x="718" y="279"/>
                        <a:pt x="718" y="279"/>
                        <a:pt x="718" y="279"/>
                      </a:cubicBezTo>
                      <a:cubicBezTo>
                        <a:pt x="718" y="279"/>
                        <a:pt x="703" y="278"/>
                        <a:pt x="696" y="278"/>
                      </a:cubicBezTo>
                      <a:cubicBezTo>
                        <a:pt x="689" y="278"/>
                        <a:pt x="666" y="262"/>
                        <a:pt x="664" y="250"/>
                      </a:cubicBezTo>
                      <a:cubicBezTo>
                        <a:pt x="662" y="238"/>
                        <a:pt x="670" y="225"/>
                        <a:pt x="673" y="221"/>
                      </a:cubicBezTo>
                      <a:cubicBezTo>
                        <a:pt x="676" y="217"/>
                        <a:pt x="682" y="192"/>
                        <a:pt x="689" y="192"/>
                      </a:cubicBezTo>
                      <a:cubicBezTo>
                        <a:pt x="696" y="192"/>
                        <a:pt x="708" y="206"/>
                        <a:pt x="708" y="206"/>
                      </a:cubicBezTo>
                      <a:cubicBezTo>
                        <a:pt x="726" y="182"/>
                        <a:pt x="726" y="182"/>
                        <a:pt x="726" y="182"/>
                      </a:cubicBezTo>
                      <a:cubicBezTo>
                        <a:pt x="726" y="182"/>
                        <a:pt x="726" y="134"/>
                        <a:pt x="727" y="125"/>
                      </a:cubicBezTo>
                      <a:cubicBezTo>
                        <a:pt x="728" y="116"/>
                        <a:pt x="707" y="84"/>
                        <a:pt x="705" y="75"/>
                      </a:cubicBezTo>
                      <a:cubicBezTo>
                        <a:pt x="703" y="66"/>
                        <a:pt x="696" y="15"/>
                        <a:pt x="696" y="15"/>
                      </a:cubicBezTo>
                      <a:cubicBezTo>
                        <a:pt x="684" y="8"/>
                        <a:pt x="684" y="8"/>
                        <a:pt x="684" y="8"/>
                      </a:cubicBezTo>
                      <a:cubicBezTo>
                        <a:pt x="684" y="8"/>
                        <a:pt x="657" y="9"/>
                        <a:pt x="649" y="8"/>
                      </a:cubicBezTo>
                      <a:cubicBezTo>
                        <a:pt x="641" y="7"/>
                        <a:pt x="625" y="0"/>
                        <a:pt x="625" y="0"/>
                      </a:cubicBezTo>
                      <a:cubicBezTo>
                        <a:pt x="586" y="2"/>
                        <a:pt x="586" y="2"/>
                        <a:pt x="586" y="2"/>
                      </a:cubicBezTo>
                      <a:cubicBezTo>
                        <a:pt x="578" y="18"/>
                        <a:pt x="578" y="18"/>
                        <a:pt x="578" y="18"/>
                      </a:cubicBezTo>
                      <a:cubicBezTo>
                        <a:pt x="578" y="18"/>
                        <a:pt x="554" y="19"/>
                        <a:pt x="549" y="25"/>
                      </a:cubicBezTo>
                      <a:cubicBezTo>
                        <a:pt x="544" y="31"/>
                        <a:pt x="530" y="57"/>
                        <a:pt x="519" y="64"/>
                      </a:cubicBezTo>
                      <a:cubicBezTo>
                        <a:pt x="508" y="71"/>
                        <a:pt x="505" y="70"/>
                        <a:pt x="495" y="77"/>
                      </a:cubicBezTo>
                      <a:cubicBezTo>
                        <a:pt x="485" y="84"/>
                        <a:pt x="484" y="107"/>
                        <a:pt x="484" y="113"/>
                      </a:cubicBezTo>
                      <a:cubicBezTo>
                        <a:pt x="484" y="119"/>
                        <a:pt x="461" y="137"/>
                        <a:pt x="461" y="137"/>
                      </a:cubicBezTo>
                      <a:cubicBezTo>
                        <a:pt x="450" y="140"/>
                        <a:pt x="450" y="140"/>
                        <a:pt x="450" y="140"/>
                      </a:cubicBezTo>
                      <a:cubicBezTo>
                        <a:pt x="436" y="152"/>
                        <a:pt x="436" y="152"/>
                        <a:pt x="436" y="152"/>
                      </a:cubicBezTo>
                      <a:cubicBezTo>
                        <a:pt x="436" y="152"/>
                        <a:pt x="432" y="185"/>
                        <a:pt x="421" y="192"/>
                      </a:cubicBezTo>
                      <a:cubicBezTo>
                        <a:pt x="410" y="199"/>
                        <a:pt x="402" y="192"/>
                        <a:pt x="402" y="192"/>
                      </a:cubicBezTo>
                      <a:cubicBezTo>
                        <a:pt x="402" y="192"/>
                        <a:pt x="399" y="197"/>
                        <a:pt x="389" y="199"/>
                      </a:cubicBezTo>
                      <a:cubicBezTo>
                        <a:pt x="379" y="201"/>
                        <a:pt x="364" y="190"/>
                        <a:pt x="364" y="190"/>
                      </a:cubicBezTo>
                      <a:cubicBezTo>
                        <a:pt x="347" y="189"/>
                        <a:pt x="347" y="189"/>
                        <a:pt x="347" y="189"/>
                      </a:cubicBezTo>
                      <a:cubicBezTo>
                        <a:pt x="337" y="179"/>
                        <a:pt x="337" y="179"/>
                        <a:pt x="337" y="179"/>
                      </a:cubicBezTo>
                      <a:cubicBezTo>
                        <a:pt x="337" y="179"/>
                        <a:pt x="321" y="167"/>
                        <a:pt x="308" y="167"/>
                      </a:cubicBezTo>
                      <a:cubicBezTo>
                        <a:pt x="295" y="167"/>
                        <a:pt x="290" y="205"/>
                        <a:pt x="290" y="212"/>
                      </a:cubicBezTo>
                      <a:cubicBezTo>
                        <a:pt x="290" y="219"/>
                        <a:pt x="279" y="217"/>
                        <a:pt x="272" y="220"/>
                      </a:cubicBezTo>
                      <a:cubicBezTo>
                        <a:pt x="265" y="223"/>
                        <a:pt x="263" y="240"/>
                        <a:pt x="263" y="240"/>
                      </a:cubicBezTo>
                      <a:cubicBezTo>
                        <a:pt x="263" y="240"/>
                        <a:pt x="253" y="238"/>
                        <a:pt x="249" y="239"/>
                      </a:cubicBezTo>
                      <a:cubicBezTo>
                        <a:pt x="245" y="240"/>
                        <a:pt x="244" y="251"/>
                        <a:pt x="244" y="251"/>
                      </a:cubicBezTo>
                      <a:cubicBezTo>
                        <a:pt x="244" y="251"/>
                        <a:pt x="198" y="256"/>
                        <a:pt x="193" y="253"/>
                      </a:cubicBezTo>
                      <a:cubicBezTo>
                        <a:pt x="188" y="250"/>
                        <a:pt x="193" y="231"/>
                        <a:pt x="193" y="231"/>
                      </a:cubicBezTo>
                      <a:cubicBezTo>
                        <a:pt x="193" y="231"/>
                        <a:pt x="201" y="218"/>
                        <a:pt x="203" y="209"/>
                      </a:cubicBezTo>
                      <a:cubicBezTo>
                        <a:pt x="205" y="200"/>
                        <a:pt x="196" y="189"/>
                        <a:pt x="196" y="189"/>
                      </a:cubicBezTo>
                      <a:cubicBezTo>
                        <a:pt x="196" y="189"/>
                        <a:pt x="197" y="179"/>
                        <a:pt x="188" y="160"/>
                      </a:cubicBezTo>
                      <a:cubicBezTo>
                        <a:pt x="184" y="152"/>
                        <a:pt x="175" y="147"/>
                        <a:pt x="166" y="143"/>
                      </a:cubicBezTo>
                      <a:cubicBezTo>
                        <a:pt x="163" y="339"/>
                        <a:pt x="163" y="339"/>
                        <a:pt x="163" y="339"/>
                      </a:cubicBezTo>
                      <a:cubicBezTo>
                        <a:pt x="163" y="339"/>
                        <a:pt x="149" y="340"/>
                        <a:pt x="142" y="343"/>
                      </a:cubicBezTo>
                      <a:cubicBezTo>
                        <a:pt x="135" y="346"/>
                        <a:pt x="137" y="351"/>
                        <a:pt x="137" y="351"/>
                      </a:cubicBezTo>
                      <a:cubicBezTo>
                        <a:pt x="129" y="353"/>
                        <a:pt x="129" y="353"/>
                        <a:pt x="129" y="353"/>
                      </a:cubicBezTo>
                      <a:cubicBezTo>
                        <a:pt x="129" y="353"/>
                        <a:pt x="132" y="367"/>
                        <a:pt x="126" y="367"/>
                      </a:cubicBezTo>
                      <a:cubicBezTo>
                        <a:pt x="121" y="367"/>
                        <a:pt x="114" y="367"/>
                        <a:pt x="114" y="367"/>
                      </a:cubicBezTo>
                      <a:cubicBezTo>
                        <a:pt x="114" y="367"/>
                        <a:pt x="110" y="361"/>
                        <a:pt x="102" y="361"/>
                      </a:cubicBezTo>
                      <a:cubicBezTo>
                        <a:pt x="94" y="361"/>
                        <a:pt x="88" y="369"/>
                        <a:pt x="88" y="369"/>
                      </a:cubicBezTo>
                      <a:cubicBezTo>
                        <a:pt x="76" y="369"/>
                        <a:pt x="76" y="369"/>
                        <a:pt x="76" y="369"/>
                      </a:cubicBezTo>
                      <a:cubicBezTo>
                        <a:pt x="76" y="369"/>
                        <a:pt x="72" y="361"/>
                        <a:pt x="65" y="357"/>
                      </a:cubicBezTo>
                      <a:cubicBezTo>
                        <a:pt x="58" y="353"/>
                        <a:pt x="49" y="359"/>
                        <a:pt x="45" y="352"/>
                      </a:cubicBezTo>
                      <a:cubicBezTo>
                        <a:pt x="40" y="345"/>
                        <a:pt x="41" y="330"/>
                        <a:pt x="41" y="330"/>
                      </a:cubicBezTo>
                      <a:cubicBezTo>
                        <a:pt x="41" y="330"/>
                        <a:pt x="31" y="318"/>
                        <a:pt x="27" y="317"/>
                      </a:cubicBezTo>
                      <a:cubicBezTo>
                        <a:pt x="23" y="316"/>
                        <a:pt x="12" y="340"/>
                        <a:pt x="12" y="340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45"/>
                        <a:pt x="0" y="345"/>
                        <a:pt x="0" y="345"/>
                      </a:cubicBezTo>
                      <a:cubicBezTo>
                        <a:pt x="0" y="345"/>
                        <a:pt x="7" y="368"/>
                        <a:pt x="11" y="372"/>
                      </a:cubicBezTo>
                      <a:cubicBezTo>
                        <a:pt x="15" y="376"/>
                        <a:pt x="31" y="394"/>
                        <a:pt x="31" y="407"/>
                      </a:cubicBezTo>
                      <a:cubicBezTo>
                        <a:pt x="31" y="420"/>
                        <a:pt x="28" y="446"/>
                        <a:pt x="38" y="461"/>
                      </a:cubicBezTo>
                      <a:cubicBezTo>
                        <a:pt x="48" y="476"/>
                        <a:pt x="83" y="509"/>
                        <a:pt x="83" y="523"/>
                      </a:cubicBezTo>
                      <a:cubicBezTo>
                        <a:pt x="83" y="537"/>
                        <a:pt x="82" y="564"/>
                        <a:pt x="78" y="568"/>
                      </a:cubicBezTo>
                      <a:cubicBezTo>
                        <a:pt x="74" y="572"/>
                        <a:pt x="62" y="564"/>
                        <a:pt x="61" y="572"/>
                      </a:cubicBezTo>
                      <a:cubicBezTo>
                        <a:pt x="60" y="580"/>
                        <a:pt x="63" y="588"/>
                        <a:pt x="73" y="605"/>
                      </a:cubicBezTo>
                      <a:cubicBezTo>
                        <a:pt x="83" y="622"/>
                        <a:pt x="75" y="641"/>
                        <a:pt x="81" y="649"/>
                      </a:cubicBezTo>
                      <a:cubicBezTo>
                        <a:pt x="87" y="657"/>
                        <a:pt x="84" y="646"/>
                        <a:pt x="90" y="643"/>
                      </a:cubicBezTo>
                      <a:cubicBezTo>
                        <a:pt x="96" y="640"/>
                        <a:pt x="103" y="650"/>
                        <a:pt x="103" y="650"/>
                      </a:cubicBezTo>
                      <a:cubicBezTo>
                        <a:pt x="121" y="656"/>
                        <a:pt x="121" y="656"/>
                        <a:pt x="121" y="656"/>
                      </a:cubicBezTo>
                      <a:cubicBezTo>
                        <a:pt x="121" y="656"/>
                        <a:pt x="126" y="682"/>
                        <a:pt x="145" y="679"/>
                      </a:cubicBezTo>
                      <a:cubicBezTo>
                        <a:pt x="164" y="676"/>
                        <a:pt x="165" y="662"/>
                        <a:pt x="177" y="658"/>
                      </a:cubicBezTo>
                      <a:cubicBezTo>
                        <a:pt x="189" y="654"/>
                        <a:pt x="224" y="665"/>
                        <a:pt x="233" y="662"/>
                      </a:cubicBezTo>
                      <a:cubicBezTo>
                        <a:pt x="242" y="659"/>
                        <a:pt x="238" y="638"/>
                        <a:pt x="261" y="638"/>
                      </a:cubicBezTo>
                      <a:cubicBezTo>
                        <a:pt x="284" y="638"/>
                        <a:pt x="292" y="646"/>
                        <a:pt x="292" y="646"/>
                      </a:cubicBezTo>
                      <a:cubicBezTo>
                        <a:pt x="292" y="646"/>
                        <a:pt x="303" y="635"/>
                        <a:pt x="326" y="636"/>
                      </a:cubicBezTo>
                      <a:cubicBezTo>
                        <a:pt x="349" y="637"/>
                        <a:pt x="361" y="647"/>
                        <a:pt x="366" y="646"/>
                      </a:cubicBezTo>
                      <a:cubicBezTo>
                        <a:pt x="371" y="645"/>
                        <a:pt x="383" y="635"/>
                        <a:pt x="383" y="635"/>
                      </a:cubicBezTo>
                      <a:cubicBezTo>
                        <a:pt x="383" y="635"/>
                        <a:pt x="397" y="642"/>
                        <a:pt x="406" y="637"/>
                      </a:cubicBezTo>
                      <a:cubicBezTo>
                        <a:pt x="415" y="632"/>
                        <a:pt x="427" y="624"/>
                        <a:pt x="427" y="624"/>
                      </a:cubicBezTo>
                      <a:cubicBezTo>
                        <a:pt x="427" y="624"/>
                        <a:pt x="451" y="632"/>
                        <a:pt x="473" y="617"/>
                      </a:cubicBezTo>
                      <a:cubicBezTo>
                        <a:pt x="495" y="602"/>
                        <a:pt x="525" y="573"/>
                        <a:pt x="525" y="573"/>
                      </a:cubicBezTo>
                      <a:cubicBezTo>
                        <a:pt x="538" y="565"/>
                        <a:pt x="538" y="565"/>
                        <a:pt x="538" y="565"/>
                      </a:cubicBezTo>
                      <a:cubicBezTo>
                        <a:pt x="600" y="499"/>
                        <a:pt x="600" y="499"/>
                        <a:pt x="600" y="499"/>
                      </a:cubicBezTo>
                      <a:cubicBezTo>
                        <a:pt x="615" y="500"/>
                        <a:pt x="615" y="500"/>
                        <a:pt x="615" y="500"/>
                      </a:cubicBezTo>
                      <a:cubicBezTo>
                        <a:pt x="615" y="500"/>
                        <a:pt x="652" y="449"/>
                        <a:pt x="656" y="435"/>
                      </a:cubicBezTo>
                      <a:cubicBezTo>
                        <a:pt x="660" y="421"/>
                        <a:pt x="677" y="385"/>
                        <a:pt x="686" y="379"/>
                      </a:cubicBezTo>
                      <a:cubicBezTo>
                        <a:pt x="695" y="373"/>
                        <a:pt x="726" y="360"/>
                        <a:pt x="729" y="349"/>
                      </a:cubicBezTo>
                      <a:cubicBezTo>
                        <a:pt x="732" y="338"/>
                        <a:pt x="748" y="297"/>
                        <a:pt x="748" y="297"/>
                      </a:cubicBezTo>
                      <a:cubicBezTo>
                        <a:pt x="748" y="297"/>
                        <a:pt x="754" y="280"/>
                        <a:pt x="759" y="264"/>
                      </a:cubicBezTo>
                      <a:cubicBezTo>
                        <a:pt x="755" y="258"/>
                        <a:pt x="750" y="252"/>
                        <a:pt x="746" y="250"/>
                      </a:cubicBezTo>
                      <a:close/>
                      <a:moveTo>
                        <a:pt x="580" y="418"/>
                      </a:moveTo>
                      <a:cubicBezTo>
                        <a:pt x="580" y="418"/>
                        <a:pt x="571" y="426"/>
                        <a:pt x="563" y="428"/>
                      </a:cubicBezTo>
                      <a:cubicBezTo>
                        <a:pt x="555" y="430"/>
                        <a:pt x="552" y="428"/>
                        <a:pt x="542" y="432"/>
                      </a:cubicBezTo>
                      <a:cubicBezTo>
                        <a:pt x="532" y="436"/>
                        <a:pt x="531" y="456"/>
                        <a:pt x="531" y="456"/>
                      </a:cubicBezTo>
                      <a:cubicBezTo>
                        <a:pt x="516" y="457"/>
                        <a:pt x="516" y="457"/>
                        <a:pt x="516" y="457"/>
                      </a:cubicBezTo>
                      <a:cubicBezTo>
                        <a:pt x="498" y="437"/>
                        <a:pt x="498" y="437"/>
                        <a:pt x="498" y="437"/>
                      </a:cubicBezTo>
                      <a:cubicBezTo>
                        <a:pt x="498" y="426"/>
                        <a:pt x="498" y="426"/>
                        <a:pt x="498" y="426"/>
                      </a:cubicBezTo>
                      <a:cubicBezTo>
                        <a:pt x="481" y="401"/>
                        <a:pt x="481" y="401"/>
                        <a:pt x="481" y="401"/>
                      </a:cubicBezTo>
                      <a:cubicBezTo>
                        <a:pt x="498" y="399"/>
                        <a:pt x="498" y="399"/>
                        <a:pt x="498" y="399"/>
                      </a:cubicBezTo>
                      <a:cubicBezTo>
                        <a:pt x="500" y="389"/>
                        <a:pt x="500" y="389"/>
                        <a:pt x="500" y="389"/>
                      </a:cubicBezTo>
                      <a:cubicBezTo>
                        <a:pt x="512" y="376"/>
                        <a:pt x="512" y="376"/>
                        <a:pt x="512" y="376"/>
                      </a:cubicBezTo>
                      <a:cubicBezTo>
                        <a:pt x="512" y="376"/>
                        <a:pt x="514" y="366"/>
                        <a:pt x="519" y="362"/>
                      </a:cubicBezTo>
                      <a:cubicBezTo>
                        <a:pt x="524" y="358"/>
                        <a:pt x="534" y="361"/>
                        <a:pt x="534" y="361"/>
                      </a:cubicBezTo>
                      <a:cubicBezTo>
                        <a:pt x="535" y="351"/>
                        <a:pt x="535" y="351"/>
                        <a:pt x="535" y="351"/>
                      </a:cubicBezTo>
                      <a:cubicBezTo>
                        <a:pt x="543" y="348"/>
                        <a:pt x="543" y="348"/>
                        <a:pt x="543" y="348"/>
                      </a:cubicBezTo>
                      <a:cubicBezTo>
                        <a:pt x="543" y="348"/>
                        <a:pt x="559" y="343"/>
                        <a:pt x="564" y="349"/>
                      </a:cubicBezTo>
                      <a:cubicBezTo>
                        <a:pt x="569" y="355"/>
                        <a:pt x="581" y="374"/>
                        <a:pt x="581" y="374"/>
                      </a:cubicBezTo>
                      <a:cubicBezTo>
                        <a:pt x="591" y="377"/>
                        <a:pt x="591" y="377"/>
                        <a:pt x="591" y="377"/>
                      </a:cubicBezTo>
                      <a:cubicBezTo>
                        <a:pt x="592" y="393"/>
                        <a:pt x="592" y="393"/>
                        <a:pt x="592" y="393"/>
                      </a:cubicBezTo>
                      <a:cubicBezTo>
                        <a:pt x="577" y="406"/>
                        <a:pt x="577" y="406"/>
                        <a:pt x="577" y="406"/>
                      </a:cubicBezTo>
                      <a:lnTo>
                        <a:pt x="580" y="41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6" name="Somalia">
                  <a:extLst>
                    <a:ext uri="{FF2B5EF4-FFF2-40B4-BE49-F238E27FC236}">
                      <a16:creationId xmlns:a16="http://schemas.microsoft.com/office/drawing/2014/main" id="{AC3EB0BA-D71B-DD3C-8C3D-E401BB04A88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86542" y="3196116"/>
                  <a:ext cx="795021" cy="981404"/>
                </a:xfrm>
                <a:custGeom>
                  <a:avLst/>
                  <a:gdLst>
                    <a:gd name="T0" fmla="*/ 70 w 480"/>
                    <a:gd name="T1" fmla="*/ 77 h 739"/>
                    <a:gd name="T2" fmla="*/ 79 w 480"/>
                    <a:gd name="T3" fmla="*/ 85 h 739"/>
                    <a:gd name="T4" fmla="*/ 78 w 480"/>
                    <a:gd name="T5" fmla="*/ 93 h 739"/>
                    <a:gd name="T6" fmla="*/ 97 w 480"/>
                    <a:gd name="T7" fmla="*/ 117 h 739"/>
                    <a:gd name="T8" fmla="*/ 107 w 480"/>
                    <a:gd name="T9" fmla="*/ 142 h 739"/>
                    <a:gd name="T10" fmla="*/ 122 w 480"/>
                    <a:gd name="T11" fmla="*/ 142 h 739"/>
                    <a:gd name="T12" fmla="*/ 143 w 480"/>
                    <a:gd name="T13" fmla="*/ 167 h 739"/>
                    <a:gd name="T14" fmla="*/ 225 w 480"/>
                    <a:gd name="T15" fmla="*/ 194 h 739"/>
                    <a:gd name="T16" fmla="*/ 277 w 480"/>
                    <a:gd name="T17" fmla="*/ 220 h 739"/>
                    <a:gd name="T18" fmla="*/ 325 w 480"/>
                    <a:gd name="T19" fmla="*/ 217 h 739"/>
                    <a:gd name="T20" fmla="*/ 185 w 480"/>
                    <a:gd name="T21" fmla="*/ 382 h 739"/>
                    <a:gd name="T22" fmla="*/ 129 w 480"/>
                    <a:gd name="T23" fmla="*/ 382 h 739"/>
                    <a:gd name="T24" fmla="*/ 96 w 480"/>
                    <a:gd name="T25" fmla="*/ 396 h 739"/>
                    <a:gd name="T26" fmla="*/ 89 w 480"/>
                    <a:gd name="T27" fmla="*/ 414 h 739"/>
                    <a:gd name="T28" fmla="*/ 50 w 480"/>
                    <a:gd name="T29" fmla="*/ 421 h 739"/>
                    <a:gd name="T30" fmla="*/ 42 w 480"/>
                    <a:gd name="T31" fmla="*/ 435 h 739"/>
                    <a:gd name="T32" fmla="*/ 22 w 480"/>
                    <a:gd name="T33" fmla="*/ 471 h 739"/>
                    <a:gd name="T34" fmla="*/ 1 w 480"/>
                    <a:gd name="T35" fmla="*/ 492 h 739"/>
                    <a:gd name="T36" fmla="*/ 0 w 480"/>
                    <a:gd name="T37" fmla="*/ 695 h 739"/>
                    <a:gd name="T38" fmla="*/ 28 w 480"/>
                    <a:gd name="T39" fmla="*/ 735 h 739"/>
                    <a:gd name="T40" fmla="*/ 26 w 480"/>
                    <a:gd name="T41" fmla="*/ 739 h 739"/>
                    <a:gd name="T42" fmla="*/ 26 w 480"/>
                    <a:gd name="T43" fmla="*/ 739 h 739"/>
                    <a:gd name="T44" fmla="*/ 58 w 480"/>
                    <a:gd name="T45" fmla="*/ 680 h 739"/>
                    <a:gd name="T46" fmla="*/ 100 w 480"/>
                    <a:gd name="T47" fmla="*/ 639 h 739"/>
                    <a:gd name="T48" fmla="*/ 157 w 480"/>
                    <a:gd name="T49" fmla="*/ 573 h 739"/>
                    <a:gd name="T50" fmla="*/ 210 w 480"/>
                    <a:gd name="T51" fmla="*/ 536 h 739"/>
                    <a:gd name="T52" fmla="*/ 281 w 480"/>
                    <a:gd name="T53" fmla="*/ 473 h 739"/>
                    <a:gd name="T54" fmla="*/ 335 w 480"/>
                    <a:gd name="T55" fmla="*/ 399 h 739"/>
                    <a:gd name="T56" fmla="*/ 370 w 480"/>
                    <a:gd name="T57" fmla="*/ 334 h 739"/>
                    <a:gd name="T58" fmla="*/ 384 w 480"/>
                    <a:gd name="T59" fmla="*/ 308 h 739"/>
                    <a:gd name="T60" fmla="*/ 397 w 480"/>
                    <a:gd name="T61" fmla="*/ 262 h 739"/>
                    <a:gd name="T62" fmla="*/ 417 w 480"/>
                    <a:gd name="T63" fmla="*/ 228 h 739"/>
                    <a:gd name="T64" fmla="*/ 427 w 480"/>
                    <a:gd name="T65" fmla="*/ 205 h 739"/>
                    <a:gd name="T66" fmla="*/ 440 w 480"/>
                    <a:gd name="T67" fmla="*/ 169 h 739"/>
                    <a:gd name="T68" fmla="*/ 457 w 480"/>
                    <a:gd name="T69" fmla="*/ 147 h 739"/>
                    <a:gd name="T70" fmla="*/ 457 w 480"/>
                    <a:gd name="T71" fmla="*/ 93 h 739"/>
                    <a:gd name="T72" fmla="*/ 471 w 480"/>
                    <a:gd name="T73" fmla="*/ 84 h 739"/>
                    <a:gd name="T74" fmla="*/ 467 w 480"/>
                    <a:gd name="T75" fmla="*/ 38 h 739"/>
                    <a:gd name="T76" fmla="*/ 474 w 480"/>
                    <a:gd name="T77" fmla="*/ 8 h 739"/>
                    <a:gd name="T78" fmla="*/ 447 w 480"/>
                    <a:gd name="T79" fmla="*/ 0 h 739"/>
                    <a:gd name="T80" fmla="*/ 432 w 480"/>
                    <a:gd name="T81" fmla="*/ 21 h 739"/>
                    <a:gd name="T82" fmla="*/ 382 w 480"/>
                    <a:gd name="T83" fmla="*/ 37 h 739"/>
                    <a:gd name="T84" fmla="*/ 345 w 480"/>
                    <a:gd name="T85" fmla="*/ 35 h 739"/>
                    <a:gd name="T86" fmla="*/ 318 w 480"/>
                    <a:gd name="T87" fmla="*/ 54 h 739"/>
                    <a:gd name="T88" fmla="*/ 296 w 480"/>
                    <a:gd name="T89" fmla="*/ 43 h 739"/>
                    <a:gd name="T90" fmla="*/ 252 w 480"/>
                    <a:gd name="T91" fmla="*/ 73 h 739"/>
                    <a:gd name="T92" fmla="*/ 221 w 480"/>
                    <a:gd name="T93" fmla="*/ 62 h 739"/>
                    <a:gd name="T94" fmla="*/ 181 w 480"/>
                    <a:gd name="T95" fmla="*/ 84 h 739"/>
                    <a:gd name="T96" fmla="*/ 141 w 480"/>
                    <a:gd name="T97" fmla="*/ 85 h 739"/>
                    <a:gd name="T98" fmla="*/ 111 w 480"/>
                    <a:gd name="T99" fmla="*/ 48 h 739"/>
                    <a:gd name="T100" fmla="*/ 99 w 480"/>
                    <a:gd name="T101" fmla="*/ 35 h 739"/>
                    <a:gd name="T102" fmla="*/ 84 w 480"/>
                    <a:gd name="T103" fmla="*/ 55 h 739"/>
                    <a:gd name="T104" fmla="*/ 70 w 480"/>
                    <a:gd name="T105" fmla="*/ 77 h 7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80" h="739">
                      <a:moveTo>
                        <a:pt x="70" y="77"/>
                      </a:moveTo>
                      <a:cubicBezTo>
                        <a:pt x="79" y="85"/>
                        <a:pt x="79" y="85"/>
                        <a:pt x="79" y="85"/>
                      </a:cubicBezTo>
                      <a:cubicBezTo>
                        <a:pt x="78" y="93"/>
                        <a:pt x="78" y="93"/>
                        <a:pt x="78" y="93"/>
                      </a:cubicBezTo>
                      <a:cubicBezTo>
                        <a:pt x="78" y="93"/>
                        <a:pt x="91" y="109"/>
                        <a:pt x="97" y="117"/>
                      </a:cubicBezTo>
                      <a:cubicBezTo>
                        <a:pt x="103" y="125"/>
                        <a:pt x="107" y="142"/>
                        <a:pt x="107" y="142"/>
                      </a:cubicBezTo>
                      <a:cubicBezTo>
                        <a:pt x="122" y="142"/>
                        <a:pt x="122" y="142"/>
                        <a:pt x="122" y="142"/>
                      </a:cubicBezTo>
                      <a:cubicBezTo>
                        <a:pt x="122" y="142"/>
                        <a:pt x="132" y="159"/>
                        <a:pt x="143" y="167"/>
                      </a:cubicBezTo>
                      <a:cubicBezTo>
                        <a:pt x="154" y="175"/>
                        <a:pt x="206" y="188"/>
                        <a:pt x="225" y="194"/>
                      </a:cubicBezTo>
                      <a:cubicBezTo>
                        <a:pt x="244" y="200"/>
                        <a:pt x="277" y="220"/>
                        <a:pt x="277" y="220"/>
                      </a:cubicBezTo>
                      <a:cubicBezTo>
                        <a:pt x="325" y="217"/>
                        <a:pt x="325" y="217"/>
                        <a:pt x="325" y="217"/>
                      </a:cubicBezTo>
                      <a:cubicBezTo>
                        <a:pt x="185" y="382"/>
                        <a:pt x="185" y="382"/>
                        <a:pt x="185" y="382"/>
                      </a:cubicBezTo>
                      <a:cubicBezTo>
                        <a:pt x="185" y="382"/>
                        <a:pt x="137" y="380"/>
                        <a:pt x="129" y="382"/>
                      </a:cubicBezTo>
                      <a:cubicBezTo>
                        <a:pt x="121" y="384"/>
                        <a:pt x="96" y="396"/>
                        <a:pt x="96" y="396"/>
                      </a:cubicBezTo>
                      <a:cubicBezTo>
                        <a:pt x="96" y="396"/>
                        <a:pt x="95" y="408"/>
                        <a:pt x="89" y="414"/>
                      </a:cubicBezTo>
                      <a:cubicBezTo>
                        <a:pt x="83" y="420"/>
                        <a:pt x="58" y="418"/>
                        <a:pt x="50" y="421"/>
                      </a:cubicBezTo>
                      <a:cubicBezTo>
                        <a:pt x="42" y="424"/>
                        <a:pt x="42" y="435"/>
                        <a:pt x="42" y="435"/>
                      </a:cubicBezTo>
                      <a:cubicBezTo>
                        <a:pt x="42" y="435"/>
                        <a:pt x="29" y="463"/>
                        <a:pt x="22" y="471"/>
                      </a:cubicBezTo>
                      <a:cubicBezTo>
                        <a:pt x="15" y="479"/>
                        <a:pt x="1" y="492"/>
                        <a:pt x="1" y="492"/>
                      </a:cubicBezTo>
                      <a:cubicBezTo>
                        <a:pt x="0" y="695"/>
                        <a:pt x="0" y="695"/>
                        <a:pt x="0" y="695"/>
                      </a:cubicBezTo>
                      <a:cubicBezTo>
                        <a:pt x="28" y="735"/>
                        <a:pt x="28" y="735"/>
                        <a:pt x="28" y="735"/>
                      </a:cubicBezTo>
                      <a:cubicBezTo>
                        <a:pt x="27" y="737"/>
                        <a:pt x="27" y="738"/>
                        <a:pt x="26" y="739"/>
                      </a:cubicBezTo>
                      <a:cubicBezTo>
                        <a:pt x="26" y="739"/>
                        <a:pt x="26" y="739"/>
                        <a:pt x="26" y="739"/>
                      </a:cubicBezTo>
                      <a:cubicBezTo>
                        <a:pt x="35" y="722"/>
                        <a:pt x="52" y="690"/>
                        <a:pt x="58" y="680"/>
                      </a:cubicBezTo>
                      <a:cubicBezTo>
                        <a:pt x="65" y="669"/>
                        <a:pt x="97" y="654"/>
                        <a:pt x="100" y="639"/>
                      </a:cubicBezTo>
                      <a:cubicBezTo>
                        <a:pt x="103" y="624"/>
                        <a:pt x="146" y="586"/>
                        <a:pt x="157" y="573"/>
                      </a:cubicBezTo>
                      <a:cubicBezTo>
                        <a:pt x="168" y="560"/>
                        <a:pt x="202" y="541"/>
                        <a:pt x="210" y="536"/>
                      </a:cubicBezTo>
                      <a:cubicBezTo>
                        <a:pt x="218" y="531"/>
                        <a:pt x="275" y="484"/>
                        <a:pt x="281" y="473"/>
                      </a:cubicBezTo>
                      <a:cubicBezTo>
                        <a:pt x="287" y="462"/>
                        <a:pt x="331" y="413"/>
                        <a:pt x="335" y="399"/>
                      </a:cubicBezTo>
                      <a:cubicBezTo>
                        <a:pt x="339" y="385"/>
                        <a:pt x="364" y="339"/>
                        <a:pt x="370" y="334"/>
                      </a:cubicBezTo>
                      <a:cubicBezTo>
                        <a:pt x="376" y="329"/>
                        <a:pt x="384" y="316"/>
                        <a:pt x="384" y="308"/>
                      </a:cubicBezTo>
                      <a:cubicBezTo>
                        <a:pt x="384" y="300"/>
                        <a:pt x="390" y="271"/>
                        <a:pt x="397" y="262"/>
                      </a:cubicBezTo>
                      <a:cubicBezTo>
                        <a:pt x="404" y="253"/>
                        <a:pt x="417" y="241"/>
                        <a:pt x="417" y="228"/>
                      </a:cubicBezTo>
                      <a:cubicBezTo>
                        <a:pt x="417" y="215"/>
                        <a:pt x="427" y="205"/>
                        <a:pt x="427" y="205"/>
                      </a:cubicBezTo>
                      <a:cubicBezTo>
                        <a:pt x="440" y="169"/>
                        <a:pt x="440" y="169"/>
                        <a:pt x="440" y="169"/>
                      </a:cubicBezTo>
                      <a:cubicBezTo>
                        <a:pt x="440" y="169"/>
                        <a:pt x="457" y="173"/>
                        <a:pt x="457" y="147"/>
                      </a:cubicBezTo>
                      <a:cubicBezTo>
                        <a:pt x="457" y="121"/>
                        <a:pt x="457" y="93"/>
                        <a:pt x="457" y="93"/>
                      </a:cubicBezTo>
                      <a:cubicBezTo>
                        <a:pt x="471" y="84"/>
                        <a:pt x="471" y="84"/>
                        <a:pt x="471" y="84"/>
                      </a:cubicBezTo>
                      <a:cubicBezTo>
                        <a:pt x="467" y="38"/>
                        <a:pt x="467" y="38"/>
                        <a:pt x="467" y="38"/>
                      </a:cubicBezTo>
                      <a:cubicBezTo>
                        <a:pt x="467" y="38"/>
                        <a:pt x="480" y="14"/>
                        <a:pt x="474" y="8"/>
                      </a:cubicBezTo>
                      <a:cubicBezTo>
                        <a:pt x="468" y="2"/>
                        <a:pt x="447" y="0"/>
                        <a:pt x="447" y="0"/>
                      </a:cubicBezTo>
                      <a:cubicBezTo>
                        <a:pt x="447" y="0"/>
                        <a:pt x="439" y="14"/>
                        <a:pt x="432" y="21"/>
                      </a:cubicBezTo>
                      <a:cubicBezTo>
                        <a:pt x="425" y="28"/>
                        <a:pt x="388" y="37"/>
                        <a:pt x="382" y="37"/>
                      </a:cubicBezTo>
                      <a:cubicBezTo>
                        <a:pt x="376" y="37"/>
                        <a:pt x="355" y="31"/>
                        <a:pt x="345" y="35"/>
                      </a:cubicBezTo>
                      <a:cubicBezTo>
                        <a:pt x="335" y="39"/>
                        <a:pt x="322" y="54"/>
                        <a:pt x="318" y="54"/>
                      </a:cubicBezTo>
                      <a:cubicBezTo>
                        <a:pt x="314" y="54"/>
                        <a:pt x="304" y="42"/>
                        <a:pt x="296" y="43"/>
                      </a:cubicBezTo>
                      <a:cubicBezTo>
                        <a:pt x="288" y="44"/>
                        <a:pt x="261" y="72"/>
                        <a:pt x="252" y="73"/>
                      </a:cubicBezTo>
                      <a:cubicBezTo>
                        <a:pt x="243" y="74"/>
                        <a:pt x="235" y="58"/>
                        <a:pt x="221" y="62"/>
                      </a:cubicBezTo>
                      <a:cubicBezTo>
                        <a:pt x="207" y="66"/>
                        <a:pt x="189" y="83"/>
                        <a:pt x="181" y="84"/>
                      </a:cubicBezTo>
                      <a:cubicBezTo>
                        <a:pt x="173" y="85"/>
                        <a:pt x="141" y="85"/>
                        <a:pt x="141" y="85"/>
                      </a:cubicBezTo>
                      <a:cubicBezTo>
                        <a:pt x="141" y="85"/>
                        <a:pt x="111" y="58"/>
                        <a:pt x="111" y="48"/>
                      </a:cubicBezTo>
                      <a:cubicBezTo>
                        <a:pt x="111" y="40"/>
                        <a:pt x="102" y="36"/>
                        <a:pt x="99" y="35"/>
                      </a:cubicBezTo>
                      <a:cubicBezTo>
                        <a:pt x="84" y="55"/>
                        <a:pt x="84" y="55"/>
                        <a:pt x="84" y="55"/>
                      </a:cubicBezTo>
                      <a:lnTo>
                        <a:pt x="70" y="7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7" name="Sierra Leone">
                  <a:extLst>
                    <a:ext uri="{FF2B5EF4-FFF2-40B4-BE49-F238E27FC236}">
                      <a16:creationId xmlns:a16="http://schemas.microsoft.com/office/drawing/2014/main" id="{DD2E99BB-2907-3CD7-58C9-C55363197FA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719764" y="3335244"/>
                  <a:ext cx="230509" cy="236893"/>
                </a:xfrm>
                <a:custGeom>
                  <a:avLst/>
                  <a:gdLst>
                    <a:gd name="T0" fmla="*/ 126 w 140"/>
                    <a:gd name="T1" fmla="*/ 122 h 179"/>
                    <a:gd name="T2" fmla="*/ 126 w 140"/>
                    <a:gd name="T3" fmla="*/ 108 h 179"/>
                    <a:gd name="T4" fmla="*/ 140 w 140"/>
                    <a:gd name="T5" fmla="*/ 105 h 179"/>
                    <a:gd name="T6" fmla="*/ 138 w 140"/>
                    <a:gd name="T7" fmla="*/ 88 h 179"/>
                    <a:gd name="T8" fmla="*/ 119 w 140"/>
                    <a:gd name="T9" fmla="*/ 99 h 179"/>
                    <a:gd name="T10" fmla="*/ 120 w 140"/>
                    <a:gd name="T11" fmla="*/ 86 h 179"/>
                    <a:gd name="T12" fmla="*/ 131 w 140"/>
                    <a:gd name="T13" fmla="*/ 70 h 179"/>
                    <a:gd name="T14" fmla="*/ 120 w 140"/>
                    <a:gd name="T15" fmla="*/ 50 h 179"/>
                    <a:gd name="T16" fmla="*/ 123 w 140"/>
                    <a:gd name="T17" fmla="*/ 41 h 179"/>
                    <a:gd name="T18" fmla="*/ 95 w 140"/>
                    <a:gd name="T19" fmla="*/ 0 h 179"/>
                    <a:gd name="T20" fmla="*/ 69 w 140"/>
                    <a:gd name="T21" fmla="*/ 0 h 179"/>
                    <a:gd name="T22" fmla="*/ 65 w 140"/>
                    <a:gd name="T23" fmla="*/ 12 h 179"/>
                    <a:gd name="T24" fmla="*/ 40 w 140"/>
                    <a:gd name="T25" fmla="*/ 12 h 179"/>
                    <a:gd name="T26" fmla="*/ 9 w 140"/>
                    <a:gd name="T27" fmla="*/ 54 h 179"/>
                    <a:gd name="T28" fmla="*/ 0 w 140"/>
                    <a:gd name="T29" fmla="*/ 59 h 179"/>
                    <a:gd name="T30" fmla="*/ 9 w 140"/>
                    <a:gd name="T31" fmla="*/ 66 h 179"/>
                    <a:gd name="T32" fmla="*/ 1 w 140"/>
                    <a:gd name="T33" fmla="*/ 84 h 179"/>
                    <a:gd name="T34" fmla="*/ 16 w 140"/>
                    <a:gd name="T35" fmla="*/ 103 h 179"/>
                    <a:gd name="T36" fmla="*/ 15 w 140"/>
                    <a:gd name="T37" fmla="*/ 121 h 179"/>
                    <a:gd name="T38" fmla="*/ 29 w 140"/>
                    <a:gd name="T39" fmla="*/ 132 h 179"/>
                    <a:gd name="T40" fmla="*/ 37 w 140"/>
                    <a:gd name="T41" fmla="*/ 148 h 179"/>
                    <a:gd name="T42" fmla="*/ 65 w 140"/>
                    <a:gd name="T43" fmla="*/ 157 h 179"/>
                    <a:gd name="T44" fmla="*/ 85 w 140"/>
                    <a:gd name="T45" fmla="*/ 179 h 179"/>
                    <a:gd name="T46" fmla="*/ 87 w 140"/>
                    <a:gd name="T47" fmla="*/ 156 h 179"/>
                    <a:gd name="T48" fmla="*/ 126 w 140"/>
                    <a:gd name="T49" fmla="*/ 122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40" h="179">
                      <a:moveTo>
                        <a:pt x="126" y="122"/>
                      </a:moveTo>
                      <a:cubicBezTo>
                        <a:pt x="130" y="112"/>
                        <a:pt x="126" y="108"/>
                        <a:pt x="126" y="108"/>
                      </a:cubicBezTo>
                      <a:cubicBezTo>
                        <a:pt x="140" y="105"/>
                        <a:pt x="140" y="105"/>
                        <a:pt x="140" y="105"/>
                      </a:cubicBezTo>
                      <a:cubicBezTo>
                        <a:pt x="138" y="88"/>
                        <a:pt x="138" y="88"/>
                        <a:pt x="138" y="88"/>
                      </a:cubicBezTo>
                      <a:cubicBezTo>
                        <a:pt x="119" y="99"/>
                        <a:pt x="119" y="99"/>
                        <a:pt x="119" y="99"/>
                      </a:cubicBezTo>
                      <a:cubicBezTo>
                        <a:pt x="120" y="86"/>
                        <a:pt x="120" y="86"/>
                        <a:pt x="120" y="86"/>
                      </a:cubicBezTo>
                      <a:cubicBezTo>
                        <a:pt x="120" y="86"/>
                        <a:pt x="131" y="78"/>
                        <a:pt x="131" y="70"/>
                      </a:cubicBezTo>
                      <a:cubicBezTo>
                        <a:pt x="131" y="62"/>
                        <a:pt x="120" y="50"/>
                        <a:pt x="120" y="50"/>
                      </a:cubicBezTo>
                      <a:cubicBezTo>
                        <a:pt x="123" y="41"/>
                        <a:pt x="123" y="41"/>
                        <a:pt x="123" y="41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5" y="12"/>
                        <a:pt x="65" y="12"/>
                        <a:pt x="65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40" y="12"/>
                        <a:pt x="21" y="54"/>
                        <a:pt x="9" y="54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9" y="66"/>
                        <a:pt x="9" y="66"/>
                        <a:pt x="9" y="66"/>
                      </a:cubicBezTo>
                      <a:cubicBezTo>
                        <a:pt x="9" y="66"/>
                        <a:pt x="1" y="75"/>
                        <a:pt x="1" y="84"/>
                      </a:cubicBezTo>
                      <a:cubicBezTo>
                        <a:pt x="1" y="93"/>
                        <a:pt x="16" y="103"/>
                        <a:pt x="16" y="103"/>
                      </a:cubicBezTo>
                      <a:cubicBezTo>
                        <a:pt x="15" y="121"/>
                        <a:pt x="15" y="121"/>
                        <a:pt x="15" y="121"/>
                      </a:cubicBezTo>
                      <a:cubicBezTo>
                        <a:pt x="29" y="132"/>
                        <a:pt x="29" y="132"/>
                        <a:pt x="29" y="132"/>
                      </a:cubicBezTo>
                      <a:cubicBezTo>
                        <a:pt x="29" y="132"/>
                        <a:pt x="28" y="139"/>
                        <a:pt x="37" y="148"/>
                      </a:cubicBezTo>
                      <a:cubicBezTo>
                        <a:pt x="46" y="157"/>
                        <a:pt x="65" y="157"/>
                        <a:pt x="65" y="157"/>
                      </a:cubicBezTo>
                      <a:cubicBezTo>
                        <a:pt x="85" y="179"/>
                        <a:pt x="85" y="179"/>
                        <a:pt x="85" y="179"/>
                      </a:cubicBezTo>
                      <a:cubicBezTo>
                        <a:pt x="86" y="171"/>
                        <a:pt x="86" y="160"/>
                        <a:pt x="87" y="156"/>
                      </a:cubicBezTo>
                      <a:cubicBezTo>
                        <a:pt x="88" y="149"/>
                        <a:pt x="122" y="132"/>
                        <a:pt x="126" y="12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8" name="Senegal">
                  <a:extLst>
                    <a:ext uri="{FF2B5EF4-FFF2-40B4-BE49-F238E27FC236}">
                      <a16:creationId xmlns:a16="http://schemas.microsoft.com/office/drawing/2014/main" id="{C8112E5D-0836-B341-F746-A79BEDC5E66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09289" y="2861463"/>
                  <a:ext cx="456313" cy="327136"/>
                </a:xfrm>
                <a:custGeom>
                  <a:avLst/>
                  <a:gdLst>
                    <a:gd name="T0" fmla="*/ 269 w 276"/>
                    <a:gd name="T1" fmla="*/ 181 h 246"/>
                    <a:gd name="T2" fmla="*/ 253 w 276"/>
                    <a:gd name="T3" fmla="*/ 179 h 246"/>
                    <a:gd name="T4" fmla="*/ 255 w 276"/>
                    <a:gd name="T5" fmla="*/ 160 h 246"/>
                    <a:gd name="T6" fmla="*/ 248 w 276"/>
                    <a:gd name="T7" fmla="*/ 134 h 246"/>
                    <a:gd name="T8" fmla="*/ 240 w 276"/>
                    <a:gd name="T9" fmla="*/ 124 h 246"/>
                    <a:gd name="T10" fmla="*/ 239 w 276"/>
                    <a:gd name="T11" fmla="*/ 106 h 246"/>
                    <a:gd name="T12" fmla="*/ 230 w 276"/>
                    <a:gd name="T13" fmla="*/ 92 h 246"/>
                    <a:gd name="T14" fmla="*/ 213 w 276"/>
                    <a:gd name="T15" fmla="*/ 86 h 246"/>
                    <a:gd name="T16" fmla="*/ 210 w 276"/>
                    <a:gd name="T17" fmla="*/ 70 h 246"/>
                    <a:gd name="T18" fmla="*/ 196 w 276"/>
                    <a:gd name="T19" fmla="*/ 68 h 246"/>
                    <a:gd name="T20" fmla="*/ 188 w 276"/>
                    <a:gd name="T21" fmla="*/ 31 h 246"/>
                    <a:gd name="T22" fmla="*/ 167 w 276"/>
                    <a:gd name="T23" fmla="*/ 34 h 246"/>
                    <a:gd name="T24" fmla="*/ 146 w 276"/>
                    <a:gd name="T25" fmla="*/ 10 h 246"/>
                    <a:gd name="T26" fmla="*/ 122 w 276"/>
                    <a:gd name="T27" fmla="*/ 7 h 246"/>
                    <a:gd name="T28" fmla="*/ 109 w 276"/>
                    <a:gd name="T29" fmla="*/ 0 h 246"/>
                    <a:gd name="T30" fmla="*/ 109 w 276"/>
                    <a:gd name="T31" fmla="*/ 10 h 246"/>
                    <a:gd name="T32" fmla="*/ 86 w 276"/>
                    <a:gd name="T33" fmla="*/ 9 h 246"/>
                    <a:gd name="T34" fmla="*/ 78 w 276"/>
                    <a:gd name="T35" fmla="*/ 13 h 246"/>
                    <a:gd name="T36" fmla="*/ 59 w 276"/>
                    <a:gd name="T37" fmla="*/ 11 h 246"/>
                    <a:gd name="T38" fmla="*/ 41 w 276"/>
                    <a:gd name="T39" fmla="*/ 43 h 246"/>
                    <a:gd name="T40" fmla="*/ 40 w 276"/>
                    <a:gd name="T41" fmla="*/ 57 h 246"/>
                    <a:gd name="T42" fmla="*/ 22 w 276"/>
                    <a:gd name="T43" fmla="*/ 80 h 246"/>
                    <a:gd name="T44" fmla="*/ 0 w 276"/>
                    <a:gd name="T45" fmla="*/ 106 h 246"/>
                    <a:gd name="T46" fmla="*/ 2 w 276"/>
                    <a:gd name="T47" fmla="*/ 113 h 246"/>
                    <a:gd name="T48" fmla="*/ 8 w 276"/>
                    <a:gd name="T49" fmla="*/ 112 h 246"/>
                    <a:gd name="T50" fmla="*/ 17 w 276"/>
                    <a:gd name="T51" fmla="*/ 128 h 246"/>
                    <a:gd name="T52" fmla="*/ 20 w 276"/>
                    <a:gd name="T53" fmla="*/ 141 h 246"/>
                    <a:gd name="T54" fmla="*/ 29 w 276"/>
                    <a:gd name="T55" fmla="*/ 149 h 246"/>
                    <a:gd name="T56" fmla="*/ 28 w 276"/>
                    <a:gd name="T57" fmla="*/ 157 h 246"/>
                    <a:gd name="T58" fmla="*/ 34 w 276"/>
                    <a:gd name="T59" fmla="*/ 169 h 246"/>
                    <a:gd name="T60" fmla="*/ 84 w 276"/>
                    <a:gd name="T61" fmla="*/ 169 h 246"/>
                    <a:gd name="T62" fmla="*/ 84 w 276"/>
                    <a:gd name="T63" fmla="*/ 159 h 246"/>
                    <a:gd name="T64" fmla="*/ 109 w 276"/>
                    <a:gd name="T65" fmla="*/ 158 h 246"/>
                    <a:gd name="T66" fmla="*/ 120 w 276"/>
                    <a:gd name="T67" fmla="*/ 166 h 246"/>
                    <a:gd name="T68" fmla="*/ 128 w 276"/>
                    <a:gd name="T69" fmla="*/ 164 h 246"/>
                    <a:gd name="T70" fmla="*/ 141 w 276"/>
                    <a:gd name="T71" fmla="*/ 176 h 246"/>
                    <a:gd name="T72" fmla="*/ 162 w 276"/>
                    <a:gd name="T73" fmla="*/ 171 h 246"/>
                    <a:gd name="T74" fmla="*/ 143 w 276"/>
                    <a:gd name="T75" fmla="*/ 190 h 246"/>
                    <a:gd name="T76" fmla="*/ 109 w 276"/>
                    <a:gd name="T77" fmla="*/ 171 h 246"/>
                    <a:gd name="T78" fmla="*/ 97 w 276"/>
                    <a:gd name="T79" fmla="*/ 183 h 246"/>
                    <a:gd name="T80" fmla="*/ 72 w 276"/>
                    <a:gd name="T81" fmla="*/ 186 h 246"/>
                    <a:gd name="T82" fmla="*/ 68 w 276"/>
                    <a:gd name="T83" fmla="*/ 195 h 246"/>
                    <a:gd name="T84" fmla="*/ 25 w 276"/>
                    <a:gd name="T85" fmla="*/ 195 h 246"/>
                    <a:gd name="T86" fmla="*/ 24 w 276"/>
                    <a:gd name="T87" fmla="*/ 212 h 246"/>
                    <a:gd name="T88" fmla="*/ 18 w 276"/>
                    <a:gd name="T89" fmla="*/ 215 h 246"/>
                    <a:gd name="T90" fmla="*/ 31 w 276"/>
                    <a:gd name="T91" fmla="*/ 241 h 246"/>
                    <a:gd name="T92" fmla="*/ 50 w 276"/>
                    <a:gd name="T93" fmla="*/ 241 h 246"/>
                    <a:gd name="T94" fmla="*/ 58 w 276"/>
                    <a:gd name="T95" fmla="*/ 231 h 246"/>
                    <a:gd name="T96" fmla="*/ 85 w 276"/>
                    <a:gd name="T97" fmla="*/ 231 h 246"/>
                    <a:gd name="T98" fmla="*/ 102 w 276"/>
                    <a:gd name="T99" fmla="*/ 216 h 246"/>
                    <a:gd name="T100" fmla="*/ 196 w 276"/>
                    <a:gd name="T101" fmla="*/ 219 h 246"/>
                    <a:gd name="T102" fmla="*/ 204 w 276"/>
                    <a:gd name="T103" fmla="*/ 232 h 246"/>
                    <a:gd name="T104" fmla="*/ 215 w 276"/>
                    <a:gd name="T105" fmla="*/ 226 h 246"/>
                    <a:gd name="T106" fmla="*/ 231 w 276"/>
                    <a:gd name="T107" fmla="*/ 242 h 246"/>
                    <a:gd name="T108" fmla="*/ 247 w 276"/>
                    <a:gd name="T109" fmla="*/ 235 h 246"/>
                    <a:gd name="T110" fmla="*/ 275 w 276"/>
                    <a:gd name="T111" fmla="*/ 234 h 246"/>
                    <a:gd name="T112" fmla="*/ 276 w 276"/>
                    <a:gd name="T113" fmla="*/ 200 h 246"/>
                    <a:gd name="T114" fmla="*/ 269 w 276"/>
                    <a:gd name="T115" fmla="*/ 181 h 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76" h="246">
                      <a:moveTo>
                        <a:pt x="269" y="181"/>
                      </a:moveTo>
                      <a:cubicBezTo>
                        <a:pt x="264" y="178"/>
                        <a:pt x="260" y="190"/>
                        <a:pt x="253" y="179"/>
                      </a:cubicBezTo>
                      <a:cubicBezTo>
                        <a:pt x="246" y="168"/>
                        <a:pt x="250" y="164"/>
                        <a:pt x="255" y="160"/>
                      </a:cubicBezTo>
                      <a:cubicBezTo>
                        <a:pt x="260" y="156"/>
                        <a:pt x="248" y="134"/>
                        <a:pt x="248" y="134"/>
                      </a:cubicBezTo>
                      <a:cubicBezTo>
                        <a:pt x="240" y="124"/>
                        <a:pt x="240" y="124"/>
                        <a:pt x="240" y="124"/>
                      </a:cubicBezTo>
                      <a:cubicBezTo>
                        <a:pt x="239" y="106"/>
                        <a:pt x="239" y="106"/>
                        <a:pt x="239" y="106"/>
                      </a:cubicBezTo>
                      <a:cubicBezTo>
                        <a:pt x="230" y="92"/>
                        <a:pt x="230" y="92"/>
                        <a:pt x="230" y="92"/>
                      </a:cubicBezTo>
                      <a:cubicBezTo>
                        <a:pt x="213" y="86"/>
                        <a:pt x="213" y="86"/>
                        <a:pt x="213" y="86"/>
                      </a:cubicBezTo>
                      <a:cubicBezTo>
                        <a:pt x="213" y="86"/>
                        <a:pt x="213" y="71"/>
                        <a:pt x="210" y="70"/>
                      </a:cubicBezTo>
                      <a:cubicBezTo>
                        <a:pt x="207" y="69"/>
                        <a:pt x="196" y="68"/>
                        <a:pt x="196" y="68"/>
                      </a:cubicBezTo>
                      <a:cubicBezTo>
                        <a:pt x="196" y="68"/>
                        <a:pt x="195" y="32"/>
                        <a:pt x="188" y="31"/>
                      </a:cubicBezTo>
                      <a:cubicBezTo>
                        <a:pt x="181" y="30"/>
                        <a:pt x="167" y="34"/>
                        <a:pt x="167" y="34"/>
                      </a:cubicBezTo>
                      <a:cubicBezTo>
                        <a:pt x="167" y="34"/>
                        <a:pt x="156" y="12"/>
                        <a:pt x="146" y="10"/>
                      </a:cubicBezTo>
                      <a:cubicBezTo>
                        <a:pt x="136" y="8"/>
                        <a:pt x="122" y="7"/>
                        <a:pt x="122" y="7"/>
                      </a:cubicBezTo>
                      <a:cubicBezTo>
                        <a:pt x="109" y="0"/>
                        <a:pt x="109" y="0"/>
                        <a:pt x="109" y="0"/>
                      </a:cubicBezTo>
                      <a:cubicBezTo>
                        <a:pt x="109" y="10"/>
                        <a:pt x="109" y="10"/>
                        <a:pt x="109" y="10"/>
                      </a:cubicBezTo>
                      <a:cubicBezTo>
                        <a:pt x="86" y="9"/>
                        <a:pt x="86" y="9"/>
                        <a:pt x="86" y="9"/>
                      </a:cubicBezTo>
                      <a:cubicBezTo>
                        <a:pt x="78" y="13"/>
                        <a:pt x="78" y="13"/>
                        <a:pt x="78" y="13"/>
                      </a:cubicBezTo>
                      <a:cubicBezTo>
                        <a:pt x="78" y="13"/>
                        <a:pt x="68" y="5"/>
                        <a:pt x="59" y="11"/>
                      </a:cubicBezTo>
                      <a:cubicBezTo>
                        <a:pt x="50" y="17"/>
                        <a:pt x="53" y="41"/>
                        <a:pt x="41" y="43"/>
                      </a:cubicBezTo>
                      <a:cubicBezTo>
                        <a:pt x="40" y="50"/>
                        <a:pt x="40" y="56"/>
                        <a:pt x="40" y="57"/>
                      </a:cubicBezTo>
                      <a:cubicBezTo>
                        <a:pt x="39" y="60"/>
                        <a:pt x="29" y="67"/>
                        <a:pt x="22" y="80"/>
                      </a:cubicBezTo>
                      <a:cubicBezTo>
                        <a:pt x="15" y="93"/>
                        <a:pt x="0" y="106"/>
                        <a:pt x="0" y="106"/>
                      </a:cubicBezTo>
                      <a:cubicBezTo>
                        <a:pt x="2" y="113"/>
                        <a:pt x="2" y="113"/>
                        <a:pt x="2" y="113"/>
                      </a:cubicBezTo>
                      <a:cubicBezTo>
                        <a:pt x="8" y="112"/>
                        <a:pt x="8" y="112"/>
                        <a:pt x="8" y="112"/>
                      </a:cubicBezTo>
                      <a:cubicBezTo>
                        <a:pt x="8" y="112"/>
                        <a:pt x="17" y="121"/>
                        <a:pt x="17" y="128"/>
                      </a:cubicBezTo>
                      <a:cubicBezTo>
                        <a:pt x="17" y="135"/>
                        <a:pt x="20" y="141"/>
                        <a:pt x="20" y="141"/>
                      </a:cubicBezTo>
                      <a:cubicBezTo>
                        <a:pt x="29" y="149"/>
                        <a:pt x="29" y="149"/>
                        <a:pt x="29" y="149"/>
                      </a:cubicBezTo>
                      <a:cubicBezTo>
                        <a:pt x="29" y="149"/>
                        <a:pt x="28" y="150"/>
                        <a:pt x="28" y="157"/>
                      </a:cubicBezTo>
                      <a:cubicBezTo>
                        <a:pt x="28" y="162"/>
                        <a:pt x="32" y="166"/>
                        <a:pt x="34" y="169"/>
                      </a:cubicBezTo>
                      <a:cubicBezTo>
                        <a:pt x="84" y="169"/>
                        <a:pt x="84" y="169"/>
                        <a:pt x="84" y="169"/>
                      </a:cubicBezTo>
                      <a:cubicBezTo>
                        <a:pt x="84" y="159"/>
                        <a:pt x="84" y="159"/>
                        <a:pt x="84" y="159"/>
                      </a:cubicBezTo>
                      <a:cubicBezTo>
                        <a:pt x="84" y="159"/>
                        <a:pt x="96" y="160"/>
                        <a:pt x="109" y="158"/>
                      </a:cubicBezTo>
                      <a:cubicBezTo>
                        <a:pt x="122" y="156"/>
                        <a:pt x="120" y="166"/>
                        <a:pt x="120" y="166"/>
                      </a:cubicBezTo>
                      <a:cubicBezTo>
                        <a:pt x="128" y="164"/>
                        <a:pt x="128" y="164"/>
                        <a:pt x="128" y="164"/>
                      </a:cubicBezTo>
                      <a:cubicBezTo>
                        <a:pt x="128" y="164"/>
                        <a:pt x="136" y="175"/>
                        <a:pt x="141" y="176"/>
                      </a:cubicBezTo>
                      <a:cubicBezTo>
                        <a:pt x="146" y="177"/>
                        <a:pt x="145" y="167"/>
                        <a:pt x="162" y="171"/>
                      </a:cubicBezTo>
                      <a:cubicBezTo>
                        <a:pt x="179" y="175"/>
                        <a:pt x="161" y="190"/>
                        <a:pt x="143" y="190"/>
                      </a:cubicBezTo>
                      <a:cubicBezTo>
                        <a:pt x="125" y="190"/>
                        <a:pt x="109" y="171"/>
                        <a:pt x="109" y="171"/>
                      </a:cubicBezTo>
                      <a:cubicBezTo>
                        <a:pt x="109" y="171"/>
                        <a:pt x="103" y="182"/>
                        <a:pt x="97" y="183"/>
                      </a:cubicBezTo>
                      <a:cubicBezTo>
                        <a:pt x="91" y="184"/>
                        <a:pt x="72" y="186"/>
                        <a:pt x="72" y="186"/>
                      </a:cubicBezTo>
                      <a:cubicBezTo>
                        <a:pt x="72" y="186"/>
                        <a:pt x="71" y="195"/>
                        <a:pt x="68" y="195"/>
                      </a:cubicBezTo>
                      <a:cubicBezTo>
                        <a:pt x="66" y="195"/>
                        <a:pt x="36" y="195"/>
                        <a:pt x="25" y="195"/>
                      </a:cubicBezTo>
                      <a:cubicBezTo>
                        <a:pt x="24" y="202"/>
                        <a:pt x="24" y="212"/>
                        <a:pt x="24" y="212"/>
                      </a:cubicBezTo>
                      <a:cubicBezTo>
                        <a:pt x="18" y="215"/>
                        <a:pt x="18" y="215"/>
                        <a:pt x="18" y="215"/>
                      </a:cubicBezTo>
                      <a:cubicBezTo>
                        <a:pt x="18" y="215"/>
                        <a:pt x="22" y="236"/>
                        <a:pt x="31" y="241"/>
                      </a:cubicBezTo>
                      <a:cubicBezTo>
                        <a:pt x="40" y="246"/>
                        <a:pt x="50" y="241"/>
                        <a:pt x="50" y="241"/>
                      </a:cubicBezTo>
                      <a:cubicBezTo>
                        <a:pt x="58" y="231"/>
                        <a:pt x="58" y="231"/>
                        <a:pt x="58" y="231"/>
                      </a:cubicBezTo>
                      <a:cubicBezTo>
                        <a:pt x="85" y="231"/>
                        <a:pt x="85" y="231"/>
                        <a:pt x="85" y="231"/>
                      </a:cubicBezTo>
                      <a:cubicBezTo>
                        <a:pt x="102" y="216"/>
                        <a:pt x="102" y="216"/>
                        <a:pt x="102" y="216"/>
                      </a:cubicBezTo>
                      <a:cubicBezTo>
                        <a:pt x="196" y="219"/>
                        <a:pt x="196" y="219"/>
                        <a:pt x="196" y="219"/>
                      </a:cubicBezTo>
                      <a:cubicBezTo>
                        <a:pt x="196" y="219"/>
                        <a:pt x="196" y="230"/>
                        <a:pt x="204" y="232"/>
                      </a:cubicBezTo>
                      <a:cubicBezTo>
                        <a:pt x="212" y="234"/>
                        <a:pt x="215" y="226"/>
                        <a:pt x="215" y="226"/>
                      </a:cubicBezTo>
                      <a:cubicBezTo>
                        <a:pt x="215" y="226"/>
                        <a:pt x="224" y="242"/>
                        <a:pt x="231" y="242"/>
                      </a:cubicBezTo>
                      <a:cubicBezTo>
                        <a:pt x="238" y="242"/>
                        <a:pt x="247" y="235"/>
                        <a:pt x="247" y="235"/>
                      </a:cubicBezTo>
                      <a:cubicBezTo>
                        <a:pt x="275" y="234"/>
                        <a:pt x="275" y="234"/>
                        <a:pt x="275" y="234"/>
                      </a:cubicBezTo>
                      <a:cubicBezTo>
                        <a:pt x="276" y="200"/>
                        <a:pt x="276" y="200"/>
                        <a:pt x="276" y="200"/>
                      </a:cubicBezTo>
                      <a:cubicBezTo>
                        <a:pt x="276" y="200"/>
                        <a:pt x="274" y="184"/>
                        <a:pt x="269" y="18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9" name="Sao Tome &amp; Principe">
                  <a:extLst>
                    <a:ext uri="{FF2B5EF4-FFF2-40B4-BE49-F238E27FC236}">
                      <a16:creationId xmlns:a16="http://schemas.microsoft.com/office/drawing/2014/main" id="{E318A935-C2EC-20F4-AE09-AB51B2C73D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407143" y="3821845"/>
                  <a:ext cx="58986" cy="122545"/>
                </a:xfrm>
                <a:custGeom>
                  <a:avLst/>
                  <a:gdLst/>
                  <a:ahLst/>
                  <a:cxnLst>
                    <a:cxn ang="0">
                      <a:pos x="4" y="27"/>
                    </a:cxn>
                    <a:cxn ang="0">
                      <a:pos x="4" y="22"/>
                    </a:cxn>
                    <a:cxn ang="0">
                      <a:pos x="9" y="18"/>
                    </a:cxn>
                    <a:cxn ang="0">
                      <a:pos x="4" y="18"/>
                    </a:cxn>
                    <a:cxn ang="0">
                      <a:pos x="0" y="22"/>
                    </a:cxn>
                    <a:cxn ang="0">
                      <a:pos x="0" y="22"/>
                    </a:cxn>
                    <a:cxn ang="0">
                      <a:pos x="4" y="27"/>
                    </a:cxn>
                    <a:cxn ang="0">
                      <a:pos x="13" y="0"/>
                    </a:cxn>
                    <a:cxn ang="0">
                      <a:pos x="9" y="0"/>
                    </a:cxn>
                    <a:cxn ang="0">
                      <a:pos x="13" y="4"/>
                    </a:cxn>
                    <a:cxn ang="0">
                      <a:pos x="13" y="0"/>
                    </a:cxn>
                    <a:cxn ang="0">
                      <a:pos x="13" y="0"/>
                    </a:cxn>
                  </a:cxnLst>
                  <a:rect l="0" t="0" r="r" b="b"/>
                  <a:pathLst>
                    <a:path w="13" h="27">
                      <a:moveTo>
                        <a:pt x="4" y="27"/>
                      </a:moveTo>
                      <a:lnTo>
                        <a:pt x="4" y="22"/>
                      </a:lnTo>
                      <a:lnTo>
                        <a:pt x="9" y="18"/>
                      </a:lnTo>
                      <a:lnTo>
                        <a:pt x="4" y="18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4" y="27"/>
                      </a:lnTo>
                      <a:close/>
                      <a:moveTo>
                        <a:pt x="13" y="0"/>
                      </a:moveTo>
                      <a:lnTo>
                        <a:pt x="9" y="0"/>
                      </a:lnTo>
                      <a:lnTo>
                        <a:pt x="13" y="4"/>
                      </a:lnTo>
                      <a:lnTo>
                        <a:pt x="13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 sz="1662"/>
                </a:p>
              </p:txBody>
            </p:sp>
            <p:sp>
              <p:nvSpPr>
                <p:cNvPr id="30" name="Rwanda">
                  <a:extLst>
                    <a:ext uri="{FF2B5EF4-FFF2-40B4-BE49-F238E27FC236}">
                      <a16:creationId xmlns:a16="http://schemas.microsoft.com/office/drawing/2014/main" id="{A3B46788-848F-DA81-1D32-60A5F0684C9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17457" y="4128637"/>
                  <a:ext cx="174056" cy="131607"/>
                </a:xfrm>
                <a:custGeom>
                  <a:avLst/>
                  <a:gdLst>
                    <a:gd name="T0" fmla="*/ 35 w 104"/>
                    <a:gd name="T1" fmla="*/ 98 h 98"/>
                    <a:gd name="T2" fmla="*/ 52 w 104"/>
                    <a:gd name="T3" fmla="*/ 91 h 98"/>
                    <a:gd name="T4" fmla="*/ 57 w 104"/>
                    <a:gd name="T5" fmla="*/ 74 h 98"/>
                    <a:gd name="T6" fmla="*/ 87 w 104"/>
                    <a:gd name="T7" fmla="*/ 74 h 98"/>
                    <a:gd name="T8" fmla="*/ 90 w 104"/>
                    <a:gd name="T9" fmla="*/ 74 h 98"/>
                    <a:gd name="T10" fmla="*/ 104 w 104"/>
                    <a:gd name="T11" fmla="*/ 64 h 98"/>
                    <a:gd name="T12" fmla="*/ 98 w 104"/>
                    <a:gd name="T13" fmla="*/ 44 h 98"/>
                    <a:gd name="T14" fmla="*/ 100 w 104"/>
                    <a:gd name="T15" fmla="*/ 31 h 98"/>
                    <a:gd name="T16" fmla="*/ 86 w 104"/>
                    <a:gd name="T17" fmla="*/ 13 h 98"/>
                    <a:gd name="T18" fmla="*/ 91 w 104"/>
                    <a:gd name="T19" fmla="*/ 0 h 98"/>
                    <a:gd name="T20" fmla="*/ 75 w 104"/>
                    <a:gd name="T21" fmla="*/ 1 h 98"/>
                    <a:gd name="T22" fmla="*/ 64 w 104"/>
                    <a:gd name="T23" fmla="*/ 25 h 98"/>
                    <a:gd name="T24" fmla="*/ 52 w 104"/>
                    <a:gd name="T25" fmla="*/ 17 h 98"/>
                    <a:gd name="T26" fmla="*/ 42 w 104"/>
                    <a:gd name="T27" fmla="*/ 17 h 98"/>
                    <a:gd name="T28" fmla="*/ 17 w 104"/>
                    <a:gd name="T29" fmla="*/ 36 h 98"/>
                    <a:gd name="T30" fmla="*/ 24 w 104"/>
                    <a:gd name="T31" fmla="*/ 58 h 98"/>
                    <a:gd name="T32" fmla="*/ 4 w 104"/>
                    <a:gd name="T33" fmla="*/ 80 h 98"/>
                    <a:gd name="T34" fmla="*/ 22 w 104"/>
                    <a:gd name="T35" fmla="*/ 85 h 98"/>
                    <a:gd name="T36" fmla="*/ 35 w 104"/>
                    <a:gd name="T37" fmla="*/ 98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04" h="98">
                      <a:moveTo>
                        <a:pt x="35" y="98"/>
                      </a:moveTo>
                      <a:cubicBezTo>
                        <a:pt x="39" y="98"/>
                        <a:pt x="52" y="91"/>
                        <a:pt x="52" y="91"/>
                      </a:cubicBezTo>
                      <a:cubicBezTo>
                        <a:pt x="57" y="74"/>
                        <a:pt x="57" y="74"/>
                        <a:pt x="57" y="74"/>
                      </a:cubicBezTo>
                      <a:cubicBezTo>
                        <a:pt x="87" y="74"/>
                        <a:pt x="87" y="74"/>
                        <a:pt x="87" y="74"/>
                      </a:cubicBezTo>
                      <a:cubicBezTo>
                        <a:pt x="90" y="74"/>
                        <a:pt x="90" y="74"/>
                        <a:pt x="90" y="74"/>
                      </a:cubicBezTo>
                      <a:cubicBezTo>
                        <a:pt x="96" y="73"/>
                        <a:pt x="104" y="71"/>
                        <a:pt x="104" y="64"/>
                      </a:cubicBezTo>
                      <a:cubicBezTo>
                        <a:pt x="104" y="52"/>
                        <a:pt x="98" y="44"/>
                        <a:pt x="98" y="44"/>
                      </a:cubicBezTo>
                      <a:cubicBezTo>
                        <a:pt x="98" y="44"/>
                        <a:pt x="104" y="39"/>
                        <a:pt x="100" y="31"/>
                      </a:cubicBezTo>
                      <a:cubicBezTo>
                        <a:pt x="96" y="23"/>
                        <a:pt x="86" y="13"/>
                        <a:pt x="8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75" y="1"/>
                        <a:pt x="75" y="1"/>
                        <a:pt x="75" y="1"/>
                      </a:cubicBezTo>
                      <a:cubicBezTo>
                        <a:pt x="75" y="1"/>
                        <a:pt x="71" y="17"/>
                        <a:pt x="64" y="25"/>
                      </a:cubicBezTo>
                      <a:cubicBezTo>
                        <a:pt x="58" y="32"/>
                        <a:pt x="52" y="17"/>
                        <a:pt x="52" y="17"/>
                      </a:cubicBezTo>
                      <a:cubicBezTo>
                        <a:pt x="42" y="17"/>
                        <a:pt x="42" y="17"/>
                        <a:pt x="42" y="17"/>
                      </a:cubicBezTo>
                      <a:cubicBezTo>
                        <a:pt x="42" y="17"/>
                        <a:pt x="18" y="28"/>
                        <a:pt x="17" y="36"/>
                      </a:cubicBezTo>
                      <a:cubicBezTo>
                        <a:pt x="15" y="44"/>
                        <a:pt x="25" y="55"/>
                        <a:pt x="24" y="58"/>
                      </a:cubicBezTo>
                      <a:cubicBezTo>
                        <a:pt x="22" y="62"/>
                        <a:pt x="0" y="72"/>
                        <a:pt x="4" y="80"/>
                      </a:cubicBezTo>
                      <a:cubicBezTo>
                        <a:pt x="8" y="88"/>
                        <a:pt x="22" y="85"/>
                        <a:pt x="22" y="85"/>
                      </a:cubicBezTo>
                      <a:cubicBezTo>
                        <a:pt x="22" y="85"/>
                        <a:pt x="31" y="98"/>
                        <a:pt x="35" y="9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1" name="Reunion">
                  <a:extLst>
                    <a:ext uri="{FF2B5EF4-FFF2-40B4-BE49-F238E27FC236}">
                      <a16:creationId xmlns:a16="http://schemas.microsoft.com/office/drawing/2014/main" id="{1F03065C-C108-C19C-16E7-D7B8907389E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820364" y="5514439"/>
                  <a:ext cx="63524" cy="40848"/>
                </a:xfrm>
                <a:custGeom>
                  <a:avLst/>
                  <a:gdLst/>
                  <a:ahLst/>
                  <a:cxnLst>
                    <a:cxn ang="0">
                      <a:pos x="9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5" y="9"/>
                    </a:cxn>
                    <a:cxn ang="0">
                      <a:pos x="9" y="9"/>
                    </a:cxn>
                    <a:cxn ang="0">
                      <a:pos x="14" y="5"/>
                    </a:cxn>
                    <a:cxn ang="0">
                      <a:pos x="9" y="5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14" h="9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5" y="9"/>
                      </a:lnTo>
                      <a:lnTo>
                        <a:pt x="9" y="9"/>
                      </a:lnTo>
                      <a:lnTo>
                        <a:pt x="14" y="5"/>
                      </a:lnTo>
                      <a:lnTo>
                        <a:pt x="9" y="5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 sz="1662"/>
                </a:p>
              </p:txBody>
            </p:sp>
            <p:sp>
              <p:nvSpPr>
                <p:cNvPr id="32" name="Republic of the Congo">
                  <a:extLst>
                    <a:ext uri="{FF2B5EF4-FFF2-40B4-BE49-F238E27FC236}">
                      <a16:creationId xmlns:a16="http://schemas.microsoft.com/office/drawing/2014/main" id="{1103F7C2-EE5B-B43E-075F-1466A68931F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29699" y="3790221"/>
                  <a:ext cx="592738" cy="616668"/>
                </a:xfrm>
                <a:custGeom>
                  <a:avLst/>
                  <a:gdLst>
                    <a:gd name="T0" fmla="*/ 238 w 356"/>
                    <a:gd name="T1" fmla="*/ 83 h 466"/>
                    <a:gd name="T2" fmla="*/ 219 w 356"/>
                    <a:gd name="T3" fmla="*/ 95 h 466"/>
                    <a:gd name="T4" fmla="*/ 166 w 356"/>
                    <a:gd name="T5" fmla="*/ 83 h 466"/>
                    <a:gd name="T6" fmla="*/ 96 w 356"/>
                    <a:gd name="T7" fmla="*/ 108 h 466"/>
                    <a:gd name="T8" fmla="*/ 115 w 356"/>
                    <a:gd name="T9" fmla="*/ 134 h 466"/>
                    <a:gd name="T10" fmla="*/ 149 w 356"/>
                    <a:gd name="T11" fmla="*/ 128 h 466"/>
                    <a:gd name="T12" fmla="*/ 159 w 356"/>
                    <a:gd name="T13" fmla="*/ 146 h 466"/>
                    <a:gd name="T14" fmla="*/ 140 w 356"/>
                    <a:gd name="T15" fmla="*/ 172 h 466"/>
                    <a:gd name="T16" fmla="*/ 130 w 356"/>
                    <a:gd name="T17" fmla="*/ 212 h 466"/>
                    <a:gd name="T18" fmla="*/ 147 w 356"/>
                    <a:gd name="T19" fmla="*/ 225 h 466"/>
                    <a:gd name="T20" fmla="*/ 158 w 356"/>
                    <a:gd name="T21" fmla="*/ 243 h 466"/>
                    <a:gd name="T22" fmla="*/ 155 w 356"/>
                    <a:gd name="T23" fmla="*/ 284 h 466"/>
                    <a:gd name="T24" fmla="*/ 146 w 356"/>
                    <a:gd name="T25" fmla="*/ 316 h 466"/>
                    <a:gd name="T26" fmla="*/ 127 w 356"/>
                    <a:gd name="T27" fmla="*/ 311 h 466"/>
                    <a:gd name="T28" fmla="*/ 90 w 356"/>
                    <a:gd name="T29" fmla="*/ 327 h 466"/>
                    <a:gd name="T30" fmla="*/ 64 w 356"/>
                    <a:gd name="T31" fmla="*/ 297 h 466"/>
                    <a:gd name="T32" fmla="*/ 58 w 356"/>
                    <a:gd name="T33" fmla="*/ 329 h 466"/>
                    <a:gd name="T34" fmla="*/ 25 w 356"/>
                    <a:gd name="T35" fmla="*/ 346 h 466"/>
                    <a:gd name="T36" fmla="*/ 35 w 356"/>
                    <a:gd name="T37" fmla="*/ 359 h 466"/>
                    <a:gd name="T38" fmla="*/ 38 w 356"/>
                    <a:gd name="T39" fmla="*/ 376 h 466"/>
                    <a:gd name="T40" fmla="*/ 19 w 356"/>
                    <a:gd name="T41" fmla="*/ 389 h 466"/>
                    <a:gd name="T42" fmla="*/ 0 w 356"/>
                    <a:gd name="T43" fmla="*/ 411 h 466"/>
                    <a:gd name="T44" fmla="*/ 37 w 356"/>
                    <a:gd name="T45" fmla="*/ 454 h 466"/>
                    <a:gd name="T46" fmla="*/ 50 w 356"/>
                    <a:gd name="T47" fmla="*/ 460 h 466"/>
                    <a:gd name="T48" fmla="*/ 61 w 356"/>
                    <a:gd name="T49" fmla="*/ 446 h 466"/>
                    <a:gd name="T50" fmla="*/ 91 w 356"/>
                    <a:gd name="T51" fmla="*/ 448 h 466"/>
                    <a:gd name="T52" fmla="*/ 114 w 356"/>
                    <a:gd name="T53" fmla="*/ 461 h 466"/>
                    <a:gd name="T54" fmla="*/ 138 w 356"/>
                    <a:gd name="T55" fmla="*/ 441 h 466"/>
                    <a:gd name="T56" fmla="*/ 159 w 356"/>
                    <a:gd name="T57" fmla="*/ 462 h 466"/>
                    <a:gd name="T58" fmla="*/ 209 w 356"/>
                    <a:gd name="T59" fmla="*/ 418 h 466"/>
                    <a:gd name="T60" fmla="*/ 242 w 356"/>
                    <a:gd name="T61" fmla="*/ 385 h 466"/>
                    <a:gd name="T62" fmla="*/ 260 w 356"/>
                    <a:gd name="T63" fmla="*/ 302 h 466"/>
                    <a:gd name="T64" fmla="*/ 298 w 356"/>
                    <a:gd name="T65" fmla="*/ 251 h 466"/>
                    <a:gd name="T66" fmla="*/ 317 w 356"/>
                    <a:gd name="T67" fmla="*/ 197 h 466"/>
                    <a:gd name="T68" fmla="*/ 320 w 356"/>
                    <a:gd name="T69" fmla="*/ 152 h 466"/>
                    <a:gd name="T70" fmla="*/ 332 w 356"/>
                    <a:gd name="T71" fmla="*/ 77 h 466"/>
                    <a:gd name="T72" fmla="*/ 356 w 356"/>
                    <a:gd name="T73" fmla="*/ 11 h 466"/>
                    <a:gd name="T74" fmla="*/ 332 w 356"/>
                    <a:gd name="T75" fmla="*/ 9 h 466"/>
                    <a:gd name="T76" fmla="*/ 282 w 356"/>
                    <a:gd name="T77" fmla="*/ 11 h 466"/>
                    <a:gd name="T78" fmla="*/ 252 w 356"/>
                    <a:gd name="T79" fmla="*/ 31 h 466"/>
                    <a:gd name="T80" fmla="*/ 242 w 356"/>
                    <a:gd name="T81" fmla="*/ 77 h 4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356" h="466">
                      <a:moveTo>
                        <a:pt x="242" y="77"/>
                      </a:moveTo>
                      <a:cubicBezTo>
                        <a:pt x="238" y="83"/>
                        <a:pt x="238" y="83"/>
                        <a:pt x="238" y="83"/>
                      </a:cubicBezTo>
                      <a:cubicBezTo>
                        <a:pt x="237" y="110"/>
                        <a:pt x="237" y="110"/>
                        <a:pt x="237" y="110"/>
                      </a:cubicBezTo>
                      <a:cubicBezTo>
                        <a:pt x="219" y="95"/>
                        <a:pt x="219" y="95"/>
                        <a:pt x="219" y="95"/>
                      </a:cubicBezTo>
                      <a:cubicBezTo>
                        <a:pt x="199" y="96"/>
                        <a:pt x="199" y="96"/>
                        <a:pt x="199" y="96"/>
                      </a:cubicBezTo>
                      <a:cubicBezTo>
                        <a:pt x="199" y="96"/>
                        <a:pt x="171" y="83"/>
                        <a:pt x="166" y="83"/>
                      </a:cubicBezTo>
                      <a:cubicBezTo>
                        <a:pt x="161" y="83"/>
                        <a:pt x="106" y="86"/>
                        <a:pt x="106" y="86"/>
                      </a:cubicBezTo>
                      <a:cubicBezTo>
                        <a:pt x="96" y="108"/>
                        <a:pt x="96" y="108"/>
                        <a:pt x="96" y="108"/>
                      </a:cubicBezTo>
                      <a:cubicBezTo>
                        <a:pt x="98" y="129"/>
                        <a:pt x="98" y="129"/>
                        <a:pt x="98" y="129"/>
                      </a:cubicBezTo>
                      <a:cubicBezTo>
                        <a:pt x="98" y="129"/>
                        <a:pt x="106" y="134"/>
                        <a:pt x="115" y="134"/>
                      </a:cubicBezTo>
                      <a:cubicBezTo>
                        <a:pt x="124" y="134"/>
                        <a:pt x="124" y="119"/>
                        <a:pt x="129" y="119"/>
                      </a:cubicBezTo>
                      <a:cubicBezTo>
                        <a:pt x="134" y="119"/>
                        <a:pt x="146" y="124"/>
                        <a:pt x="149" y="128"/>
                      </a:cubicBezTo>
                      <a:cubicBezTo>
                        <a:pt x="152" y="132"/>
                        <a:pt x="153" y="142"/>
                        <a:pt x="153" y="142"/>
                      </a:cubicBezTo>
                      <a:cubicBezTo>
                        <a:pt x="159" y="146"/>
                        <a:pt x="159" y="146"/>
                        <a:pt x="159" y="146"/>
                      </a:cubicBezTo>
                      <a:cubicBezTo>
                        <a:pt x="159" y="146"/>
                        <a:pt x="159" y="159"/>
                        <a:pt x="153" y="166"/>
                      </a:cubicBezTo>
                      <a:cubicBezTo>
                        <a:pt x="147" y="173"/>
                        <a:pt x="140" y="172"/>
                        <a:pt x="140" y="172"/>
                      </a:cubicBezTo>
                      <a:cubicBezTo>
                        <a:pt x="131" y="188"/>
                        <a:pt x="131" y="188"/>
                        <a:pt x="131" y="188"/>
                      </a:cubicBezTo>
                      <a:cubicBezTo>
                        <a:pt x="130" y="212"/>
                        <a:pt x="130" y="212"/>
                        <a:pt x="130" y="212"/>
                      </a:cubicBezTo>
                      <a:cubicBezTo>
                        <a:pt x="142" y="213"/>
                        <a:pt x="142" y="213"/>
                        <a:pt x="142" y="213"/>
                      </a:cubicBezTo>
                      <a:cubicBezTo>
                        <a:pt x="147" y="225"/>
                        <a:pt x="147" y="225"/>
                        <a:pt x="147" y="225"/>
                      </a:cubicBezTo>
                      <a:cubicBezTo>
                        <a:pt x="147" y="225"/>
                        <a:pt x="163" y="226"/>
                        <a:pt x="165" y="232"/>
                      </a:cubicBezTo>
                      <a:cubicBezTo>
                        <a:pt x="167" y="238"/>
                        <a:pt x="158" y="243"/>
                        <a:pt x="158" y="243"/>
                      </a:cubicBezTo>
                      <a:cubicBezTo>
                        <a:pt x="159" y="273"/>
                        <a:pt x="159" y="273"/>
                        <a:pt x="159" y="273"/>
                      </a:cubicBezTo>
                      <a:cubicBezTo>
                        <a:pt x="155" y="284"/>
                        <a:pt x="155" y="284"/>
                        <a:pt x="155" y="284"/>
                      </a:cubicBezTo>
                      <a:cubicBezTo>
                        <a:pt x="159" y="298"/>
                        <a:pt x="159" y="298"/>
                        <a:pt x="159" y="298"/>
                      </a:cubicBezTo>
                      <a:cubicBezTo>
                        <a:pt x="159" y="298"/>
                        <a:pt x="146" y="302"/>
                        <a:pt x="146" y="316"/>
                      </a:cubicBezTo>
                      <a:cubicBezTo>
                        <a:pt x="146" y="330"/>
                        <a:pt x="144" y="336"/>
                        <a:pt x="134" y="336"/>
                      </a:cubicBezTo>
                      <a:cubicBezTo>
                        <a:pt x="124" y="336"/>
                        <a:pt x="131" y="314"/>
                        <a:pt x="127" y="311"/>
                      </a:cubicBezTo>
                      <a:cubicBezTo>
                        <a:pt x="123" y="308"/>
                        <a:pt x="120" y="324"/>
                        <a:pt x="112" y="326"/>
                      </a:cubicBezTo>
                      <a:cubicBezTo>
                        <a:pt x="104" y="328"/>
                        <a:pt x="90" y="327"/>
                        <a:pt x="90" y="327"/>
                      </a:cubicBezTo>
                      <a:cubicBezTo>
                        <a:pt x="81" y="298"/>
                        <a:pt x="81" y="298"/>
                        <a:pt x="81" y="298"/>
                      </a:cubicBezTo>
                      <a:cubicBezTo>
                        <a:pt x="81" y="298"/>
                        <a:pt x="70" y="296"/>
                        <a:pt x="64" y="297"/>
                      </a:cubicBezTo>
                      <a:cubicBezTo>
                        <a:pt x="58" y="298"/>
                        <a:pt x="71" y="316"/>
                        <a:pt x="71" y="316"/>
                      </a:cubicBezTo>
                      <a:cubicBezTo>
                        <a:pt x="71" y="316"/>
                        <a:pt x="62" y="324"/>
                        <a:pt x="58" y="329"/>
                      </a:cubicBezTo>
                      <a:cubicBezTo>
                        <a:pt x="54" y="334"/>
                        <a:pt x="30" y="325"/>
                        <a:pt x="24" y="323"/>
                      </a:cubicBezTo>
                      <a:cubicBezTo>
                        <a:pt x="18" y="321"/>
                        <a:pt x="25" y="346"/>
                        <a:pt x="25" y="346"/>
                      </a:cubicBezTo>
                      <a:cubicBezTo>
                        <a:pt x="18" y="346"/>
                        <a:pt x="18" y="346"/>
                        <a:pt x="18" y="346"/>
                      </a:cubicBezTo>
                      <a:cubicBezTo>
                        <a:pt x="35" y="359"/>
                        <a:pt x="35" y="359"/>
                        <a:pt x="35" y="359"/>
                      </a:cubicBezTo>
                      <a:cubicBezTo>
                        <a:pt x="26" y="368"/>
                        <a:pt x="26" y="368"/>
                        <a:pt x="26" y="368"/>
                      </a:cubicBezTo>
                      <a:cubicBezTo>
                        <a:pt x="38" y="376"/>
                        <a:pt x="38" y="376"/>
                        <a:pt x="38" y="376"/>
                      </a:cubicBezTo>
                      <a:cubicBezTo>
                        <a:pt x="38" y="376"/>
                        <a:pt x="42" y="389"/>
                        <a:pt x="38" y="398"/>
                      </a:cubicBezTo>
                      <a:cubicBezTo>
                        <a:pt x="34" y="407"/>
                        <a:pt x="19" y="389"/>
                        <a:pt x="19" y="389"/>
                      </a:cubicBezTo>
                      <a:cubicBezTo>
                        <a:pt x="5" y="398"/>
                        <a:pt x="5" y="398"/>
                        <a:pt x="5" y="398"/>
                      </a:cubicBezTo>
                      <a:cubicBezTo>
                        <a:pt x="0" y="411"/>
                        <a:pt x="0" y="411"/>
                        <a:pt x="0" y="411"/>
                      </a:cubicBezTo>
                      <a:cubicBezTo>
                        <a:pt x="36" y="442"/>
                        <a:pt x="36" y="442"/>
                        <a:pt x="36" y="442"/>
                      </a:cubicBezTo>
                      <a:cubicBezTo>
                        <a:pt x="37" y="454"/>
                        <a:pt x="37" y="454"/>
                        <a:pt x="37" y="454"/>
                      </a:cubicBezTo>
                      <a:cubicBezTo>
                        <a:pt x="46" y="466"/>
                        <a:pt x="46" y="466"/>
                        <a:pt x="46" y="466"/>
                      </a:cubicBezTo>
                      <a:cubicBezTo>
                        <a:pt x="50" y="460"/>
                        <a:pt x="50" y="460"/>
                        <a:pt x="50" y="460"/>
                      </a:cubicBezTo>
                      <a:cubicBezTo>
                        <a:pt x="61" y="460"/>
                        <a:pt x="61" y="460"/>
                        <a:pt x="61" y="460"/>
                      </a:cubicBezTo>
                      <a:cubicBezTo>
                        <a:pt x="61" y="446"/>
                        <a:pt x="61" y="446"/>
                        <a:pt x="61" y="446"/>
                      </a:cubicBezTo>
                      <a:cubicBezTo>
                        <a:pt x="61" y="446"/>
                        <a:pt x="75" y="433"/>
                        <a:pt x="82" y="432"/>
                      </a:cubicBezTo>
                      <a:cubicBezTo>
                        <a:pt x="89" y="431"/>
                        <a:pt x="91" y="448"/>
                        <a:pt x="91" y="448"/>
                      </a:cubicBezTo>
                      <a:cubicBezTo>
                        <a:pt x="98" y="445"/>
                        <a:pt x="98" y="445"/>
                        <a:pt x="98" y="445"/>
                      </a:cubicBezTo>
                      <a:cubicBezTo>
                        <a:pt x="98" y="445"/>
                        <a:pt x="102" y="466"/>
                        <a:pt x="114" y="461"/>
                      </a:cubicBezTo>
                      <a:cubicBezTo>
                        <a:pt x="126" y="456"/>
                        <a:pt x="125" y="440"/>
                        <a:pt x="125" y="440"/>
                      </a:cubicBezTo>
                      <a:cubicBezTo>
                        <a:pt x="138" y="441"/>
                        <a:pt x="138" y="441"/>
                        <a:pt x="138" y="441"/>
                      </a:cubicBezTo>
                      <a:cubicBezTo>
                        <a:pt x="138" y="441"/>
                        <a:pt x="148" y="425"/>
                        <a:pt x="155" y="432"/>
                      </a:cubicBezTo>
                      <a:cubicBezTo>
                        <a:pt x="162" y="439"/>
                        <a:pt x="144" y="462"/>
                        <a:pt x="159" y="462"/>
                      </a:cubicBezTo>
                      <a:cubicBezTo>
                        <a:pt x="174" y="462"/>
                        <a:pt x="177" y="457"/>
                        <a:pt x="184" y="448"/>
                      </a:cubicBezTo>
                      <a:cubicBezTo>
                        <a:pt x="191" y="439"/>
                        <a:pt x="203" y="418"/>
                        <a:pt x="209" y="418"/>
                      </a:cubicBezTo>
                      <a:cubicBezTo>
                        <a:pt x="215" y="418"/>
                        <a:pt x="225" y="415"/>
                        <a:pt x="225" y="415"/>
                      </a:cubicBezTo>
                      <a:cubicBezTo>
                        <a:pt x="242" y="385"/>
                        <a:pt x="242" y="385"/>
                        <a:pt x="242" y="385"/>
                      </a:cubicBezTo>
                      <a:cubicBezTo>
                        <a:pt x="241" y="318"/>
                        <a:pt x="241" y="318"/>
                        <a:pt x="241" y="318"/>
                      </a:cubicBezTo>
                      <a:cubicBezTo>
                        <a:pt x="241" y="318"/>
                        <a:pt x="259" y="311"/>
                        <a:pt x="260" y="302"/>
                      </a:cubicBezTo>
                      <a:cubicBezTo>
                        <a:pt x="261" y="293"/>
                        <a:pt x="261" y="270"/>
                        <a:pt x="268" y="267"/>
                      </a:cubicBezTo>
                      <a:cubicBezTo>
                        <a:pt x="275" y="264"/>
                        <a:pt x="288" y="258"/>
                        <a:pt x="298" y="251"/>
                      </a:cubicBezTo>
                      <a:cubicBezTo>
                        <a:pt x="308" y="244"/>
                        <a:pt x="314" y="229"/>
                        <a:pt x="314" y="229"/>
                      </a:cubicBezTo>
                      <a:cubicBezTo>
                        <a:pt x="317" y="197"/>
                        <a:pt x="317" y="197"/>
                        <a:pt x="317" y="197"/>
                      </a:cubicBezTo>
                      <a:cubicBezTo>
                        <a:pt x="317" y="197"/>
                        <a:pt x="327" y="189"/>
                        <a:pt x="327" y="178"/>
                      </a:cubicBezTo>
                      <a:cubicBezTo>
                        <a:pt x="327" y="167"/>
                        <a:pt x="318" y="160"/>
                        <a:pt x="320" y="152"/>
                      </a:cubicBezTo>
                      <a:cubicBezTo>
                        <a:pt x="322" y="144"/>
                        <a:pt x="332" y="136"/>
                        <a:pt x="331" y="125"/>
                      </a:cubicBezTo>
                      <a:cubicBezTo>
                        <a:pt x="330" y="114"/>
                        <a:pt x="323" y="87"/>
                        <a:pt x="332" y="77"/>
                      </a:cubicBezTo>
                      <a:cubicBezTo>
                        <a:pt x="341" y="67"/>
                        <a:pt x="356" y="38"/>
                        <a:pt x="356" y="30"/>
                      </a:cubicBezTo>
                      <a:cubicBezTo>
                        <a:pt x="356" y="22"/>
                        <a:pt x="356" y="11"/>
                        <a:pt x="356" y="11"/>
                      </a:cubicBezTo>
                      <a:cubicBezTo>
                        <a:pt x="347" y="4"/>
                        <a:pt x="347" y="4"/>
                        <a:pt x="347" y="4"/>
                      </a:cubicBezTo>
                      <a:cubicBezTo>
                        <a:pt x="347" y="4"/>
                        <a:pt x="343" y="10"/>
                        <a:pt x="332" y="9"/>
                      </a:cubicBezTo>
                      <a:cubicBezTo>
                        <a:pt x="321" y="8"/>
                        <a:pt x="307" y="0"/>
                        <a:pt x="301" y="0"/>
                      </a:cubicBezTo>
                      <a:cubicBezTo>
                        <a:pt x="295" y="0"/>
                        <a:pt x="282" y="11"/>
                        <a:pt x="282" y="11"/>
                      </a:cubicBezTo>
                      <a:cubicBezTo>
                        <a:pt x="262" y="10"/>
                        <a:pt x="262" y="10"/>
                        <a:pt x="262" y="10"/>
                      </a:cubicBezTo>
                      <a:cubicBezTo>
                        <a:pt x="252" y="31"/>
                        <a:pt x="252" y="31"/>
                        <a:pt x="252" y="31"/>
                      </a:cubicBezTo>
                      <a:cubicBezTo>
                        <a:pt x="252" y="31"/>
                        <a:pt x="262" y="44"/>
                        <a:pt x="260" y="51"/>
                      </a:cubicBezTo>
                      <a:cubicBezTo>
                        <a:pt x="258" y="58"/>
                        <a:pt x="242" y="77"/>
                        <a:pt x="242" y="77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3" name="Nigeria">
                  <a:extLst>
                    <a:ext uri="{FF2B5EF4-FFF2-40B4-BE49-F238E27FC236}">
                      <a16:creationId xmlns:a16="http://schemas.microsoft.com/office/drawing/2014/main" id="{6360192F-EF86-A862-D91A-083CB8AC2F9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71106" y="3068270"/>
                  <a:ext cx="940853" cy="676832"/>
                </a:xfrm>
                <a:custGeom>
                  <a:avLst/>
                  <a:gdLst>
                    <a:gd name="T0" fmla="*/ 290 w 567"/>
                    <a:gd name="T1" fmla="*/ 469 h 511"/>
                    <a:gd name="T2" fmla="*/ 333 w 567"/>
                    <a:gd name="T3" fmla="*/ 394 h 511"/>
                    <a:gd name="T4" fmla="*/ 372 w 567"/>
                    <a:gd name="T5" fmla="*/ 375 h 511"/>
                    <a:gd name="T6" fmla="*/ 396 w 567"/>
                    <a:gd name="T7" fmla="*/ 383 h 511"/>
                    <a:gd name="T8" fmla="*/ 417 w 567"/>
                    <a:gd name="T9" fmla="*/ 378 h 511"/>
                    <a:gd name="T10" fmla="*/ 434 w 567"/>
                    <a:gd name="T11" fmla="*/ 343 h 511"/>
                    <a:gd name="T12" fmla="*/ 458 w 567"/>
                    <a:gd name="T13" fmla="*/ 291 h 511"/>
                    <a:gd name="T14" fmla="*/ 484 w 567"/>
                    <a:gd name="T15" fmla="*/ 239 h 511"/>
                    <a:gd name="T16" fmla="*/ 504 w 567"/>
                    <a:gd name="T17" fmla="*/ 200 h 511"/>
                    <a:gd name="T18" fmla="*/ 513 w 567"/>
                    <a:gd name="T19" fmla="*/ 177 h 511"/>
                    <a:gd name="T20" fmla="*/ 533 w 567"/>
                    <a:gd name="T21" fmla="*/ 141 h 511"/>
                    <a:gd name="T22" fmla="*/ 559 w 567"/>
                    <a:gd name="T23" fmla="*/ 111 h 511"/>
                    <a:gd name="T24" fmla="*/ 540 w 567"/>
                    <a:gd name="T25" fmla="*/ 84 h 511"/>
                    <a:gd name="T26" fmla="*/ 517 w 567"/>
                    <a:gd name="T27" fmla="*/ 8 h 511"/>
                    <a:gd name="T28" fmla="*/ 499 w 567"/>
                    <a:gd name="T29" fmla="*/ 22 h 511"/>
                    <a:gd name="T30" fmla="*/ 458 w 567"/>
                    <a:gd name="T31" fmla="*/ 40 h 511"/>
                    <a:gd name="T32" fmla="*/ 382 w 567"/>
                    <a:gd name="T33" fmla="*/ 25 h 511"/>
                    <a:gd name="T34" fmla="*/ 293 w 567"/>
                    <a:gd name="T35" fmla="*/ 55 h 511"/>
                    <a:gd name="T36" fmla="*/ 205 w 567"/>
                    <a:gd name="T37" fmla="*/ 47 h 511"/>
                    <a:gd name="T38" fmla="*/ 174 w 567"/>
                    <a:gd name="T39" fmla="*/ 12 h 511"/>
                    <a:gd name="T40" fmla="*/ 135 w 567"/>
                    <a:gd name="T41" fmla="*/ 1 h 511"/>
                    <a:gd name="T42" fmla="*/ 88 w 567"/>
                    <a:gd name="T43" fmla="*/ 7 h 511"/>
                    <a:gd name="T44" fmla="*/ 68 w 567"/>
                    <a:gd name="T45" fmla="*/ 50 h 511"/>
                    <a:gd name="T46" fmla="*/ 48 w 567"/>
                    <a:gd name="T47" fmla="*/ 110 h 511"/>
                    <a:gd name="T48" fmla="*/ 54 w 567"/>
                    <a:gd name="T49" fmla="*/ 155 h 511"/>
                    <a:gd name="T50" fmla="*/ 57 w 567"/>
                    <a:gd name="T51" fmla="*/ 174 h 511"/>
                    <a:gd name="T52" fmla="*/ 42 w 567"/>
                    <a:gd name="T53" fmla="*/ 211 h 511"/>
                    <a:gd name="T54" fmla="*/ 21 w 567"/>
                    <a:gd name="T55" fmla="*/ 256 h 511"/>
                    <a:gd name="T56" fmla="*/ 3 w 567"/>
                    <a:gd name="T57" fmla="*/ 285 h 511"/>
                    <a:gd name="T58" fmla="*/ 3 w 567"/>
                    <a:gd name="T59" fmla="*/ 326 h 511"/>
                    <a:gd name="T60" fmla="*/ 0 w 567"/>
                    <a:gd name="T61" fmla="*/ 402 h 511"/>
                    <a:gd name="T62" fmla="*/ 44 w 567"/>
                    <a:gd name="T63" fmla="*/ 394 h 511"/>
                    <a:gd name="T64" fmla="*/ 96 w 567"/>
                    <a:gd name="T65" fmla="*/ 413 h 511"/>
                    <a:gd name="T66" fmla="*/ 127 w 567"/>
                    <a:gd name="T67" fmla="*/ 440 h 511"/>
                    <a:gd name="T68" fmla="*/ 133 w 567"/>
                    <a:gd name="T69" fmla="*/ 453 h 511"/>
                    <a:gd name="T70" fmla="*/ 157 w 567"/>
                    <a:gd name="T71" fmla="*/ 510 h 511"/>
                    <a:gd name="T72" fmla="*/ 194 w 567"/>
                    <a:gd name="T73" fmla="*/ 491 h 511"/>
                    <a:gd name="T74" fmla="*/ 228 w 567"/>
                    <a:gd name="T75" fmla="*/ 496 h 511"/>
                    <a:gd name="T76" fmla="*/ 265 w 567"/>
                    <a:gd name="T77" fmla="*/ 504 h 511"/>
                    <a:gd name="T78" fmla="*/ 282 w 567"/>
                    <a:gd name="T79" fmla="*/ 487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67" h="511">
                      <a:moveTo>
                        <a:pt x="281" y="490"/>
                      </a:moveTo>
                      <a:cubicBezTo>
                        <a:pt x="281" y="490"/>
                        <a:pt x="288" y="475"/>
                        <a:pt x="290" y="469"/>
                      </a:cubicBezTo>
                      <a:cubicBezTo>
                        <a:pt x="292" y="463"/>
                        <a:pt x="290" y="431"/>
                        <a:pt x="290" y="431"/>
                      </a:cubicBezTo>
                      <a:cubicBezTo>
                        <a:pt x="333" y="394"/>
                        <a:pt x="333" y="394"/>
                        <a:pt x="333" y="394"/>
                      </a:cubicBezTo>
                      <a:cubicBezTo>
                        <a:pt x="333" y="394"/>
                        <a:pt x="343" y="374"/>
                        <a:pt x="349" y="369"/>
                      </a:cubicBezTo>
                      <a:cubicBezTo>
                        <a:pt x="355" y="364"/>
                        <a:pt x="363" y="377"/>
                        <a:pt x="372" y="375"/>
                      </a:cubicBezTo>
                      <a:cubicBezTo>
                        <a:pt x="381" y="373"/>
                        <a:pt x="368" y="359"/>
                        <a:pt x="375" y="359"/>
                      </a:cubicBezTo>
                      <a:cubicBezTo>
                        <a:pt x="382" y="359"/>
                        <a:pt x="396" y="383"/>
                        <a:pt x="396" y="383"/>
                      </a:cubicBezTo>
                      <a:cubicBezTo>
                        <a:pt x="396" y="383"/>
                        <a:pt x="393" y="399"/>
                        <a:pt x="405" y="399"/>
                      </a:cubicBezTo>
                      <a:cubicBezTo>
                        <a:pt x="417" y="399"/>
                        <a:pt x="417" y="378"/>
                        <a:pt x="417" y="378"/>
                      </a:cubicBezTo>
                      <a:cubicBezTo>
                        <a:pt x="417" y="378"/>
                        <a:pt x="428" y="369"/>
                        <a:pt x="433" y="363"/>
                      </a:cubicBezTo>
                      <a:cubicBezTo>
                        <a:pt x="438" y="357"/>
                        <a:pt x="434" y="343"/>
                        <a:pt x="434" y="343"/>
                      </a:cubicBezTo>
                      <a:cubicBezTo>
                        <a:pt x="450" y="323"/>
                        <a:pt x="450" y="323"/>
                        <a:pt x="450" y="323"/>
                      </a:cubicBezTo>
                      <a:cubicBezTo>
                        <a:pt x="458" y="291"/>
                        <a:pt x="458" y="291"/>
                        <a:pt x="458" y="291"/>
                      </a:cubicBezTo>
                      <a:cubicBezTo>
                        <a:pt x="458" y="291"/>
                        <a:pt x="477" y="284"/>
                        <a:pt x="482" y="274"/>
                      </a:cubicBezTo>
                      <a:cubicBezTo>
                        <a:pt x="487" y="264"/>
                        <a:pt x="482" y="246"/>
                        <a:pt x="484" y="239"/>
                      </a:cubicBezTo>
                      <a:cubicBezTo>
                        <a:pt x="486" y="232"/>
                        <a:pt x="496" y="239"/>
                        <a:pt x="501" y="230"/>
                      </a:cubicBezTo>
                      <a:cubicBezTo>
                        <a:pt x="506" y="221"/>
                        <a:pt x="504" y="200"/>
                        <a:pt x="504" y="200"/>
                      </a:cubicBezTo>
                      <a:cubicBezTo>
                        <a:pt x="511" y="196"/>
                        <a:pt x="511" y="196"/>
                        <a:pt x="511" y="196"/>
                      </a:cubicBezTo>
                      <a:cubicBezTo>
                        <a:pt x="513" y="177"/>
                        <a:pt x="513" y="177"/>
                        <a:pt x="513" y="177"/>
                      </a:cubicBezTo>
                      <a:cubicBezTo>
                        <a:pt x="513" y="177"/>
                        <a:pt x="523" y="164"/>
                        <a:pt x="524" y="161"/>
                      </a:cubicBezTo>
                      <a:cubicBezTo>
                        <a:pt x="525" y="158"/>
                        <a:pt x="533" y="141"/>
                        <a:pt x="533" y="141"/>
                      </a:cubicBezTo>
                      <a:cubicBezTo>
                        <a:pt x="533" y="141"/>
                        <a:pt x="547" y="138"/>
                        <a:pt x="557" y="129"/>
                      </a:cubicBezTo>
                      <a:cubicBezTo>
                        <a:pt x="567" y="120"/>
                        <a:pt x="559" y="111"/>
                        <a:pt x="559" y="111"/>
                      </a:cubicBezTo>
                      <a:cubicBezTo>
                        <a:pt x="559" y="111"/>
                        <a:pt x="563" y="98"/>
                        <a:pt x="562" y="87"/>
                      </a:cubicBezTo>
                      <a:cubicBezTo>
                        <a:pt x="561" y="76"/>
                        <a:pt x="542" y="87"/>
                        <a:pt x="540" y="84"/>
                      </a:cubicBezTo>
                      <a:cubicBezTo>
                        <a:pt x="538" y="81"/>
                        <a:pt x="536" y="40"/>
                        <a:pt x="536" y="40"/>
                      </a:cubicBezTo>
                      <a:cubicBezTo>
                        <a:pt x="517" y="8"/>
                        <a:pt x="517" y="8"/>
                        <a:pt x="517" y="8"/>
                      </a:cubicBezTo>
                      <a:cubicBezTo>
                        <a:pt x="517" y="8"/>
                        <a:pt x="511" y="8"/>
                        <a:pt x="507" y="8"/>
                      </a:cubicBezTo>
                      <a:cubicBezTo>
                        <a:pt x="503" y="8"/>
                        <a:pt x="499" y="22"/>
                        <a:pt x="499" y="22"/>
                      </a:cubicBezTo>
                      <a:cubicBezTo>
                        <a:pt x="499" y="22"/>
                        <a:pt x="490" y="19"/>
                        <a:pt x="483" y="23"/>
                      </a:cubicBezTo>
                      <a:cubicBezTo>
                        <a:pt x="476" y="27"/>
                        <a:pt x="458" y="40"/>
                        <a:pt x="458" y="40"/>
                      </a:cubicBezTo>
                      <a:cubicBezTo>
                        <a:pt x="440" y="39"/>
                        <a:pt x="440" y="39"/>
                        <a:pt x="440" y="39"/>
                      </a:cubicBezTo>
                      <a:cubicBezTo>
                        <a:pt x="440" y="39"/>
                        <a:pt x="424" y="25"/>
                        <a:pt x="382" y="25"/>
                      </a:cubicBezTo>
                      <a:cubicBezTo>
                        <a:pt x="340" y="25"/>
                        <a:pt x="328" y="60"/>
                        <a:pt x="328" y="60"/>
                      </a:cubicBezTo>
                      <a:cubicBezTo>
                        <a:pt x="328" y="60"/>
                        <a:pt x="312" y="56"/>
                        <a:pt x="293" y="55"/>
                      </a:cubicBezTo>
                      <a:cubicBezTo>
                        <a:pt x="274" y="54"/>
                        <a:pt x="262" y="26"/>
                        <a:pt x="250" y="26"/>
                      </a:cubicBezTo>
                      <a:cubicBezTo>
                        <a:pt x="238" y="26"/>
                        <a:pt x="214" y="46"/>
                        <a:pt x="205" y="47"/>
                      </a:cubicBezTo>
                      <a:cubicBezTo>
                        <a:pt x="196" y="48"/>
                        <a:pt x="191" y="26"/>
                        <a:pt x="191" y="26"/>
                      </a:cubicBezTo>
                      <a:cubicBezTo>
                        <a:pt x="174" y="12"/>
                        <a:pt x="174" y="12"/>
                        <a:pt x="174" y="12"/>
                      </a:cubicBezTo>
                      <a:cubicBezTo>
                        <a:pt x="174" y="12"/>
                        <a:pt x="162" y="12"/>
                        <a:pt x="155" y="11"/>
                      </a:cubicBezTo>
                      <a:cubicBezTo>
                        <a:pt x="148" y="10"/>
                        <a:pt x="149" y="0"/>
                        <a:pt x="135" y="1"/>
                      </a:cubicBezTo>
                      <a:cubicBezTo>
                        <a:pt x="121" y="2"/>
                        <a:pt x="122" y="8"/>
                        <a:pt x="122" y="8"/>
                      </a:cubicBezTo>
                      <a:cubicBezTo>
                        <a:pt x="88" y="7"/>
                        <a:pt x="88" y="7"/>
                        <a:pt x="88" y="7"/>
                      </a:cubicBezTo>
                      <a:cubicBezTo>
                        <a:pt x="69" y="24"/>
                        <a:pt x="69" y="24"/>
                        <a:pt x="69" y="24"/>
                      </a:cubicBezTo>
                      <a:cubicBezTo>
                        <a:pt x="69" y="24"/>
                        <a:pt x="69" y="35"/>
                        <a:pt x="68" y="50"/>
                      </a:cubicBezTo>
                      <a:cubicBezTo>
                        <a:pt x="67" y="65"/>
                        <a:pt x="45" y="76"/>
                        <a:pt x="45" y="76"/>
                      </a:cubicBezTo>
                      <a:cubicBezTo>
                        <a:pt x="48" y="110"/>
                        <a:pt x="48" y="110"/>
                        <a:pt x="48" y="110"/>
                      </a:cubicBezTo>
                      <a:cubicBezTo>
                        <a:pt x="48" y="110"/>
                        <a:pt x="41" y="123"/>
                        <a:pt x="40" y="130"/>
                      </a:cubicBezTo>
                      <a:cubicBezTo>
                        <a:pt x="39" y="137"/>
                        <a:pt x="54" y="149"/>
                        <a:pt x="54" y="155"/>
                      </a:cubicBezTo>
                      <a:cubicBezTo>
                        <a:pt x="54" y="161"/>
                        <a:pt x="53" y="164"/>
                        <a:pt x="53" y="164"/>
                      </a:cubicBezTo>
                      <a:cubicBezTo>
                        <a:pt x="53" y="164"/>
                        <a:pt x="59" y="167"/>
                        <a:pt x="57" y="174"/>
                      </a:cubicBezTo>
                      <a:cubicBezTo>
                        <a:pt x="55" y="181"/>
                        <a:pt x="44" y="184"/>
                        <a:pt x="44" y="184"/>
                      </a:cubicBez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42" y="211"/>
                        <a:pt x="30" y="220"/>
                        <a:pt x="27" y="227"/>
                      </a:cubicBezTo>
                      <a:cubicBezTo>
                        <a:pt x="24" y="234"/>
                        <a:pt x="29" y="246"/>
                        <a:pt x="21" y="256"/>
                      </a:cubicBezTo>
                      <a:cubicBezTo>
                        <a:pt x="13" y="266"/>
                        <a:pt x="5" y="262"/>
                        <a:pt x="5" y="262"/>
                      </a:cubicBezTo>
                      <a:cubicBezTo>
                        <a:pt x="3" y="285"/>
                        <a:pt x="3" y="285"/>
                        <a:pt x="3" y="285"/>
                      </a:cubicBezTo>
                      <a:cubicBezTo>
                        <a:pt x="6" y="307"/>
                        <a:pt x="6" y="307"/>
                        <a:pt x="6" y="307"/>
                      </a:cubicBezTo>
                      <a:cubicBezTo>
                        <a:pt x="3" y="326"/>
                        <a:pt x="3" y="326"/>
                        <a:pt x="3" y="326"/>
                      </a:cubicBezTo>
                      <a:cubicBezTo>
                        <a:pt x="4" y="385"/>
                        <a:pt x="4" y="385"/>
                        <a:pt x="4" y="385"/>
                      </a:cubicBezTo>
                      <a:cubicBezTo>
                        <a:pt x="0" y="402"/>
                        <a:pt x="0" y="402"/>
                        <a:pt x="0" y="402"/>
                      </a:cubicBezTo>
                      <a:cubicBezTo>
                        <a:pt x="7" y="405"/>
                        <a:pt x="17" y="408"/>
                        <a:pt x="23" y="406"/>
                      </a:cubicBezTo>
                      <a:cubicBezTo>
                        <a:pt x="34" y="402"/>
                        <a:pt x="44" y="394"/>
                        <a:pt x="44" y="394"/>
                      </a:cubicBezTo>
                      <a:cubicBezTo>
                        <a:pt x="47" y="401"/>
                        <a:pt x="47" y="401"/>
                        <a:pt x="47" y="401"/>
                      </a:cubicBezTo>
                      <a:cubicBezTo>
                        <a:pt x="47" y="401"/>
                        <a:pt x="80" y="394"/>
                        <a:pt x="96" y="413"/>
                      </a:cubicBezTo>
                      <a:cubicBezTo>
                        <a:pt x="112" y="432"/>
                        <a:pt x="113" y="441"/>
                        <a:pt x="113" y="441"/>
                      </a:cubicBezTo>
                      <a:cubicBezTo>
                        <a:pt x="127" y="440"/>
                        <a:pt x="127" y="440"/>
                        <a:pt x="127" y="440"/>
                      </a:cubicBezTo>
                      <a:cubicBezTo>
                        <a:pt x="127" y="440"/>
                        <a:pt x="117" y="455"/>
                        <a:pt x="120" y="456"/>
                      </a:cubicBezTo>
                      <a:cubicBezTo>
                        <a:pt x="123" y="457"/>
                        <a:pt x="133" y="450"/>
                        <a:pt x="133" y="453"/>
                      </a:cubicBezTo>
                      <a:cubicBezTo>
                        <a:pt x="133" y="456"/>
                        <a:pt x="128" y="464"/>
                        <a:pt x="128" y="472"/>
                      </a:cubicBezTo>
                      <a:cubicBezTo>
                        <a:pt x="128" y="480"/>
                        <a:pt x="136" y="509"/>
                        <a:pt x="157" y="510"/>
                      </a:cubicBezTo>
                      <a:cubicBezTo>
                        <a:pt x="178" y="511"/>
                        <a:pt x="191" y="509"/>
                        <a:pt x="191" y="509"/>
                      </a:cubicBezTo>
                      <a:cubicBezTo>
                        <a:pt x="194" y="491"/>
                        <a:pt x="194" y="491"/>
                        <a:pt x="194" y="491"/>
                      </a:cubicBezTo>
                      <a:cubicBezTo>
                        <a:pt x="212" y="501"/>
                        <a:pt x="212" y="501"/>
                        <a:pt x="212" y="501"/>
                      </a:cubicBezTo>
                      <a:cubicBezTo>
                        <a:pt x="228" y="496"/>
                        <a:pt x="228" y="496"/>
                        <a:pt x="228" y="496"/>
                      </a:cubicBezTo>
                      <a:cubicBezTo>
                        <a:pt x="237" y="505"/>
                        <a:pt x="237" y="505"/>
                        <a:pt x="237" y="505"/>
                      </a:cubicBezTo>
                      <a:cubicBezTo>
                        <a:pt x="265" y="504"/>
                        <a:pt x="265" y="504"/>
                        <a:pt x="265" y="504"/>
                      </a:cubicBezTo>
                      <a:cubicBezTo>
                        <a:pt x="265" y="488"/>
                        <a:pt x="265" y="488"/>
                        <a:pt x="265" y="488"/>
                      </a:cubicBezTo>
                      <a:cubicBezTo>
                        <a:pt x="282" y="487"/>
                        <a:pt x="282" y="487"/>
                        <a:pt x="282" y="487"/>
                      </a:cubicBezTo>
                      <a:cubicBezTo>
                        <a:pt x="281" y="490"/>
                        <a:pt x="281" y="490"/>
                        <a:pt x="281" y="49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4" name="Niger">
                  <a:extLst>
                    <a:ext uri="{FF2B5EF4-FFF2-40B4-BE49-F238E27FC236}">
                      <a16:creationId xmlns:a16="http://schemas.microsoft.com/office/drawing/2014/main" id="{1EB4A11E-8CA1-F16E-4BE4-144FA5A8162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782933" y="2380160"/>
                  <a:ext cx="1227815" cy="834757"/>
                </a:xfrm>
                <a:custGeom>
                  <a:avLst/>
                  <a:gdLst>
                    <a:gd name="T0" fmla="*/ 36 w 741"/>
                    <a:gd name="T1" fmla="*/ 540 h 628"/>
                    <a:gd name="T2" fmla="*/ 34 w 741"/>
                    <a:gd name="T3" fmla="*/ 557 h 628"/>
                    <a:gd name="T4" fmla="*/ 88 w 741"/>
                    <a:gd name="T5" fmla="*/ 579 h 628"/>
                    <a:gd name="T6" fmla="*/ 84 w 741"/>
                    <a:gd name="T7" fmla="*/ 598 h 628"/>
                    <a:gd name="T8" fmla="*/ 102 w 741"/>
                    <a:gd name="T9" fmla="*/ 604 h 628"/>
                    <a:gd name="T10" fmla="*/ 141 w 741"/>
                    <a:gd name="T11" fmla="*/ 619 h 628"/>
                    <a:gd name="T12" fmla="*/ 159 w 741"/>
                    <a:gd name="T13" fmla="*/ 594 h 628"/>
                    <a:gd name="T14" fmla="*/ 183 w 741"/>
                    <a:gd name="T15" fmla="*/ 542 h 628"/>
                    <a:gd name="T16" fmla="*/ 236 w 741"/>
                    <a:gd name="T17" fmla="*/ 526 h 628"/>
                    <a:gd name="T18" fmla="*/ 269 w 741"/>
                    <a:gd name="T19" fmla="*/ 529 h 628"/>
                    <a:gd name="T20" fmla="*/ 305 w 741"/>
                    <a:gd name="T21" fmla="*/ 544 h 628"/>
                    <a:gd name="T22" fmla="*/ 364 w 741"/>
                    <a:gd name="T23" fmla="*/ 544 h 628"/>
                    <a:gd name="T24" fmla="*/ 442 w 741"/>
                    <a:gd name="T25" fmla="*/ 578 h 628"/>
                    <a:gd name="T26" fmla="*/ 554 w 741"/>
                    <a:gd name="T27" fmla="*/ 557 h 628"/>
                    <a:gd name="T28" fmla="*/ 597 w 741"/>
                    <a:gd name="T29" fmla="*/ 541 h 628"/>
                    <a:gd name="T30" fmla="*/ 621 w 741"/>
                    <a:gd name="T31" fmla="*/ 526 h 628"/>
                    <a:gd name="T32" fmla="*/ 621 w 741"/>
                    <a:gd name="T33" fmla="*/ 484 h 628"/>
                    <a:gd name="T34" fmla="*/ 656 w 741"/>
                    <a:gd name="T35" fmla="*/ 426 h 628"/>
                    <a:gd name="T36" fmla="*/ 727 w 741"/>
                    <a:gd name="T37" fmla="*/ 194 h 628"/>
                    <a:gd name="T38" fmla="*/ 721 w 741"/>
                    <a:gd name="T39" fmla="*/ 145 h 628"/>
                    <a:gd name="T40" fmla="*/ 697 w 741"/>
                    <a:gd name="T41" fmla="*/ 105 h 628"/>
                    <a:gd name="T42" fmla="*/ 692 w 741"/>
                    <a:gd name="T43" fmla="*/ 28 h 628"/>
                    <a:gd name="T44" fmla="*/ 623 w 741"/>
                    <a:gd name="T45" fmla="*/ 16 h 628"/>
                    <a:gd name="T46" fmla="*/ 551 w 741"/>
                    <a:gd name="T47" fmla="*/ 0 h 628"/>
                    <a:gd name="T48" fmla="*/ 261 w 741"/>
                    <a:gd name="T49" fmla="*/ 221 h 628"/>
                    <a:gd name="T50" fmla="*/ 190 w 741"/>
                    <a:gd name="T51" fmla="*/ 372 h 628"/>
                    <a:gd name="T52" fmla="*/ 160 w 741"/>
                    <a:gd name="T53" fmla="*/ 427 h 628"/>
                    <a:gd name="T54" fmla="*/ 124 w 741"/>
                    <a:gd name="T55" fmla="*/ 437 h 628"/>
                    <a:gd name="T56" fmla="*/ 92 w 741"/>
                    <a:gd name="T57" fmla="*/ 444 h 628"/>
                    <a:gd name="T58" fmla="*/ 32 w 741"/>
                    <a:gd name="T59" fmla="*/ 455 h 628"/>
                    <a:gd name="T60" fmla="*/ 1 w 741"/>
                    <a:gd name="T61" fmla="*/ 485 h 628"/>
                    <a:gd name="T62" fmla="*/ 13 w 741"/>
                    <a:gd name="T63" fmla="*/ 525 h 6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41" h="628">
                      <a:moveTo>
                        <a:pt x="35" y="531"/>
                      </a:moveTo>
                      <a:cubicBezTo>
                        <a:pt x="36" y="540"/>
                        <a:pt x="36" y="540"/>
                        <a:pt x="36" y="540"/>
                      </a:cubicBezTo>
                      <a:cubicBezTo>
                        <a:pt x="46" y="541"/>
                        <a:pt x="46" y="541"/>
                        <a:pt x="46" y="541"/>
                      </a:cubicBezTo>
                      <a:cubicBezTo>
                        <a:pt x="46" y="541"/>
                        <a:pt x="31" y="552"/>
                        <a:pt x="34" y="557"/>
                      </a:cubicBezTo>
                      <a:cubicBezTo>
                        <a:pt x="37" y="562"/>
                        <a:pt x="56" y="584"/>
                        <a:pt x="68" y="584"/>
                      </a:cubicBezTo>
                      <a:cubicBezTo>
                        <a:pt x="80" y="584"/>
                        <a:pt x="79" y="575"/>
                        <a:pt x="88" y="579"/>
                      </a:cubicBezTo>
                      <a:cubicBezTo>
                        <a:pt x="97" y="583"/>
                        <a:pt x="99" y="593"/>
                        <a:pt x="99" y="593"/>
                      </a:cubicBezTo>
                      <a:cubicBezTo>
                        <a:pt x="84" y="598"/>
                        <a:pt x="84" y="598"/>
                        <a:pt x="84" y="598"/>
                      </a:cubicBezTo>
                      <a:cubicBezTo>
                        <a:pt x="99" y="620"/>
                        <a:pt x="99" y="620"/>
                        <a:pt x="99" y="620"/>
                      </a:cubicBezTo>
                      <a:cubicBezTo>
                        <a:pt x="102" y="604"/>
                        <a:pt x="102" y="604"/>
                        <a:pt x="102" y="604"/>
                      </a:cubicBezTo>
                      <a:cubicBezTo>
                        <a:pt x="119" y="597"/>
                        <a:pt x="119" y="597"/>
                        <a:pt x="119" y="597"/>
                      </a:cubicBezTo>
                      <a:cubicBezTo>
                        <a:pt x="119" y="597"/>
                        <a:pt x="136" y="616"/>
                        <a:pt x="141" y="619"/>
                      </a:cubicBezTo>
                      <a:cubicBezTo>
                        <a:pt x="146" y="622"/>
                        <a:pt x="162" y="628"/>
                        <a:pt x="162" y="628"/>
                      </a:cubicBezTo>
                      <a:cubicBezTo>
                        <a:pt x="159" y="594"/>
                        <a:pt x="159" y="594"/>
                        <a:pt x="159" y="594"/>
                      </a:cubicBezTo>
                      <a:cubicBezTo>
                        <a:pt x="159" y="594"/>
                        <a:pt x="181" y="583"/>
                        <a:pt x="182" y="568"/>
                      </a:cubicBezTo>
                      <a:cubicBezTo>
                        <a:pt x="183" y="553"/>
                        <a:pt x="183" y="542"/>
                        <a:pt x="183" y="542"/>
                      </a:cubicBezTo>
                      <a:cubicBezTo>
                        <a:pt x="202" y="525"/>
                        <a:pt x="202" y="525"/>
                        <a:pt x="202" y="525"/>
                      </a:cubicBezTo>
                      <a:cubicBezTo>
                        <a:pt x="236" y="526"/>
                        <a:pt x="236" y="526"/>
                        <a:pt x="236" y="526"/>
                      </a:cubicBezTo>
                      <a:cubicBezTo>
                        <a:pt x="236" y="526"/>
                        <a:pt x="235" y="520"/>
                        <a:pt x="249" y="519"/>
                      </a:cubicBezTo>
                      <a:cubicBezTo>
                        <a:pt x="263" y="518"/>
                        <a:pt x="262" y="528"/>
                        <a:pt x="269" y="529"/>
                      </a:cubicBezTo>
                      <a:cubicBezTo>
                        <a:pt x="276" y="530"/>
                        <a:pt x="288" y="530"/>
                        <a:pt x="288" y="530"/>
                      </a:cubicBezTo>
                      <a:cubicBezTo>
                        <a:pt x="305" y="544"/>
                        <a:pt x="305" y="544"/>
                        <a:pt x="305" y="544"/>
                      </a:cubicBezTo>
                      <a:cubicBezTo>
                        <a:pt x="305" y="544"/>
                        <a:pt x="310" y="566"/>
                        <a:pt x="319" y="565"/>
                      </a:cubicBezTo>
                      <a:cubicBezTo>
                        <a:pt x="328" y="564"/>
                        <a:pt x="352" y="544"/>
                        <a:pt x="364" y="544"/>
                      </a:cubicBezTo>
                      <a:cubicBezTo>
                        <a:pt x="376" y="544"/>
                        <a:pt x="388" y="572"/>
                        <a:pt x="407" y="573"/>
                      </a:cubicBezTo>
                      <a:cubicBezTo>
                        <a:pt x="426" y="574"/>
                        <a:pt x="442" y="578"/>
                        <a:pt x="442" y="578"/>
                      </a:cubicBezTo>
                      <a:cubicBezTo>
                        <a:pt x="442" y="578"/>
                        <a:pt x="454" y="543"/>
                        <a:pt x="496" y="543"/>
                      </a:cubicBezTo>
                      <a:cubicBezTo>
                        <a:pt x="538" y="543"/>
                        <a:pt x="554" y="557"/>
                        <a:pt x="554" y="557"/>
                      </a:cubicBezTo>
                      <a:cubicBezTo>
                        <a:pt x="572" y="558"/>
                        <a:pt x="572" y="558"/>
                        <a:pt x="572" y="558"/>
                      </a:cubicBezTo>
                      <a:cubicBezTo>
                        <a:pt x="572" y="558"/>
                        <a:pt x="590" y="545"/>
                        <a:pt x="597" y="541"/>
                      </a:cubicBezTo>
                      <a:cubicBezTo>
                        <a:pt x="604" y="537"/>
                        <a:pt x="613" y="540"/>
                        <a:pt x="613" y="540"/>
                      </a:cubicBezTo>
                      <a:cubicBezTo>
                        <a:pt x="613" y="540"/>
                        <a:pt x="617" y="526"/>
                        <a:pt x="621" y="526"/>
                      </a:cubicBezTo>
                      <a:cubicBezTo>
                        <a:pt x="622" y="526"/>
                        <a:pt x="623" y="526"/>
                        <a:pt x="624" y="526"/>
                      </a:cubicBezTo>
                      <a:cubicBezTo>
                        <a:pt x="621" y="484"/>
                        <a:pt x="621" y="484"/>
                        <a:pt x="621" y="484"/>
                      </a:cubicBezTo>
                      <a:cubicBezTo>
                        <a:pt x="634" y="479"/>
                        <a:pt x="634" y="479"/>
                        <a:pt x="634" y="479"/>
                      </a:cubicBezTo>
                      <a:cubicBezTo>
                        <a:pt x="634" y="479"/>
                        <a:pt x="644" y="442"/>
                        <a:pt x="656" y="426"/>
                      </a:cubicBezTo>
                      <a:cubicBezTo>
                        <a:pt x="667" y="409"/>
                        <a:pt x="717" y="356"/>
                        <a:pt x="717" y="356"/>
                      </a:cubicBezTo>
                      <a:cubicBezTo>
                        <a:pt x="727" y="194"/>
                        <a:pt x="727" y="194"/>
                        <a:pt x="727" y="194"/>
                      </a:cubicBezTo>
                      <a:cubicBezTo>
                        <a:pt x="741" y="169"/>
                        <a:pt x="741" y="169"/>
                        <a:pt x="741" y="169"/>
                      </a:cubicBezTo>
                      <a:cubicBezTo>
                        <a:pt x="721" y="145"/>
                        <a:pt x="721" y="145"/>
                        <a:pt x="721" y="145"/>
                      </a:cubicBezTo>
                      <a:cubicBezTo>
                        <a:pt x="716" y="129"/>
                        <a:pt x="716" y="129"/>
                        <a:pt x="716" y="129"/>
                      </a:cubicBezTo>
                      <a:cubicBezTo>
                        <a:pt x="697" y="105"/>
                        <a:pt x="697" y="105"/>
                        <a:pt x="697" y="105"/>
                      </a:cubicBezTo>
                      <a:cubicBezTo>
                        <a:pt x="704" y="72"/>
                        <a:pt x="704" y="72"/>
                        <a:pt x="704" y="72"/>
                      </a:cubicBezTo>
                      <a:cubicBezTo>
                        <a:pt x="692" y="28"/>
                        <a:pt x="692" y="28"/>
                        <a:pt x="692" y="28"/>
                      </a:cubicBezTo>
                      <a:cubicBezTo>
                        <a:pt x="676" y="37"/>
                        <a:pt x="662" y="44"/>
                        <a:pt x="657" y="45"/>
                      </a:cubicBezTo>
                      <a:cubicBezTo>
                        <a:pt x="646" y="46"/>
                        <a:pt x="630" y="18"/>
                        <a:pt x="623" y="16"/>
                      </a:cubicBezTo>
                      <a:cubicBezTo>
                        <a:pt x="616" y="14"/>
                        <a:pt x="576" y="6"/>
                        <a:pt x="576" y="6"/>
                      </a:cubicBezTo>
                      <a:cubicBezTo>
                        <a:pt x="551" y="0"/>
                        <a:pt x="551" y="0"/>
                        <a:pt x="551" y="0"/>
                      </a:cubicBezTo>
                      <a:cubicBezTo>
                        <a:pt x="551" y="0"/>
                        <a:pt x="364" y="136"/>
                        <a:pt x="342" y="151"/>
                      </a:cubicBezTo>
                      <a:cubicBezTo>
                        <a:pt x="320" y="166"/>
                        <a:pt x="275" y="219"/>
                        <a:pt x="261" y="221"/>
                      </a:cubicBezTo>
                      <a:cubicBezTo>
                        <a:pt x="251" y="222"/>
                        <a:pt x="210" y="231"/>
                        <a:pt x="190" y="235"/>
                      </a:cubicBezTo>
                      <a:cubicBezTo>
                        <a:pt x="190" y="372"/>
                        <a:pt x="190" y="372"/>
                        <a:pt x="190" y="372"/>
                      </a:cubicBezTo>
                      <a:cubicBezTo>
                        <a:pt x="175" y="387"/>
                        <a:pt x="175" y="387"/>
                        <a:pt x="175" y="387"/>
                      </a:cubicBezTo>
                      <a:cubicBezTo>
                        <a:pt x="175" y="387"/>
                        <a:pt x="175" y="420"/>
                        <a:pt x="160" y="427"/>
                      </a:cubicBezTo>
                      <a:cubicBezTo>
                        <a:pt x="138" y="438"/>
                        <a:pt x="131" y="432"/>
                        <a:pt x="131" y="432"/>
                      </a:cubicBezTo>
                      <a:cubicBezTo>
                        <a:pt x="124" y="437"/>
                        <a:pt x="124" y="437"/>
                        <a:pt x="124" y="437"/>
                      </a:cubicBezTo>
                      <a:cubicBezTo>
                        <a:pt x="93" y="435"/>
                        <a:pt x="93" y="435"/>
                        <a:pt x="93" y="435"/>
                      </a:cubicBezTo>
                      <a:cubicBezTo>
                        <a:pt x="92" y="444"/>
                        <a:pt x="92" y="444"/>
                        <a:pt x="92" y="444"/>
                      </a:cubicBezTo>
                      <a:cubicBezTo>
                        <a:pt x="50" y="443"/>
                        <a:pt x="50" y="443"/>
                        <a:pt x="50" y="443"/>
                      </a:cubicBezTo>
                      <a:cubicBezTo>
                        <a:pt x="32" y="455"/>
                        <a:pt x="32" y="455"/>
                        <a:pt x="32" y="455"/>
                      </a:cubicBezTo>
                      <a:cubicBezTo>
                        <a:pt x="0" y="462"/>
                        <a:pt x="0" y="462"/>
                        <a:pt x="0" y="462"/>
                      </a:cubicBezTo>
                      <a:cubicBezTo>
                        <a:pt x="1" y="485"/>
                        <a:pt x="1" y="485"/>
                        <a:pt x="1" y="485"/>
                      </a:cubicBezTo>
                      <a:cubicBezTo>
                        <a:pt x="4" y="494"/>
                        <a:pt x="4" y="494"/>
                        <a:pt x="4" y="494"/>
                      </a:cubicBezTo>
                      <a:cubicBezTo>
                        <a:pt x="4" y="494"/>
                        <a:pt x="3" y="518"/>
                        <a:pt x="13" y="525"/>
                      </a:cubicBezTo>
                      <a:cubicBezTo>
                        <a:pt x="23" y="532"/>
                        <a:pt x="35" y="531"/>
                        <a:pt x="35" y="53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5" name="Namibia">
                  <a:extLst>
                    <a:ext uri="{FF2B5EF4-FFF2-40B4-BE49-F238E27FC236}">
                      <a16:creationId xmlns:a16="http://schemas.microsoft.com/office/drawing/2014/main" id="{F7880237-8EC2-A412-B976-A264ACA5C32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72037" y="5264212"/>
                  <a:ext cx="1053759" cy="857319"/>
                </a:xfrm>
                <a:custGeom>
                  <a:avLst/>
                  <a:gdLst>
                    <a:gd name="T0" fmla="*/ 257 w 635"/>
                    <a:gd name="T1" fmla="*/ 609 h 648"/>
                    <a:gd name="T2" fmla="*/ 281 w 635"/>
                    <a:gd name="T3" fmla="*/ 636 h 648"/>
                    <a:gd name="T4" fmla="*/ 304 w 635"/>
                    <a:gd name="T5" fmla="*/ 648 h 648"/>
                    <a:gd name="T6" fmla="*/ 330 w 635"/>
                    <a:gd name="T7" fmla="*/ 646 h 648"/>
                    <a:gd name="T8" fmla="*/ 345 w 635"/>
                    <a:gd name="T9" fmla="*/ 632 h 648"/>
                    <a:gd name="T10" fmla="*/ 358 w 635"/>
                    <a:gd name="T11" fmla="*/ 622 h 648"/>
                    <a:gd name="T12" fmla="*/ 384 w 635"/>
                    <a:gd name="T13" fmla="*/ 273 h 648"/>
                    <a:gd name="T14" fmla="*/ 431 w 635"/>
                    <a:gd name="T15" fmla="*/ 192 h 648"/>
                    <a:gd name="T16" fmla="*/ 435 w 635"/>
                    <a:gd name="T17" fmla="*/ 71 h 648"/>
                    <a:gd name="T18" fmla="*/ 541 w 635"/>
                    <a:gd name="T19" fmla="*/ 55 h 648"/>
                    <a:gd name="T20" fmla="*/ 554 w 635"/>
                    <a:gd name="T21" fmla="*/ 69 h 648"/>
                    <a:gd name="T22" fmla="*/ 577 w 635"/>
                    <a:gd name="T23" fmla="*/ 63 h 648"/>
                    <a:gd name="T24" fmla="*/ 601 w 635"/>
                    <a:gd name="T25" fmla="*/ 55 h 648"/>
                    <a:gd name="T26" fmla="*/ 635 w 635"/>
                    <a:gd name="T27" fmla="*/ 45 h 648"/>
                    <a:gd name="T28" fmla="*/ 602 w 635"/>
                    <a:gd name="T29" fmla="*/ 34 h 648"/>
                    <a:gd name="T30" fmla="*/ 576 w 635"/>
                    <a:gd name="T31" fmla="*/ 31 h 648"/>
                    <a:gd name="T32" fmla="*/ 548 w 635"/>
                    <a:gd name="T33" fmla="*/ 35 h 648"/>
                    <a:gd name="T34" fmla="*/ 414 w 635"/>
                    <a:gd name="T35" fmla="*/ 55 h 648"/>
                    <a:gd name="T36" fmla="*/ 362 w 635"/>
                    <a:gd name="T37" fmla="*/ 50 h 648"/>
                    <a:gd name="T38" fmla="*/ 335 w 635"/>
                    <a:gd name="T39" fmla="*/ 44 h 648"/>
                    <a:gd name="T40" fmla="*/ 116 w 635"/>
                    <a:gd name="T41" fmla="*/ 25 h 648"/>
                    <a:gd name="T42" fmla="*/ 58 w 635"/>
                    <a:gd name="T43" fmla="*/ 0 h 648"/>
                    <a:gd name="T44" fmla="*/ 28 w 635"/>
                    <a:gd name="T45" fmla="*/ 16 h 648"/>
                    <a:gd name="T46" fmla="*/ 10 w 635"/>
                    <a:gd name="T47" fmla="*/ 15 h 648"/>
                    <a:gd name="T48" fmla="*/ 4 w 635"/>
                    <a:gd name="T49" fmla="*/ 62 h 648"/>
                    <a:gd name="T50" fmla="*/ 65 w 635"/>
                    <a:gd name="T51" fmla="*/ 170 h 648"/>
                    <a:gd name="T52" fmla="*/ 102 w 635"/>
                    <a:gd name="T53" fmla="*/ 245 h 648"/>
                    <a:gd name="T54" fmla="*/ 131 w 635"/>
                    <a:gd name="T55" fmla="*/ 296 h 648"/>
                    <a:gd name="T56" fmla="*/ 146 w 635"/>
                    <a:gd name="T57" fmla="*/ 431 h 648"/>
                    <a:gd name="T58" fmla="*/ 149 w 635"/>
                    <a:gd name="T59" fmla="*/ 484 h 648"/>
                    <a:gd name="T60" fmla="*/ 159 w 635"/>
                    <a:gd name="T61" fmla="*/ 508 h 648"/>
                    <a:gd name="T62" fmla="*/ 168 w 635"/>
                    <a:gd name="T63" fmla="*/ 544 h 648"/>
                    <a:gd name="T64" fmla="*/ 190 w 635"/>
                    <a:gd name="T65" fmla="*/ 606 h 648"/>
                    <a:gd name="T66" fmla="*/ 216 w 635"/>
                    <a:gd name="T67" fmla="*/ 625 h 648"/>
                    <a:gd name="T68" fmla="*/ 243 w 635"/>
                    <a:gd name="T69" fmla="*/ 596 h 6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35" h="648">
                      <a:moveTo>
                        <a:pt x="243" y="596"/>
                      </a:moveTo>
                      <a:cubicBezTo>
                        <a:pt x="247" y="597"/>
                        <a:pt x="257" y="609"/>
                        <a:pt x="257" y="609"/>
                      </a:cubicBezTo>
                      <a:cubicBezTo>
                        <a:pt x="257" y="609"/>
                        <a:pt x="256" y="624"/>
                        <a:pt x="261" y="631"/>
                      </a:cubicBezTo>
                      <a:cubicBezTo>
                        <a:pt x="265" y="638"/>
                        <a:pt x="274" y="632"/>
                        <a:pt x="281" y="636"/>
                      </a:cubicBezTo>
                      <a:cubicBezTo>
                        <a:pt x="288" y="640"/>
                        <a:pt x="292" y="648"/>
                        <a:pt x="292" y="648"/>
                      </a:cubicBezTo>
                      <a:cubicBezTo>
                        <a:pt x="304" y="648"/>
                        <a:pt x="304" y="648"/>
                        <a:pt x="304" y="648"/>
                      </a:cubicBezTo>
                      <a:cubicBezTo>
                        <a:pt x="304" y="648"/>
                        <a:pt x="310" y="640"/>
                        <a:pt x="318" y="640"/>
                      </a:cubicBezTo>
                      <a:cubicBezTo>
                        <a:pt x="326" y="640"/>
                        <a:pt x="330" y="646"/>
                        <a:pt x="330" y="646"/>
                      </a:cubicBezTo>
                      <a:cubicBezTo>
                        <a:pt x="330" y="646"/>
                        <a:pt x="337" y="646"/>
                        <a:pt x="342" y="646"/>
                      </a:cubicBezTo>
                      <a:cubicBezTo>
                        <a:pt x="348" y="646"/>
                        <a:pt x="345" y="632"/>
                        <a:pt x="345" y="632"/>
                      </a:cubicBezTo>
                      <a:cubicBezTo>
                        <a:pt x="353" y="630"/>
                        <a:pt x="353" y="630"/>
                        <a:pt x="353" y="630"/>
                      </a:cubicBezTo>
                      <a:cubicBezTo>
                        <a:pt x="353" y="630"/>
                        <a:pt x="351" y="625"/>
                        <a:pt x="358" y="622"/>
                      </a:cubicBezTo>
                      <a:cubicBezTo>
                        <a:pt x="365" y="619"/>
                        <a:pt x="379" y="618"/>
                        <a:pt x="379" y="618"/>
                      </a:cubicBezTo>
                      <a:cubicBezTo>
                        <a:pt x="384" y="273"/>
                        <a:pt x="384" y="273"/>
                        <a:pt x="384" y="273"/>
                      </a:cubicBezTo>
                      <a:cubicBezTo>
                        <a:pt x="432" y="273"/>
                        <a:pt x="432" y="273"/>
                        <a:pt x="432" y="273"/>
                      </a:cubicBezTo>
                      <a:cubicBezTo>
                        <a:pt x="431" y="192"/>
                        <a:pt x="431" y="192"/>
                        <a:pt x="431" y="192"/>
                      </a:cubicBezTo>
                      <a:cubicBezTo>
                        <a:pt x="435" y="188"/>
                        <a:pt x="435" y="188"/>
                        <a:pt x="435" y="188"/>
                      </a:cubicBezTo>
                      <a:cubicBezTo>
                        <a:pt x="435" y="71"/>
                        <a:pt x="435" y="71"/>
                        <a:pt x="435" y="71"/>
                      </a:cubicBezTo>
                      <a:cubicBezTo>
                        <a:pt x="435" y="71"/>
                        <a:pt x="474" y="68"/>
                        <a:pt x="496" y="65"/>
                      </a:cubicBezTo>
                      <a:cubicBezTo>
                        <a:pt x="517" y="63"/>
                        <a:pt x="533" y="55"/>
                        <a:pt x="541" y="55"/>
                      </a:cubicBezTo>
                      <a:cubicBezTo>
                        <a:pt x="550" y="55"/>
                        <a:pt x="548" y="69"/>
                        <a:pt x="548" y="69"/>
                      </a:cubicBezTo>
                      <a:cubicBezTo>
                        <a:pt x="554" y="69"/>
                        <a:pt x="554" y="69"/>
                        <a:pt x="554" y="69"/>
                      </a:cubicBezTo>
                      <a:cubicBezTo>
                        <a:pt x="554" y="69"/>
                        <a:pt x="556" y="83"/>
                        <a:pt x="559" y="82"/>
                      </a:cubicBezTo>
                      <a:cubicBezTo>
                        <a:pt x="562" y="81"/>
                        <a:pt x="572" y="68"/>
                        <a:pt x="577" y="63"/>
                      </a:cubicBezTo>
                      <a:cubicBezTo>
                        <a:pt x="583" y="57"/>
                        <a:pt x="593" y="55"/>
                        <a:pt x="593" y="55"/>
                      </a:cubicBezTo>
                      <a:cubicBezTo>
                        <a:pt x="601" y="55"/>
                        <a:pt x="601" y="55"/>
                        <a:pt x="601" y="55"/>
                      </a:cubicBezTo>
                      <a:cubicBezTo>
                        <a:pt x="612" y="47"/>
                        <a:pt x="612" y="47"/>
                        <a:pt x="612" y="47"/>
                      </a:cubicBezTo>
                      <a:cubicBezTo>
                        <a:pt x="635" y="45"/>
                        <a:pt x="635" y="45"/>
                        <a:pt x="635" y="45"/>
                      </a:cubicBezTo>
                      <a:cubicBezTo>
                        <a:pt x="622" y="32"/>
                        <a:pt x="622" y="32"/>
                        <a:pt x="622" y="32"/>
                      </a:cubicBezTo>
                      <a:cubicBezTo>
                        <a:pt x="602" y="34"/>
                        <a:pt x="602" y="34"/>
                        <a:pt x="602" y="34"/>
                      </a:cubicBezTo>
                      <a:cubicBezTo>
                        <a:pt x="602" y="34"/>
                        <a:pt x="601" y="26"/>
                        <a:pt x="592" y="26"/>
                      </a:cubicBezTo>
                      <a:cubicBezTo>
                        <a:pt x="583" y="26"/>
                        <a:pt x="576" y="31"/>
                        <a:pt x="576" y="31"/>
                      </a:cubicBezTo>
                      <a:cubicBezTo>
                        <a:pt x="563" y="39"/>
                        <a:pt x="563" y="39"/>
                        <a:pt x="563" y="39"/>
                      </a:cubicBezTo>
                      <a:cubicBezTo>
                        <a:pt x="548" y="35"/>
                        <a:pt x="548" y="35"/>
                        <a:pt x="548" y="35"/>
                      </a:cubicBezTo>
                      <a:cubicBezTo>
                        <a:pt x="548" y="35"/>
                        <a:pt x="488" y="55"/>
                        <a:pt x="460" y="55"/>
                      </a:cubicBezTo>
                      <a:cubicBezTo>
                        <a:pt x="432" y="55"/>
                        <a:pt x="414" y="55"/>
                        <a:pt x="414" y="55"/>
                      </a:cubicBezTo>
                      <a:cubicBezTo>
                        <a:pt x="408" y="49"/>
                        <a:pt x="408" y="49"/>
                        <a:pt x="408" y="49"/>
                      </a:cubicBezTo>
                      <a:cubicBezTo>
                        <a:pt x="362" y="50"/>
                        <a:pt x="362" y="50"/>
                        <a:pt x="362" y="50"/>
                      </a:cubicBezTo>
                      <a:cubicBezTo>
                        <a:pt x="358" y="44"/>
                        <a:pt x="358" y="44"/>
                        <a:pt x="358" y="44"/>
                      </a:cubicBezTo>
                      <a:cubicBezTo>
                        <a:pt x="358" y="44"/>
                        <a:pt x="342" y="46"/>
                        <a:pt x="335" y="44"/>
                      </a:cubicBezTo>
                      <a:cubicBezTo>
                        <a:pt x="328" y="42"/>
                        <a:pt x="319" y="23"/>
                        <a:pt x="319" y="23"/>
                      </a:cubicBezTo>
                      <a:cubicBezTo>
                        <a:pt x="116" y="25"/>
                        <a:pt x="116" y="25"/>
                        <a:pt x="116" y="25"/>
                      </a:cubicBezTo>
                      <a:cubicBezTo>
                        <a:pt x="116" y="25"/>
                        <a:pt x="82" y="12"/>
                        <a:pt x="78" y="1"/>
                      </a:cubicBezTo>
                      <a:cubicBezTo>
                        <a:pt x="79" y="2"/>
                        <a:pt x="58" y="0"/>
                        <a:pt x="58" y="0"/>
                      </a:cubicBezTo>
                      <a:cubicBezTo>
                        <a:pt x="58" y="0"/>
                        <a:pt x="54" y="14"/>
                        <a:pt x="47" y="15"/>
                      </a:cubicBezTo>
                      <a:cubicBezTo>
                        <a:pt x="40" y="16"/>
                        <a:pt x="28" y="16"/>
                        <a:pt x="28" y="16"/>
                      </a:cubicBezTo>
                      <a:cubicBezTo>
                        <a:pt x="21" y="11"/>
                        <a:pt x="21" y="11"/>
                        <a:pt x="21" y="11"/>
                      </a:cubicBezTo>
                      <a:cubicBezTo>
                        <a:pt x="10" y="15"/>
                        <a:pt x="10" y="15"/>
                        <a:pt x="10" y="15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4" y="62"/>
                        <a:pt x="4" y="62"/>
                        <a:pt x="4" y="62"/>
                      </a:cubicBezTo>
                      <a:cubicBezTo>
                        <a:pt x="4" y="62"/>
                        <a:pt x="13" y="79"/>
                        <a:pt x="22" y="92"/>
                      </a:cubicBezTo>
                      <a:cubicBezTo>
                        <a:pt x="31" y="105"/>
                        <a:pt x="64" y="153"/>
                        <a:pt x="65" y="170"/>
                      </a:cubicBezTo>
                      <a:cubicBezTo>
                        <a:pt x="66" y="187"/>
                        <a:pt x="79" y="204"/>
                        <a:pt x="83" y="217"/>
                      </a:cubicBezTo>
                      <a:cubicBezTo>
                        <a:pt x="87" y="230"/>
                        <a:pt x="102" y="245"/>
                        <a:pt x="102" y="245"/>
                      </a:cubicBezTo>
                      <a:cubicBezTo>
                        <a:pt x="102" y="259"/>
                        <a:pt x="102" y="259"/>
                        <a:pt x="102" y="259"/>
                      </a:cubicBezTo>
                      <a:cubicBezTo>
                        <a:pt x="102" y="259"/>
                        <a:pt x="131" y="280"/>
                        <a:pt x="131" y="296"/>
                      </a:cubicBezTo>
                      <a:cubicBezTo>
                        <a:pt x="131" y="312"/>
                        <a:pt x="129" y="386"/>
                        <a:pt x="129" y="386"/>
                      </a:cubicBezTo>
                      <a:cubicBezTo>
                        <a:pt x="129" y="386"/>
                        <a:pt x="144" y="411"/>
                        <a:pt x="146" y="431"/>
                      </a:cubicBezTo>
                      <a:cubicBezTo>
                        <a:pt x="148" y="451"/>
                        <a:pt x="140" y="451"/>
                        <a:pt x="140" y="451"/>
                      </a:cubicBezTo>
                      <a:cubicBezTo>
                        <a:pt x="149" y="484"/>
                        <a:pt x="149" y="484"/>
                        <a:pt x="149" y="484"/>
                      </a:cubicBezTo>
                      <a:cubicBezTo>
                        <a:pt x="151" y="508"/>
                        <a:pt x="151" y="508"/>
                        <a:pt x="151" y="508"/>
                      </a:cubicBezTo>
                      <a:cubicBezTo>
                        <a:pt x="159" y="508"/>
                        <a:pt x="159" y="508"/>
                        <a:pt x="159" y="508"/>
                      </a:cubicBezTo>
                      <a:cubicBezTo>
                        <a:pt x="159" y="508"/>
                        <a:pt x="156" y="528"/>
                        <a:pt x="157" y="532"/>
                      </a:cubicBezTo>
                      <a:cubicBezTo>
                        <a:pt x="158" y="536"/>
                        <a:pt x="168" y="544"/>
                        <a:pt x="168" y="544"/>
                      </a:cubicBezTo>
                      <a:cubicBezTo>
                        <a:pt x="169" y="563"/>
                        <a:pt x="169" y="563"/>
                        <a:pt x="169" y="563"/>
                      </a:cubicBezTo>
                      <a:cubicBezTo>
                        <a:pt x="169" y="563"/>
                        <a:pt x="184" y="595"/>
                        <a:pt x="190" y="606"/>
                      </a:cubicBezTo>
                      <a:cubicBezTo>
                        <a:pt x="196" y="617"/>
                        <a:pt x="216" y="624"/>
                        <a:pt x="216" y="624"/>
                      </a:cubicBezTo>
                      <a:cubicBezTo>
                        <a:pt x="216" y="624"/>
                        <a:pt x="216" y="624"/>
                        <a:pt x="216" y="625"/>
                      </a:cubicBezTo>
                      <a:cubicBezTo>
                        <a:pt x="228" y="619"/>
                        <a:pt x="228" y="619"/>
                        <a:pt x="228" y="619"/>
                      </a:cubicBezTo>
                      <a:cubicBezTo>
                        <a:pt x="228" y="619"/>
                        <a:pt x="239" y="595"/>
                        <a:pt x="243" y="59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6" name="Mozambique">
                  <a:extLst>
                    <a:ext uri="{FF2B5EF4-FFF2-40B4-BE49-F238E27FC236}">
                      <a16:creationId xmlns:a16="http://schemas.microsoft.com/office/drawing/2014/main" id="{63CD739A-51BA-BFDC-7F3F-3C7C8C220C9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106842" y="4801706"/>
                  <a:ext cx="842061" cy="1180694"/>
                </a:xfrm>
                <a:custGeom>
                  <a:avLst/>
                  <a:gdLst>
                    <a:gd name="T0" fmla="*/ 507 w 508"/>
                    <a:gd name="T1" fmla="*/ 210 h 891"/>
                    <a:gd name="T2" fmla="*/ 499 w 508"/>
                    <a:gd name="T3" fmla="*/ 170 h 891"/>
                    <a:gd name="T4" fmla="*/ 502 w 508"/>
                    <a:gd name="T5" fmla="*/ 155 h 891"/>
                    <a:gd name="T6" fmla="*/ 503 w 508"/>
                    <a:gd name="T7" fmla="*/ 104 h 891"/>
                    <a:gd name="T8" fmla="*/ 505 w 508"/>
                    <a:gd name="T9" fmla="*/ 13 h 891"/>
                    <a:gd name="T10" fmla="*/ 497 w 508"/>
                    <a:gd name="T11" fmla="*/ 0 h 891"/>
                    <a:gd name="T12" fmla="*/ 425 w 508"/>
                    <a:gd name="T13" fmla="*/ 38 h 891"/>
                    <a:gd name="T14" fmla="*/ 393 w 508"/>
                    <a:gd name="T15" fmla="*/ 45 h 891"/>
                    <a:gd name="T16" fmla="*/ 354 w 508"/>
                    <a:gd name="T17" fmla="*/ 66 h 891"/>
                    <a:gd name="T18" fmla="*/ 325 w 508"/>
                    <a:gd name="T19" fmla="*/ 61 h 891"/>
                    <a:gd name="T20" fmla="*/ 279 w 508"/>
                    <a:gd name="T21" fmla="*/ 51 h 891"/>
                    <a:gd name="T22" fmla="*/ 237 w 508"/>
                    <a:gd name="T23" fmla="*/ 62 h 891"/>
                    <a:gd name="T24" fmla="*/ 224 w 508"/>
                    <a:gd name="T25" fmla="*/ 89 h 891"/>
                    <a:gd name="T26" fmla="*/ 228 w 508"/>
                    <a:gd name="T27" fmla="*/ 144 h 891"/>
                    <a:gd name="T28" fmla="*/ 235 w 508"/>
                    <a:gd name="T29" fmla="*/ 166 h 891"/>
                    <a:gd name="T30" fmla="*/ 281 w 508"/>
                    <a:gd name="T31" fmla="*/ 231 h 891"/>
                    <a:gd name="T32" fmla="*/ 268 w 508"/>
                    <a:gd name="T33" fmla="*/ 300 h 891"/>
                    <a:gd name="T34" fmla="*/ 246 w 508"/>
                    <a:gd name="T35" fmla="*/ 333 h 891"/>
                    <a:gd name="T36" fmla="*/ 234 w 508"/>
                    <a:gd name="T37" fmla="*/ 340 h 891"/>
                    <a:gd name="T38" fmla="*/ 202 w 508"/>
                    <a:gd name="T39" fmla="*/ 297 h 891"/>
                    <a:gd name="T40" fmla="*/ 208 w 508"/>
                    <a:gd name="T41" fmla="*/ 279 h 891"/>
                    <a:gd name="T42" fmla="*/ 210 w 508"/>
                    <a:gd name="T43" fmla="*/ 263 h 891"/>
                    <a:gd name="T44" fmla="*/ 208 w 508"/>
                    <a:gd name="T45" fmla="*/ 234 h 891"/>
                    <a:gd name="T46" fmla="*/ 189 w 508"/>
                    <a:gd name="T47" fmla="*/ 218 h 891"/>
                    <a:gd name="T48" fmla="*/ 148 w 508"/>
                    <a:gd name="T49" fmla="*/ 189 h 891"/>
                    <a:gd name="T50" fmla="*/ 43 w 508"/>
                    <a:gd name="T51" fmla="*/ 227 h 891"/>
                    <a:gd name="T52" fmla="*/ 5 w 508"/>
                    <a:gd name="T53" fmla="*/ 243 h 891"/>
                    <a:gd name="T54" fmla="*/ 17 w 508"/>
                    <a:gd name="T55" fmla="*/ 297 h 891"/>
                    <a:gd name="T56" fmla="*/ 64 w 508"/>
                    <a:gd name="T57" fmla="*/ 309 h 891"/>
                    <a:gd name="T58" fmla="*/ 89 w 508"/>
                    <a:gd name="T59" fmla="*/ 322 h 891"/>
                    <a:gd name="T60" fmla="*/ 120 w 508"/>
                    <a:gd name="T61" fmla="*/ 331 h 891"/>
                    <a:gd name="T62" fmla="*/ 129 w 508"/>
                    <a:gd name="T63" fmla="*/ 357 h 891"/>
                    <a:gd name="T64" fmla="*/ 131 w 508"/>
                    <a:gd name="T65" fmla="*/ 375 h 891"/>
                    <a:gd name="T66" fmla="*/ 129 w 508"/>
                    <a:gd name="T67" fmla="*/ 395 h 891"/>
                    <a:gd name="T68" fmla="*/ 131 w 508"/>
                    <a:gd name="T69" fmla="*/ 434 h 891"/>
                    <a:gd name="T70" fmla="*/ 117 w 508"/>
                    <a:gd name="T71" fmla="*/ 450 h 891"/>
                    <a:gd name="T72" fmla="*/ 117 w 508"/>
                    <a:gd name="T73" fmla="*/ 482 h 891"/>
                    <a:gd name="T74" fmla="*/ 125 w 508"/>
                    <a:gd name="T75" fmla="*/ 518 h 891"/>
                    <a:gd name="T76" fmla="*/ 105 w 508"/>
                    <a:gd name="T77" fmla="*/ 542 h 891"/>
                    <a:gd name="T78" fmla="*/ 96 w 508"/>
                    <a:gd name="T79" fmla="*/ 570 h 891"/>
                    <a:gd name="T80" fmla="*/ 95 w 508"/>
                    <a:gd name="T81" fmla="*/ 586 h 891"/>
                    <a:gd name="T82" fmla="*/ 57 w 508"/>
                    <a:gd name="T83" fmla="*/ 702 h 891"/>
                    <a:gd name="T84" fmla="*/ 78 w 508"/>
                    <a:gd name="T85" fmla="*/ 809 h 891"/>
                    <a:gd name="T86" fmla="*/ 76 w 508"/>
                    <a:gd name="T87" fmla="*/ 830 h 891"/>
                    <a:gd name="T88" fmla="*/ 83 w 508"/>
                    <a:gd name="T89" fmla="*/ 861 h 891"/>
                    <a:gd name="T90" fmla="*/ 98 w 508"/>
                    <a:gd name="T91" fmla="*/ 877 h 891"/>
                    <a:gd name="T92" fmla="*/ 115 w 508"/>
                    <a:gd name="T93" fmla="*/ 871 h 891"/>
                    <a:gd name="T94" fmla="*/ 109 w 508"/>
                    <a:gd name="T95" fmla="*/ 819 h 891"/>
                    <a:gd name="T96" fmla="*/ 242 w 508"/>
                    <a:gd name="T97" fmla="*/ 735 h 891"/>
                    <a:gd name="T98" fmla="*/ 230 w 508"/>
                    <a:gd name="T99" fmla="*/ 713 h 891"/>
                    <a:gd name="T100" fmla="*/ 241 w 508"/>
                    <a:gd name="T101" fmla="*/ 650 h 891"/>
                    <a:gd name="T102" fmla="*/ 246 w 508"/>
                    <a:gd name="T103" fmla="*/ 626 h 891"/>
                    <a:gd name="T104" fmla="*/ 238 w 508"/>
                    <a:gd name="T105" fmla="*/ 612 h 891"/>
                    <a:gd name="T106" fmla="*/ 225 w 508"/>
                    <a:gd name="T107" fmla="*/ 555 h 891"/>
                    <a:gd name="T108" fmla="*/ 222 w 508"/>
                    <a:gd name="T109" fmla="*/ 503 h 891"/>
                    <a:gd name="T110" fmla="*/ 267 w 508"/>
                    <a:gd name="T111" fmla="*/ 455 h 891"/>
                    <a:gd name="T112" fmla="*/ 312 w 508"/>
                    <a:gd name="T113" fmla="*/ 419 h 891"/>
                    <a:gd name="T114" fmla="*/ 417 w 508"/>
                    <a:gd name="T115" fmla="*/ 348 h 891"/>
                    <a:gd name="T116" fmla="*/ 458 w 508"/>
                    <a:gd name="T117" fmla="*/ 314 h 891"/>
                    <a:gd name="T118" fmla="*/ 498 w 508"/>
                    <a:gd name="T119" fmla="*/ 263 h 891"/>
                    <a:gd name="T120" fmla="*/ 508 w 508"/>
                    <a:gd name="T121" fmla="*/ 229 h 8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508" h="891">
                      <a:moveTo>
                        <a:pt x="508" y="229"/>
                      </a:moveTo>
                      <a:cubicBezTo>
                        <a:pt x="508" y="221"/>
                        <a:pt x="507" y="210"/>
                        <a:pt x="507" y="210"/>
                      </a:cubicBezTo>
                      <a:cubicBezTo>
                        <a:pt x="499" y="211"/>
                        <a:pt x="499" y="211"/>
                        <a:pt x="499" y="211"/>
                      </a:cubicBezTo>
                      <a:cubicBezTo>
                        <a:pt x="499" y="170"/>
                        <a:pt x="499" y="170"/>
                        <a:pt x="499" y="170"/>
                      </a:cubicBezTo>
                      <a:cubicBezTo>
                        <a:pt x="491" y="162"/>
                        <a:pt x="491" y="162"/>
                        <a:pt x="491" y="162"/>
                      </a:cubicBezTo>
                      <a:cubicBezTo>
                        <a:pt x="502" y="155"/>
                        <a:pt x="502" y="155"/>
                        <a:pt x="502" y="155"/>
                      </a:cubicBezTo>
                      <a:cubicBezTo>
                        <a:pt x="495" y="124"/>
                        <a:pt x="495" y="124"/>
                        <a:pt x="495" y="124"/>
                      </a:cubicBezTo>
                      <a:cubicBezTo>
                        <a:pt x="503" y="104"/>
                        <a:pt x="503" y="104"/>
                        <a:pt x="503" y="104"/>
                      </a:cubicBezTo>
                      <a:cubicBezTo>
                        <a:pt x="493" y="78"/>
                        <a:pt x="493" y="78"/>
                        <a:pt x="493" y="78"/>
                      </a:cubicBezTo>
                      <a:cubicBezTo>
                        <a:pt x="493" y="78"/>
                        <a:pt x="505" y="21"/>
                        <a:pt x="505" y="13"/>
                      </a:cubicBezTo>
                      <a:cubicBezTo>
                        <a:pt x="505" y="5"/>
                        <a:pt x="497" y="0"/>
                        <a:pt x="497" y="0"/>
                      </a:cubicBezTo>
                      <a:cubicBezTo>
                        <a:pt x="497" y="0"/>
                        <a:pt x="497" y="0"/>
                        <a:pt x="497" y="0"/>
                      </a:cubicBezTo>
                      <a:cubicBezTo>
                        <a:pt x="444" y="37"/>
                        <a:pt x="444" y="37"/>
                        <a:pt x="444" y="37"/>
                      </a:cubicBezTo>
                      <a:cubicBezTo>
                        <a:pt x="425" y="38"/>
                        <a:pt x="425" y="38"/>
                        <a:pt x="425" y="38"/>
                      </a:cubicBezTo>
                      <a:cubicBezTo>
                        <a:pt x="425" y="38"/>
                        <a:pt x="404" y="51"/>
                        <a:pt x="400" y="52"/>
                      </a:cubicBezTo>
                      <a:cubicBezTo>
                        <a:pt x="396" y="53"/>
                        <a:pt x="393" y="45"/>
                        <a:pt x="393" y="45"/>
                      </a:cubicBezTo>
                      <a:cubicBezTo>
                        <a:pt x="377" y="45"/>
                        <a:pt x="377" y="45"/>
                        <a:pt x="377" y="45"/>
                      </a:cubicBezTo>
                      <a:cubicBezTo>
                        <a:pt x="377" y="45"/>
                        <a:pt x="361" y="63"/>
                        <a:pt x="354" y="66"/>
                      </a:cubicBezTo>
                      <a:cubicBezTo>
                        <a:pt x="347" y="69"/>
                        <a:pt x="343" y="67"/>
                        <a:pt x="343" y="67"/>
                      </a:cubicBezTo>
                      <a:cubicBezTo>
                        <a:pt x="343" y="67"/>
                        <a:pt x="329" y="59"/>
                        <a:pt x="325" y="61"/>
                      </a:cubicBezTo>
                      <a:cubicBezTo>
                        <a:pt x="321" y="63"/>
                        <a:pt x="316" y="72"/>
                        <a:pt x="311" y="72"/>
                      </a:cubicBezTo>
                      <a:cubicBezTo>
                        <a:pt x="306" y="72"/>
                        <a:pt x="287" y="51"/>
                        <a:pt x="279" y="51"/>
                      </a:cubicBezTo>
                      <a:cubicBezTo>
                        <a:pt x="271" y="51"/>
                        <a:pt x="267" y="61"/>
                        <a:pt x="267" y="61"/>
                      </a:cubicBezTo>
                      <a:cubicBezTo>
                        <a:pt x="267" y="61"/>
                        <a:pt x="250" y="62"/>
                        <a:pt x="237" y="62"/>
                      </a:cubicBezTo>
                      <a:cubicBezTo>
                        <a:pt x="236" y="66"/>
                        <a:pt x="236" y="70"/>
                        <a:pt x="236" y="72"/>
                      </a:cubicBezTo>
                      <a:cubicBezTo>
                        <a:pt x="236" y="75"/>
                        <a:pt x="233" y="81"/>
                        <a:pt x="224" y="89"/>
                      </a:cubicBezTo>
                      <a:cubicBezTo>
                        <a:pt x="215" y="97"/>
                        <a:pt x="225" y="104"/>
                        <a:pt x="229" y="109"/>
                      </a:cubicBezTo>
                      <a:cubicBezTo>
                        <a:pt x="233" y="114"/>
                        <a:pt x="233" y="132"/>
                        <a:pt x="228" y="144"/>
                      </a:cubicBezTo>
                      <a:cubicBezTo>
                        <a:pt x="225" y="151"/>
                        <a:pt x="225" y="159"/>
                        <a:pt x="226" y="164"/>
                      </a:cubicBezTo>
                      <a:cubicBezTo>
                        <a:pt x="229" y="165"/>
                        <a:pt x="233" y="165"/>
                        <a:pt x="235" y="166"/>
                      </a:cubicBezTo>
                      <a:cubicBezTo>
                        <a:pt x="239" y="169"/>
                        <a:pt x="257" y="196"/>
                        <a:pt x="261" y="204"/>
                      </a:cubicBezTo>
                      <a:cubicBezTo>
                        <a:pt x="265" y="212"/>
                        <a:pt x="275" y="222"/>
                        <a:pt x="281" y="231"/>
                      </a:cubicBezTo>
                      <a:cubicBezTo>
                        <a:pt x="287" y="240"/>
                        <a:pt x="270" y="258"/>
                        <a:pt x="270" y="258"/>
                      </a:cubicBezTo>
                      <a:cubicBezTo>
                        <a:pt x="270" y="258"/>
                        <a:pt x="274" y="293"/>
                        <a:pt x="268" y="300"/>
                      </a:cubicBezTo>
                      <a:cubicBezTo>
                        <a:pt x="262" y="307"/>
                        <a:pt x="244" y="299"/>
                        <a:pt x="238" y="317"/>
                      </a:cubicBezTo>
                      <a:cubicBezTo>
                        <a:pt x="232" y="335"/>
                        <a:pt x="242" y="323"/>
                        <a:pt x="246" y="333"/>
                      </a:cubicBezTo>
                      <a:cubicBezTo>
                        <a:pt x="250" y="343"/>
                        <a:pt x="243" y="360"/>
                        <a:pt x="232" y="358"/>
                      </a:cubicBezTo>
                      <a:cubicBezTo>
                        <a:pt x="221" y="356"/>
                        <a:pt x="235" y="346"/>
                        <a:pt x="234" y="340"/>
                      </a:cubicBezTo>
                      <a:cubicBezTo>
                        <a:pt x="233" y="334"/>
                        <a:pt x="202" y="314"/>
                        <a:pt x="202" y="314"/>
                      </a:cubicBezTo>
                      <a:cubicBezTo>
                        <a:pt x="202" y="297"/>
                        <a:pt x="202" y="297"/>
                        <a:pt x="202" y="297"/>
                      </a:cubicBezTo>
                      <a:cubicBezTo>
                        <a:pt x="202" y="297"/>
                        <a:pt x="197" y="297"/>
                        <a:pt x="195" y="294"/>
                      </a:cubicBezTo>
                      <a:cubicBezTo>
                        <a:pt x="193" y="291"/>
                        <a:pt x="208" y="279"/>
                        <a:pt x="208" y="279"/>
                      </a:cubicBezTo>
                      <a:cubicBezTo>
                        <a:pt x="200" y="266"/>
                        <a:pt x="200" y="266"/>
                        <a:pt x="200" y="266"/>
                      </a:cubicBezTo>
                      <a:cubicBezTo>
                        <a:pt x="210" y="263"/>
                        <a:pt x="210" y="263"/>
                        <a:pt x="210" y="263"/>
                      </a:cubicBezTo>
                      <a:cubicBezTo>
                        <a:pt x="213" y="242"/>
                        <a:pt x="213" y="242"/>
                        <a:pt x="213" y="242"/>
                      </a:cubicBezTo>
                      <a:cubicBezTo>
                        <a:pt x="213" y="242"/>
                        <a:pt x="207" y="243"/>
                        <a:pt x="208" y="234"/>
                      </a:cubicBezTo>
                      <a:cubicBezTo>
                        <a:pt x="209" y="225"/>
                        <a:pt x="205" y="214"/>
                        <a:pt x="205" y="214"/>
                      </a:cubicBezTo>
                      <a:cubicBezTo>
                        <a:pt x="199" y="211"/>
                        <a:pt x="189" y="218"/>
                        <a:pt x="189" y="218"/>
                      </a:cubicBezTo>
                      <a:cubicBezTo>
                        <a:pt x="169" y="221"/>
                        <a:pt x="169" y="221"/>
                        <a:pt x="169" y="221"/>
                      </a:cubicBezTo>
                      <a:cubicBezTo>
                        <a:pt x="148" y="189"/>
                        <a:pt x="148" y="189"/>
                        <a:pt x="148" y="189"/>
                      </a:cubicBezTo>
                      <a:cubicBezTo>
                        <a:pt x="148" y="189"/>
                        <a:pt x="104" y="209"/>
                        <a:pt x="95" y="214"/>
                      </a:cubicBezTo>
                      <a:cubicBezTo>
                        <a:pt x="85" y="219"/>
                        <a:pt x="43" y="227"/>
                        <a:pt x="43" y="227"/>
                      </a:cubicBezTo>
                      <a:cubicBezTo>
                        <a:pt x="31" y="238"/>
                        <a:pt x="31" y="238"/>
                        <a:pt x="31" y="238"/>
                      </a:cubicBezTo>
                      <a:cubicBezTo>
                        <a:pt x="31" y="238"/>
                        <a:pt x="11" y="239"/>
                        <a:pt x="5" y="243"/>
                      </a:cubicBezTo>
                      <a:cubicBezTo>
                        <a:pt x="0" y="247"/>
                        <a:pt x="15" y="261"/>
                        <a:pt x="15" y="261"/>
                      </a:cubicBezTo>
                      <a:cubicBezTo>
                        <a:pt x="17" y="297"/>
                        <a:pt x="17" y="297"/>
                        <a:pt x="17" y="297"/>
                      </a:cubicBezTo>
                      <a:cubicBezTo>
                        <a:pt x="56" y="297"/>
                        <a:pt x="56" y="297"/>
                        <a:pt x="56" y="297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79" y="306"/>
                        <a:pt x="79" y="306"/>
                        <a:pt x="79" y="306"/>
                      </a:cubicBezTo>
                      <a:cubicBezTo>
                        <a:pt x="89" y="322"/>
                        <a:pt x="89" y="322"/>
                        <a:pt x="89" y="322"/>
                      </a:cubicBezTo>
                      <a:cubicBezTo>
                        <a:pt x="89" y="322"/>
                        <a:pt x="99" y="319"/>
                        <a:pt x="107" y="319"/>
                      </a:cubicBezTo>
                      <a:cubicBezTo>
                        <a:pt x="115" y="319"/>
                        <a:pt x="120" y="331"/>
                        <a:pt x="120" y="331"/>
                      </a:cubicBezTo>
                      <a:cubicBezTo>
                        <a:pt x="120" y="331"/>
                        <a:pt x="135" y="331"/>
                        <a:pt x="139" y="339"/>
                      </a:cubicBezTo>
                      <a:cubicBezTo>
                        <a:pt x="143" y="347"/>
                        <a:pt x="129" y="357"/>
                        <a:pt x="129" y="357"/>
                      </a:cubicBezTo>
                      <a:cubicBezTo>
                        <a:pt x="137" y="366"/>
                        <a:pt x="137" y="366"/>
                        <a:pt x="137" y="366"/>
                      </a:cubicBezTo>
                      <a:cubicBezTo>
                        <a:pt x="131" y="375"/>
                        <a:pt x="131" y="375"/>
                        <a:pt x="131" y="375"/>
                      </a:cubicBezTo>
                      <a:cubicBezTo>
                        <a:pt x="137" y="383"/>
                        <a:pt x="137" y="383"/>
                        <a:pt x="137" y="383"/>
                      </a:cubicBezTo>
                      <a:cubicBezTo>
                        <a:pt x="137" y="383"/>
                        <a:pt x="132" y="390"/>
                        <a:pt x="129" y="395"/>
                      </a:cubicBezTo>
                      <a:cubicBezTo>
                        <a:pt x="127" y="401"/>
                        <a:pt x="135" y="407"/>
                        <a:pt x="137" y="421"/>
                      </a:cubicBezTo>
                      <a:cubicBezTo>
                        <a:pt x="140" y="434"/>
                        <a:pt x="131" y="434"/>
                        <a:pt x="131" y="434"/>
                      </a:cubicBezTo>
                      <a:cubicBezTo>
                        <a:pt x="131" y="443"/>
                        <a:pt x="131" y="443"/>
                        <a:pt x="131" y="443"/>
                      </a:cubicBezTo>
                      <a:cubicBezTo>
                        <a:pt x="117" y="450"/>
                        <a:pt x="117" y="450"/>
                        <a:pt x="117" y="450"/>
                      </a:cubicBezTo>
                      <a:cubicBezTo>
                        <a:pt x="131" y="466"/>
                        <a:pt x="131" y="466"/>
                        <a:pt x="131" y="466"/>
                      </a:cubicBezTo>
                      <a:cubicBezTo>
                        <a:pt x="131" y="466"/>
                        <a:pt x="119" y="477"/>
                        <a:pt x="117" y="482"/>
                      </a:cubicBezTo>
                      <a:cubicBezTo>
                        <a:pt x="116" y="487"/>
                        <a:pt x="133" y="498"/>
                        <a:pt x="135" y="505"/>
                      </a:cubicBezTo>
                      <a:cubicBezTo>
                        <a:pt x="136" y="511"/>
                        <a:pt x="125" y="518"/>
                        <a:pt x="125" y="518"/>
                      </a:cubicBezTo>
                      <a:cubicBezTo>
                        <a:pt x="125" y="518"/>
                        <a:pt x="123" y="525"/>
                        <a:pt x="121" y="533"/>
                      </a:cubicBezTo>
                      <a:cubicBezTo>
                        <a:pt x="120" y="541"/>
                        <a:pt x="105" y="542"/>
                        <a:pt x="105" y="542"/>
                      </a:cubicBezTo>
                      <a:cubicBezTo>
                        <a:pt x="104" y="565"/>
                        <a:pt x="104" y="565"/>
                        <a:pt x="104" y="565"/>
                      </a:cubicBezTo>
                      <a:cubicBezTo>
                        <a:pt x="96" y="570"/>
                        <a:pt x="96" y="570"/>
                        <a:pt x="96" y="570"/>
                      </a:cubicBezTo>
                      <a:cubicBezTo>
                        <a:pt x="105" y="583"/>
                        <a:pt x="105" y="583"/>
                        <a:pt x="105" y="583"/>
                      </a:cubicBezTo>
                      <a:cubicBezTo>
                        <a:pt x="95" y="586"/>
                        <a:pt x="95" y="586"/>
                        <a:pt x="95" y="586"/>
                      </a:cubicBezTo>
                      <a:cubicBezTo>
                        <a:pt x="48" y="642"/>
                        <a:pt x="48" y="642"/>
                        <a:pt x="48" y="642"/>
                      </a:cubicBezTo>
                      <a:cubicBezTo>
                        <a:pt x="48" y="642"/>
                        <a:pt x="55" y="693"/>
                        <a:pt x="57" y="702"/>
                      </a:cubicBezTo>
                      <a:cubicBezTo>
                        <a:pt x="59" y="711"/>
                        <a:pt x="80" y="743"/>
                        <a:pt x="79" y="752"/>
                      </a:cubicBezTo>
                      <a:cubicBezTo>
                        <a:pt x="78" y="761"/>
                        <a:pt x="78" y="809"/>
                        <a:pt x="78" y="809"/>
                      </a:cubicBezTo>
                      <a:cubicBezTo>
                        <a:pt x="60" y="833"/>
                        <a:pt x="60" y="833"/>
                        <a:pt x="60" y="833"/>
                      </a:cubicBezTo>
                      <a:cubicBezTo>
                        <a:pt x="76" y="830"/>
                        <a:pt x="76" y="830"/>
                        <a:pt x="76" y="830"/>
                      </a:cubicBezTo>
                      <a:cubicBezTo>
                        <a:pt x="76" y="830"/>
                        <a:pt x="71" y="847"/>
                        <a:pt x="73" y="854"/>
                      </a:cubicBezTo>
                      <a:cubicBezTo>
                        <a:pt x="76" y="861"/>
                        <a:pt x="83" y="861"/>
                        <a:pt x="83" y="861"/>
                      </a:cubicBezTo>
                      <a:cubicBezTo>
                        <a:pt x="87" y="877"/>
                        <a:pt x="87" y="877"/>
                        <a:pt x="87" y="877"/>
                      </a:cubicBezTo>
                      <a:cubicBezTo>
                        <a:pt x="91" y="876"/>
                        <a:pt x="95" y="875"/>
                        <a:pt x="98" y="877"/>
                      </a:cubicBezTo>
                      <a:cubicBezTo>
                        <a:pt x="102" y="879"/>
                        <a:pt x="107" y="885"/>
                        <a:pt x="111" y="891"/>
                      </a:cubicBezTo>
                      <a:cubicBezTo>
                        <a:pt x="113" y="883"/>
                        <a:pt x="115" y="876"/>
                        <a:pt x="115" y="871"/>
                      </a:cubicBezTo>
                      <a:cubicBezTo>
                        <a:pt x="116" y="856"/>
                        <a:pt x="107" y="845"/>
                        <a:pt x="107" y="845"/>
                      </a:cubicBezTo>
                      <a:cubicBezTo>
                        <a:pt x="107" y="845"/>
                        <a:pt x="88" y="839"/>
                        <a:pt x="109" y="819"/>
                      </a:cubicBezTo>
                      <a:cubicBezTo>
                        <a:pt x="130" y="799"/>
                        <a:pt x="165" y="785"/>
                        <a:pt x="186" y="773"/>
                      </a:cubicBezTo>
                      <a:cubicBezTo>
                        <a:pt x="207" y="761"/>
                        <a:pt x="242" y="744"/>
                        <a:pt x="242" y="735"/>
                      </a:cubicBezTo>
                      <a:cubicBezTo>
                        <a:pt x="242" y="726"/>
                        <a:pt x="242" y="718"/>
                        <a:pt x="242" y="718"/>
                      </a:cubicBezTo>
                      <a:cubicBezTo>
                        <a:pt x="242" y="718"/>
                        <a:pt x="231" y="727"/>
                        <a:pt x="230" y="713"/>
                      </a:cubicBezTo>
                      <a:cubicBezTo>
                        <a:pt x="229" y="699"/>
                        <a:pt x="249" y="684"/>
                        <a:pt x="247" y="674"/>
                      </a:cubicBezTo>
                      <a:cubicBezTo>
                        <a:pt x="245" y="664"/>
                        <a:pt x="241" y="650"/>
                        <a:pt x="241" y="650"/>
                      </a:cubicBezTo>
                      <a:cubicBezTo>
                        <a:pt x="248" y="631"/>
                        <a:pt x="248" y="631"/>
                        <a:pt x="248" y="631"/>
                      </a:cubicBezTo>
                      <a:cubicBezTo>
                        <a:pt x="246" y="626"/>
                        <a:pt x="246" y="626"/>
                        <a:pt x="246" y="626"/>
                      </a:cubicBezTo>
                      <a:cubicBezTo>
                        <a:pt x="235" y="639"/>
                        <a:pt x="235" y="639"/>
                        <a:pt x="235" y="639"/>
                      </a:cubicBezTo>
                      <a:cubicBezTo>
                        <a:pt x="238" y="612"/>
                        <a:pt x="238" y="612"/>
                        <a:pt x="238" y="612"/>
                      </a:cubicBezTo>
                      <a:cubicBezTo>
                        <a:pt x="238" y="612"/>
                        <a:pt x="223" y="597"/>
                        <a:pt x="222" y="587"/>
                      </a:cubicBezTo>
                      <a:cubicBezTo>
                        <a:pt x="221" y="577"/>
                        <a:pt x="230" y="567"/>
                        <a:pt x="225" y="555"/>
                      </a:cubicBezTo>
                      <a:cubicBezTo>
                        <a:pt x="220" y="543"/>
                        <a:pt x="208" y="554"/>
                        <a:pt x="208" y="541"/>
                      </a:cubicBezTo>
                      <a:cubicBezTo>
                        <a:pt x="208" y="528"/>
                        <a:pt x="219" y="507"/>
                        <a:pt x="222" y="503"/>
                      </a:cubicBezTo>
                      <a:cubicBezTo>
                        <a:pt x="225" y="499"/>
                        <a:pt x="249" y="493"/>
                        <a:pt x="252" y="484"/>
                      </a:cubicBezTo>
                      <a:cubicBezTo>
                        <a:pt x="255" y="475"/>
                        <a:pt x="260" y="460"/>
                        <a:pt x="267" y="455"/>
                      </a:cubicBezTo>
                      <a:cubicBezTo>
                        <a:pt x="274" y="450"/>
                        <a:pt x="279" y="455"/>
                        <a:pt x="287" y="449"/>
                      </a:cubicBezTo>
                      <a:cubicBezTo>
                        <a:pt x="295" y="443"/>
                        <a:pt x="310" y="435"/>
                        <a:pt x="312" y="419"/>
                      </a:cubicBezTo>
                      <a:cubicBezTo>
                        <a:pt x="314" y="403"/>
                        <a:pt x="331" y="385"/>
                        <a:pt x="348" y="377"/>
                      </a:cubicBezTo>
                      <a:cubicBezTo>
                        <a:pt x="365" y="369"/>
                        <a:pt x="409" y="355"/>
                        <a:pt x="417" y="348"/>
                      </a:cubicBezTo>
                      <a:cubicBezTo>
                        <a:pt x="425" y="341"/>
                        <a:pt x="458" y="324"/>
                        <a:pt x="458" y="324"/>
                      </a:cubicBezTo>
                      <a:cubicBezTo>
                        <a:pt x="458" y="314"/>
                        <a:pt x="458" y="314"/>
                        <a:pt x="458" y="314"/>
                      </a:cubicBezTo>
                      <a:cubicBezTo>
                        <a:pt x="458" y="314"/>
                        <a:pt x="476" y="295"/>
                        <a:pt x="476" y="290"/>
                      </a:cubicBezTo>
                      <a:cubicBezTo>
                        <a:pt x="476" y="285"/>
                        <a:pt x="498" y="263"/>
                        <a:pt x="498" y="263"/>
                      </a:cubicBezTo>
                      <a:cubicBezTo>
                        <a:pt x="496" y="254"/>
                        <a:pt x="496" y="254"/>
                        <a:pt x="496" y="254"/>
                      </a:cubicBezTo>
                      <a:cubicBezTo>
                        <a:pt x="496" y="254"/>
                        <a:pt x="508" y="237"/>
                        <a:pt x="508" y="229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7" name="Morocco">
                  <a:extLst>
                    <a:ext uri="{FF2B5EF4-FFF2-40B4-BE49-F238E27FC236}">
                      <a16:creationId xmlns:a16="http://schemas.microsoft.com/office/drawing/2014/main" id="{217F457C-D529-7AAD-60C9-2736924318C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780925" y="1504040"/>
                  <a:ext cx="936151" cy="579067"/>
                </a:xfrm>
                <a:custGeom>
                  <a:avLst/>
                  <a:gdLst>
                    <a:gd name="T0" fmla="*/ 547 w 565"/>
                    <a:gd name="T1" fmla="*/ 165 h 438"/>
                    <a:gd name="T2" fmla="*/ 550 w 565"/>
                    <a:gd name="T3" fmla="*/ 145 h 438"/>
                    <a:gd name="T4" fmla="*/ 536 w 565"/>
                    <a:gd name="T5" fmla="*/ 145 h 438"/>
                    <a:gd name="T6" fmla="*/ 543 w 565"/>
                    <a:gd name="T7" fmla="*/ 124 h 438"/>
                    <a:gd name="T8" fmla="*/ 537 w 565"/>
                    <a:gd name="T9" fmla="*/ 113 h 438"/>
                    <a:gd name="T10" fmla="*/ 540 w 565"/>
                    <a:gd name="T11" fmla="*/ 68 h 438"/>
                    <a:gd name="T12" fmla="*/ 532 w 565"/>
                    <a:gd name="T13" fmla="*/ 68 h 438"/>
                    <a:gd name="T14" fmla="*/ 536 w 565"/>
                    <a:gd name="T15" fmla="*/ 56 h 438"/>
                    <a:gd name="T16" fmla="*/ 521 w 565"/>
                    <a:gd name="T17" fmla="*/ 39 h 438"/>
                    <a:gd name="T18" fmla="*/ 487 w 565"/>
                    <a:gd name="T19" fmla="*/ 26 h 438"/>
                    <a:gd name="T20" fmla="*/ 470 w 565"/>
                    <a:gd name="T21" fmla="*/ 34 h 438"/>
                    <a:gd name="T22" fmla="*/ 439 w 565"/>
                    <a:gd name="T23" fmla="*/ 29 h 438"/>
                    <a:gd name="T24" fmla="*/ 408 w 565"/>
                    <a:gd name="T25" fmla="*/ 33 h 438"/>
                    <a:gd name="T26" fmla="*/ 374 w 565"/>
                    <a:gd name="T27" fmla="*/ 2 h 438"/>
                    <a:gd name="T28" fmla="*/ 354 w 565"/>
                    <a:gd name="T29" fmla="*/ 0 h 438"/>
                    <a:gd name="T30" fmla="*/ 337 w 565"/>
                    <a:gd name="T31" fmla="*/ 48 h 438"/>
                    <a:gd name="T32" fmla="*/ 300 w 565"/>
                    <a:gd name="T33" fmla="*/ 107 h 438"/>
                    <a:gd name="T34" fmla="*/ 267 w 565"/>
                    <a:gd name="T35" fmla="*/ 116 h 438"/>
                    <a:gd name="T36" fmla="*/ 251 w 565"/>
                    <a:gd name="T37" fmla="*/ 131 h 438"/>
                    <a:gd name="T38" fmla="*/ 239 w 565"/>
                    <a:gd name="T39" fmla="*/ 128 h 438"/>
                    <a:gd name="T40" fmla="*/ 222 w 565"/>
                    <a:gd name="T41" fmla="*/ 137 h 438"/>
                    <a:gd name="T42" fmla="*/ 211 w 565"/>
                    <a:gd name="T43" fmla="*/ 158 h 438"/>
                    <a:gd name="T44" fmla="*/ 191 w 565"/>
                    <a:gd name="T45" fmla="*/ 174 h 438"/>
                    <a:gd name="T46" fmla="*/ 188 w 565"/>
                    <a:gd name="T47" fmla="*/ 199 h 438"/>
                    <a:gd name="T48" fmla="*/ 165 w 565"/>
                    <a:gd name="T49" fmla="*/ 244 h 438"/>
                    <a:gd name="T50" fmla="*/ 166 w 565"/>
                    <a:gd name="T51" fmla="*/ 269 h 438"/>
                    <a:gd name="T52" fmla="*/ 158 w 565"/>
                    <a:gd name="T53" fmla="*/ 276 h 438"/>
                    <a:gd name="T54" fmla="*/ 170 w 565"/>
                    <a:gd name="T55" fmla="*/ 292 h 438"/>
                    <a:gd name="T56" fmla="*/ 169 w 565"/>
                    <a:gd name="T57" fmla="*/ 316 h 438"/>
                    <a:gd name="T58" fmla="*/ 154 w 565"/>
                    <a:gd name="T59" fmla="*/ 321 h 438"/>
                    <a:gd name="T60" fmla="*/ 130 w 565"/>
                    <a:gd name="T61" fmla="*/ 359 h 438"/>
                    <a:gd name="T62" fmla="*/ 101 w 565"/>
                    <a:gd name="T63" fmla="*/ 376 h 438"/>
                    <a:gd name="T64" fmla="*/ 80 w 565"/>
                    <a:gd name="T65" fmla="*/ 404 h 438"/>
                    <a:gd name="T66" fmla="*/ 32 w 565"/>
                    <a:gd name="T67" fmla="*/ 421 h 438"/>
                    <a:gd name="T68" fmla="*/ 9 w 565"/>
                    <a:gd name="T69" fmla="*/ 423 h 438"/>
                    <a:gd name="T70" fmla="*/ 0 w 565"/>
                    <a:gd name="T71" fmla="*/ 438 h 438"/>
                    <a:gd name="T72" fmla="*/ 207 w 565"/>
                    <a:gd name="T73" fmla="*/ 438 h 438"/>
                    <a:gd name="T74" fmla="*/ 209 w 565"/>
                    <a:gd name="T75" fmla="*/ 399 h 438"/>
                    <a:gd name="T76" fmla="*/ 212 w 565"/>
                    <a:gd name="T77" fmla="*/ 381 h 438"/>
                    <a:gd name="T78" fmla="*/ 232 w 565"/>
                    <a:gd name="T79" fmla="*/ 369 h 438"/>
                    <a:gd name="T80" fmla="*/ 253 w 565"/>
                    <a:gd name="T81" fmla="*/ 344 h 438"/>
                    <a:gd name="T82" fmla="*/ 265 w 565"/>
                    <a:gd name="T83" fmla="*/ 345 h 438"/>
                    <a:gd name="T84" fmla="*/ 283 w 565"/>
                    <a:gd name="T85" fmla="*/ 331 h 438"/>
                    <a:gd name="T86" fmla="*/ 302 w 565"/>
                    <a:gd name="T87" fmla="*/ 339 h 438"/>
                    <a:gd name="T88" fmla="*/ 308 w 565"/>
                    <a:gd name="T89" fmla="*/ 326 h 438"/>
                    <a:gd name="T90" fmla="*/ 326 w 565"/>
                    <a:gd name="T91" fmla="*/ 325 h 438"/>
                    <a:gd name="T92" fmla="*/ 327 w 565"/>
                    <a:gd name="T93" fmla="*/ 317 h 438"/>
                    <a:gd name="T94" fmla="*/ 361 w 565"/>
                    <a:gd name="T95" fmla="*/ 318 h 438"/>
                    <a:gd name="T96" fmla="*/ 384 w 565"/>
                    <a:gd name="T97" fmla="*/ 284 h 438"/>
                    <a:gd name="T98" fmla="*/ 414 w 565"/>
                    <a:gd name="T99" fmla="*/ 283 h 438"/>
                    <a:gd name="T100" fmla="*/ 432 w 565"/>
                    <a:gd name="T101" fmla="*/ 264 h 438"/>
                    <a:gd name="T102" fmla="*/ 449 w 565"/>
                    <a:gd name="T103" fmla="*/ 257 h 438"/>
                    <a:gd name="T104" fmla="*/ 439 w 565"/>
                    <a:gd name="T105" fmla="*/ 245 h 438"/>
                    <a:gd name="T106" fmla="*/ 438 w 565"/>
                    <a:gd name="T107" fmla="*/ 221 h 438"/>
                    <a:gd name="T108" fmla="*/ 475 w 565"/>
                    <a:gd name="T109" fmla="*/ 215 h 438"/>
                    <a:gd name="T110" fmla="*/ 480 w 565"/>
                    <a:gd name="T111" fmla="*/ 200 h 438"/>
                    <a:gd name="T112" fmla="*/ 493 w 565"/>
                    <a:gd name="T113" fmla="*/ 202 h 438"/>
                    <a:gd name="T114" fmla="*/ 501 w 565"/>
                    <a:gd name="T115" fmla="*/ 195 h 438"/>
                    <a:gd name="T116" fmla="*/ 515 w 565"/>
                    <a:gd name="T117" fmla="*/ 201 h 438"/>
                    <a:gd name="T118" fmla="*/ 553 w 565"/>
                    <a:gd name="T119" fmla="*/ 196 h 438"/>
                    <a:gd name="T120" fmla="*/ 554 w 565"/>
                    <a:gd name="T121" fmla="*/ 186 h 438"/>
                    <a:gd name="T122" fmla="*/ 565 w 565"/>
                    <a:gd name="T123" fmla="*/ 177 h 438"/>
                    <a:gd name="T124" fmla="*/ 547 w 565"/>
                    <a:gd name="T125" fmla="*/ 165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65" h="438">
                      <a:moveTo>
                        <a:pt x="547" y="165"/>
                      </a:moveTo>
                      <a:cubicBezTo>
                        <a:pt x="550" y="145"/>
                        <a:pt x="550" y="145"/>
                        <a:pt x="550" y="145"/>
                      </a:cubicBezTo>
                      <a:cubicBezTo>
                        <a:pt x="536" y="145"/>
                        <a:pt x="536" y="145"/>
                        <a:pt x="536" y="145"/>
                      </a:cubicBezTo>
                      <a:cubicBezTo>
                        <a:pt x="543" y="124"/>
                        <a:pt x="543" y="124"/>
                        <a:pt x="543" y="124"/>
                      </a:cubicBezTo>
                      <a:cubicBezTo>
                        <a:pt x="537" y="113"/>
                        <a:pt x="537" y="113"/>
                        <a:pt x="537" y="113"/>
                      </a:cubicBezTo>
                      <a:cubicBezTo>
                        <a:pt x="540" y="68"/>
                        <a:pt x="540" y="68"/>
                        <a:pt x="540" y="68"/>
                      </a:cubicBezTo>
                      <a:cubicBezTo>
                        <a:pt x="532" y="68"/>
                        <a:pt x="532" y="68"/>
                        <a:pt x="532" y="68"/>
                      </a:cubicBezTo>
                      <a:cubicBezTo>
                        <a:pt x="532" y="68"/>
                        <a:pt x="536" y="57"/>
                        <a:pt x="536" y="56"/>
                      </a:cubicBezTo>
                      <a:cubicBezTo>
                        <a:pt x="526" y="52"/>
                        <a:pt x="522" y="43"/>
                        <a:pt x="521" y="39"/>
                      </a:cubicBezTo>
                      <a:cubicBezTo>
                        <a:pt x="508" y="36"/>
                        <a:pt x="496" y="26"/>
                        <a:pt x="487" y="26"/>
                      </a:cubicBezTo>
                      <a:cubicBezTo>
                        <a:pt x="477" y="26"/>
                        <a:pt x="470" y="34"/>
                        <a:pt x="470" y="34"/>
                      </a:cubicBezTo>
                      <a:cubicBezTo>
                        <a:pt x="470" y="34"/>
                        <a:pt x="447" y="29"/>
                        <a:pt x="439" y="29"/>
                      </a:cubicBezTo>
                      <a:cubicBezTo>
                        <a:pt x="431" y="29"/>
                        <a:pt x="423" y="38"/>
                        <a:pt x="408" y="33"/>
                      </a:cubicBezTo>
                      <a:cubicBezTo>
                        <a:pt x="393" y="28"/>
                        <a:pt x="378" y="4"/>
                        <a:pt x="374" y="2"/>
                      </a:cubicBezTo>
                      <a:cubicBezTo>
                        <a:pt x="370" y="0"/>
                        <a:pt x="354" y="0"/>
                        <a:pt x="354" y="0"/>
                      </a:cubicBezTo>
                      <a:cubicBezTo>
                        <a:pt x="354" y="0"/>
                        <a:pt x="343" y="35"/>
                        <a:pt x="337" y="48"/>
                      </a:cubicBezTo>
                      <a:cubicBezTo>
                        <a:pt x="331" y="61"/>
                        <a:pt x="312" y="98"/>
                        <a:pt x="300" y="107"/>
                      </a:cubicBezTo>
                      <a:cubicBezTo>
                        <a:pt x="288" y="116"/>
                        <a:pt x="272" y="112"/>
                        <a:pt x="267" y="116"/>
                      </a:cubicBezTo>
                      <a:cubicBezTo>
                        <a:pt x="262" y="120"/>
                        <a:pt x="251" y="131"/>
                        <a:pt x="251" y="131"/>
                      </a:cubicBezTo>
                      <a:cubicBezTo>
                        <a:pt x="239" y="128"/>
                        <a:pt x="239" y="128"/>
                        <a:pt x="239" y="128"/>
                      </a:cubicBezTo>
                      <a:cubicBezTo>
                        <a:pt x="222" y="137"/>
                        <a:pt x="222" y="137"/>
                        <a:pt x="222" y="137"/>
                      </a:cubicBezTo>
                      <a:cubicBezTo>
                        <a:pt x="222" y="137"/>
                        <a:pt x="217" y="150"/>
                        <a:pt x="211" y="158"/>
                      </a:cubicBezTo>
                      <a:cubicBezTo>
                        <a:pt x="211" y="158"/>
                        <a:pt x="191" y="170"/>
                        <a:pt x="191" y="174"/>
                      </a:cubicBezTo>
                      <a:cubicBezTo>
                        <a:pt x="191" y="178"/>
                        <a:pt x="195" y="192"/>
                        <a:pt x="188" y="199"/>
                      </a:cubicBezTo>
                      <a:cubicBezTo>
                        <a:pt x="181" y="206"/>
                        <a:pt x="164" y="230"/>
                        <a:pt x="165" y="244"/>
                      </a:cubicBezTo>
                      <a:cubicBezTo>
                        <a:pt x="166" y="258"/>
                        <a:pt x="166" y="269"/>
                        <a:pt x="166" y="269"/>
                      </a:cubicBezTo>
                      <a:cubicBezTo>
                        <a:pt x="166" y="269"/>
                        <a:pt x="158" y="273"/>
                        <a:pt x="158" y="276"/>
                      </a:cubicBezTo>
                      <a:cubicBezTo>
                        <a:pt x="158" y="279"/>
                        <a:pt x="173" y="277"/>
                        <a:pt x="170" y="292"/>
                      </a:cubicBezTo>
                      <a:cubicBezTo>
                        <a:pt x="167" y="307"/>
                        <a:pt x="169" y="316"/>
                        <a:pt x="169" y="316"/>
                      </a:cubicBezTo>
                      <a:cubicBezTo>
                        <a:pt x="169" y="316"/>
                        <a:pt x="163" y="310"/>
                        <a:pt x="154" y="321"/>
                      </a:cubicBezTo>
                      <a:cubicBezTo>
                        <a:pt x="145" y="332"/>
                        <a:pt x="138" y="348"/>
                        <a:pt x="130" y="359"/>
                      </a:cubicBezTo>
                      <a:cubicBezTo>
                        <a:pt x="122" y="370"/>
                        <a:pt x="108" y="366"/>
                        <a:pt x="101" y="376"/>
                      </a:cubicBezTo>
                      <a:cubicBezTo>
                        <a:pt x="94" y="386"/>
                        <a:pt x="86" y="398"/>
                        <a:pt x="80" y="404"/>
                      </a:cubicBezTo>
                      <a:cubicBezTo>
                        <a:pt x="74" y="410"/>
                        <a:pt x="36" y="420"/>
                        <a:pt x="32" y="421"/>
                      </a:cubicBezTo>
                      <a:cubicBezTo>
                        <a:pt x="28" y="422"/>
                        <a:pt x="9" y="423"/>
                        <a:pt x="9" y="423"/>
                      </a:cubicBezTo>
                      <a:cubicBezTo>
                        <a:pt x="9" y="423"/>
                        <a:pt x="4" y="429"/>
                        <a:pt x="0" y="438"/>
                      </a:cubicBezTo>
                      <a:cubicBezTo>
                        <a:pt x="207" y="438"/>
                        <a:pt x="207" y="438"/>
                        <a:pt x="207" y="438"/>
                      </a:cubicBezTo>
                      <a:cubicBezTo>
                        <a:pt x="209" y="399"/>
                        <a:pt x="209" y="399"/>
                        <a:pt x="209" y="399"/>
                      </a:cubicBezTo>
                      <a:cubicBezTo>
                        <a:pt x="212" y="381"/>
                        <a:pt x="212" y="381"/>
                        <a:pt x="212" y="381"/>
                      </a:cubicBezTo>
                      <a:cubicBezTo>
                        <a:pt x="212" y="381"/>
                        <a:pt x="225" y="374"/>
                        <a:pt x="232" y="369"/>
                      </a:cubicBezTo>
                      <a:cubicBezTo>
                        <a:pt x="239" y="364"/>
                        <a:pt x="253" y="344"/>
                        <a:pt x="253" y="344"/>
                      </a:cubicBezTo>
                      <a:cubicBezTo>
                        <a:pt x="265" y="345"/>
                        <a:pt x="265" y="345"/>
                        <a:pt x="265" y="345"/>
                      </a:cubicBezTo>
                      <a:cubicBezTo>
                        <a:pt x="283" y="331"/>
                        <a:pt x="283" y="331"/>
                        <a:pt x="283" y="331"/>
                      </a:cubicBezTo>
                      <a:cubicBezTo>
                        <a:pt x="283" y="331"/>
                        <a:pt x="296" y="340"/>
                        <a:pt x="302" y="339"/>
                      </a:cubicBezTo>
                      <a:cubicBezTo>
                        <a:pt x="308" y="338"/>
                        <a:pt x="308" y="326"/>
                        <a:pt x="308" y="326"/>
                      </a:cubicBezTo>
                      <a:cubicBezTo>
                        <a:pt x="326" y="325"/>
                        <a:pt x="326" y="325"/>
                        <a:pt x="326" y="325"/>
                      </a:cubicBezTo>
                      <a:cubicBezTo>
                        <a:pt x="327" y="317"/>
                        <a:pt x="327" y="317"/>
                        <a:pt x="327" y="317"/>
                      </a:cubicBezTo>
                      <a:cubicBezTo>
                        <a:pt x="327" y="317"/>
                        <a:pt x="353" y="321"/>
                        <a:pt x="361" y="318"/>
                      </a:cubicBezTo>
                      <a:cubicBezTo>
                        <a:pt x="369" y="315"/>
                        <a:pt x="384" y="284"/>
                        <a:pt x="384" y="284"/>
                      </a:cubicBezTo>
                      <a:cubicBezTo>
                        <a:pt x="384" y="284"/>
                        <a:pt x="408" y="283"/>
                        <a:pt x="414" y="283"/>
                      </a:cubicBezTo>
                      <a:cubicBezTo>
                        <a:pt x="420" y="283"/>
                        <a:pt x="432" y="264"/>
                        <a:pt x="432" y="264"/>
                      </a:cubicBezTo>
                      <a:cubicBezTo>
                        <a:pt x="449" y="257"/>
                        <a:pt x="449" y="257"/>
                        <a:pt x="449" y="257"/>
                      </a:cubicBezTo>
                      <a:cubicBezTo>
                        <a:pt x="439" y="245"/>
                        <a:pt x="439" y="245"/>
                        <a:pt x="439" y="245"/>
                      </a:cubicBezTo>
                      <a:cubicBezTo>
                        <a:pt x="439" y="245"/>
                        <a:pt x="430" y="228"/>
                        <a:pt x="438" y="221"/>
                      </a:cubicBezTo>
                      <a:cubicBezTo>
                        <a:pt x="446" y="214"/>
                        <a:pt x="468" y="220"/>
                        <a:pt x="475" y="215"/>
                      </a:cubicBezTo>
                      <a:cubicBezTo>
                        <a:pt x="482" y="210"/>
                        <a:pt x="475" y="203"/>
                        <a:pt x="480" y="200"/>
                      </a:cubicBezTo>
                      <a:cubicBezTo>
                        <a:pt x="485" y="197"/>
                        <a:pt x="493" y="202"/>
                        <a:pt x="493" y="202"/>
                      </a:cubicBezTo>
                      <a:cubicBezTo>
                        <a:pt x="493" y="202"/>
                        <a:pt x="497" y="195"/>
                        <a:pt x="501" y="195"/>
                      </a:cubicBezTo>
                      <a:cubicBezTo>
                        <a:pt x="505" y="195"/>
                        <a:pt x="515" y="201"/>
                        <a:pt x="515" y="201"/>
                      </a:cubicBezTo>
                      <a:cubicBezTo>
                        <a:pt x="553" y="196"/>
                        <a:pt x="553" y="196"/>
                        <a:pt x="553" y="196"/>
                      </a:cubicBezTo>
                      <a:cubicBezTo>
                        <a:pt x="553" y="196"/>
                        <a:pt x="552" y="189"/>
                        <a:pt x="554" y="186"/>
                      </a:cubicBezTo>
                      <a:cubicBezTo>
                        <a:pt x="556" y="183"/>
                        <a:pt x="565" y="177"/>
                        <a:pt x="565" y="177"/>
                      </a:cubicBezTo>
                      <a:lnTo>
                        <a:pt x="547" y="16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8" name="Mayotte Island">
                  <a:extLst>
                    <a:ext uri="{FF2B5EF4-FFF2-40B4-BE49-F238E27FC236}">
                      <a16:creationId xmlns:a16="http://schemas.microsoft.com/office/drawing/2014/main" id="{0EED51E7-C9DC-F8CD-B04C-5F958D2A642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46003" y="4929557"/>
                  <a:ext cx="40836" cy="40848"/>
                </a:xfrm>
                <a:custGeom>
                  <a:avLst/>
                  <a:gdLst/>
                  <a:ahLst/>
                  <a:cxnLst>
                    <a:cxn ang="0">
                      <a:pos x="9" y="9"/>
                    </a:cxn>
                    <a:cxn ang="0">
                      <a:pos x="9" y="9"/>
                    </a:cxn>
                    <a:cxn ang="0">
                      <a:pos x="9" y="5"/>
                    </a:cxn>
                    <a:cxn ang="0">
                      <a:pos x="4" y="5"/>
                    </a:cxn>
                    <a:cxn ang="0">
                      <a:pos x="0" y="0"/>
                    </a:cxn>
                    <a:cxn ang="0">
                      <a:pos x="4" y="9"/>
                    </a:cxn>
                    <a:cxn ang="0">
                      <a:pos x="9" y="9"/>
                    </a:cxn>
                  </a:cxnLst>
                  <a:rect l="0" t="0" r="r" b="b"/>
                  <a:pathLst>
                    <a:path w="9" h="9">
                      <a:moveTo>
                        <a:pt x="9" y="9"/>
                      </a:moveTo>
                      <a:lnTo>
                        <a:pt x="9" y="9"/>
                      </a:lnTo>
                      <a:lnTo>
                        <a:pt x="9" y="5"/>
                      </a:ln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4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 sz="1662"/>
                </a:p>
              </p:txBody>
            </p:sp>
            <p:sp>
              <p:nvSpPr>
                <p:cNvPr id="39" name="Mauritius">
                  <a:extLst>
                    <a:ext uri="{FF2B5EF4-FFF2-40B4-BE49-F238E27FC236}">
                      <a16:creationId xmlns:a16="http://schemas.microsoft.com/office/drawing/2014/main" id="{91AFD6B7-C366-8C4B-8B4C-894DE1722BD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000431" y="5461406"/>
                  <a:ext cx="40836" cy="59003"/>
                </a:xfrm>
                <a:custGeom>
                  <a:avLst/>
                  <a:gdLst/>
                  <a:ahLst/>
                  <a:cxnLst>
                    <a:cxn ang="0">
                      <a:pos x="0" y="13"/>
                    </a:cxn>
                    <a:cxn ang="0">
                      <a:pos x="9" y="4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13"/>
                    </a:cxn>
                    <a:cxn ang="0">
                      <a:pos x="0" y="13"/>
                    </a:cxn>
                  </a:cxnLst>
                  <a:rect l="0" t="0" r="r" b="b"/>
                  <a:pathLst>
                    <a:path w="9" h="13">
                      <a:moveTo>
                        <a:pt x="0" y="13"/>
                      </a:moveTo>
                      <a:lnTo>
                        <a:pt x="9" y="4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13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 sz="1662"/>
                </a:p>
              </p:txBody>
            </p:sp>
            <p:sp>
              <p:nvSpPr>
                <p:cNvPr id="40" name="Mauritania">
                  <a:extLst>
                    <a:ext uri="{FF2B5EF4-FFF2-40B4-BE49-F238E27FC236}">
                      <a16:creationId xmlns:a16="http://schemas.microsoft.com/office/drawing/2014/main" id="{5BB172E7-919E-EAFB-9F5A-302419DA654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61031" y="2116947"/>
                  <a:ext cx="950265" cy="887400"/>
                </a:xfrm>
                <a:custGeom>
                  <a:avLst/>
                  <a:gdLst>
                    <a:gd name="T0" fmla="*/ 0 w 572"/>
                    <a:gd name="T1" fmla="*/ 332 h 670"/>
                    <a:gd name="T2" fmla="*/ 11 w 572"/>
                    <a:gd name="T3" fmla="*/ 336 h 670"/>
                    <a:gd name="T4" fmla="*/ 15 w 572"/>
                    <a:gd name="T5" fmla="*/ 357 h 670"/>
                    <a:gd name="T6" fmla="*/ 24 w 572"/>
                    <a:gd name="T7" fmla="*/ 349 h 670"/>
                    <a:gd name="T8" fmla="*/ 32 w 572"/>
                    <a:gd name="T9" fmla="*/ 372 h 670"/>
                    <a:gd name="T10" fmla="*/ 30 w 572"/>
                    <a:gd name="T11" fmla="*/ 403 h 670"/>
                    <a:gd name="T12" fmla="*/ 21 w 572"/>
                    <a:gd name="T13" fmla="*/ 403 h 670"/>
                    <a:gd name="T14" fmla="*/ 24 w 572"/>
                    <a:gd name="T15" fmla="*/ 417 h 670"/>
                    <a:gd name="T16" fmla="*/ 16 w 572"/>
                    <a:gd name="T17" fmla="*/ 423 h 670"/>
                    <a:gd name="T18" fmla="*/ 39 w 572"/>
                    <a:gd name="T19" fmla="*/ 470 h 670"/>
                    <a:gd name="T20" fmla="*/ 33 w 572"/>
                    <a:gd name="T21" fmla="*/ 509 h 670"/>
                    <a:gd name="T22" fmla="*/ 31 w 572"/>
                    <a:gd name="T23" fmla="*/ 538 h 670"/>
                    <a:gd name="T24" fmla="*/ 12 w 572"/>
                    <a:gd name="T25" fmla="*/ 570 h 670"/>
                    <a:gd name="T26" fmla="*/ 10 w 572"/>
                    <a:gd name="T27" fmla="*/ 605 h 670"/>
                    <a:gd name="T28" fmla="*/ 28 w 572"/>
                    <a:gd name="T29" fmla="*/ 573 h 670"/>
                    <a:gd name="T30" fmla="*/ 47 w 572"/>
                    <a:gd name="T31" fmla="*/ 575 h 670"/>
                    <a:gd name="T32" fmla="*/ 55 w 572"/>
                    <a:gd name="T33" fmla="*/ 571 h 670"/>
                    <a:gd name="T34" fmla="*/ 78 w 572"/>
                    <a:gd name="T35" fmla="*/ 572 h 670"/>
                    <a:gd name="T36" fmla="*/ 78 w 572"/>
                    <a:gd name="T37" fmla="*/ 562 h 670"/>
                    <a:gd name="T38" fmla="*/ 91 w 572"/>
                    <a:gd name="T39" fmla="*/ 569 h 670"/>
                    <a:gd name="T40" fmla="*/ 115 w 572"/>
                    <a:gd name="T41" fmla="*/ 572 h 670"/>
                    <a:gd name="T42" fmla="*/ 136 w 572"/>
                    <a:gd name="T43" fmla="*/ 596 h 670"/>
                    <a:gd name="T44" fmla="*/ 157 w 572"/>
                    <a:gd name="T45" fmla="*/ 593 h 670"/>
                    <a:gd name="T46" fmla="*/ 165 w 572"/>
                    <a:gd name="T47" fmla="*/ 630 h 670"/>
                    <a:gd name="T48" fmla="*/ 179 w 572"/>
                    <a:gd name="T49" fmla="*/ 632 h 670"/>
                    <a:gd name="T50" fmla="*/ 182 w 572"/>
                    <a:gd name="T51" fmla="*/ 648 h 670"/>
                    <a:gd name="T52" fmla="*/ 199 w 572"/>
                    <a:gd name="T53" fmla="*/ 654 h 670"/>
                    <a:gd name="T54" fmla="*/ 208 w 572"/>
                    <a:gd name="T55" fmla="*/ 668 h 670"/>
                    <a:gd name="T56" fmla="*/ 228 w 572"/>
                    <a:gd name="T57" fmla="*/ 667 h 670"/>
                    <a:gd name="T58" fmla="*/ 232 w 572"/>
                    <a:gd name="T59" fmla="*/ 653 h 670"/>
                    <a:gd name="T60" fmla="*/ 247 w 572"/>
                    <a:gd name="T61" fmla="*/ 625 h 670"/>
                    <a:gd name="T62" fmla="*/ 272 w 572"/>
                    <a:gd name="T63" fmla="*/ 650 h 670"/>
                    <a:gd name="T64" fmla="*/ 282 w 572"/>
                    <a:gd name="T65" fmla="*/ 633 h 670"/>
                    <a:gd name="T66" fmla="*/ 304 w 572"/>
                    <a:gd name="T67" fmla="*/ 633 h 670"/>
                    <a:gd name="T68" fmla="*/ 310 w 572"/>
                    <a:gd name="T69" fmla="*/ 639 h 670"/>
                    <a:gd name="T70" fmla="*/ 335 w 572"/>
                    <a:gd name="T71" fmla="*/ 635 h 670"/>
                    <a:gd name="T72" fmla="*/ 345 w 572"/>
                    <a:gd name="T73" fmla="*/ 621 h 670"/>
                    <a:gd name="T74" fmla="*/ 349 w 572"/>
                    <a:gd name="T75" fmla="*/ 631 h 670"/>
                    <a:gd name="T76" fmla="*/ 526 w 572"/>
                    <a:gd name="T77" fmla="*/ 628 h 670"/>
                    <a:gd name="T78" fmla="*/ 531 w 572"/>
                    <a:gd name="T79" fmla="*/ 601 h 670"/>
                    <a:gd name="T80" fmla="*/ 536 w 572"/>
                    <a:gd name="T81" fmla="*/ 590 h 670"/>
                    <a:gd name="T82" fmla="*/ 522 w 572"/>
                    <a:gd name="T83" fmla="*/ 577 h 670"/>
                    <a:gd name="T84" fmla="*/ 491 w 572"/>
                    <a:gd name="T85" fmla="*/ 118 h 670"/>
                    <a:gd name="T86" fmla="*/ 572 w 572"/>
                    <a:gd name="T87" fmla="*/ 121 h 670"/>
                    <a:gd name="T88" fmla="*/ 399 w 572"/>
                    <a:gd name="T89" fmla="*/ 0 h 670"/>
                    <a:gd name="T90" fmla="*/ 397 w 572"/>
                    <a:gd name="T91" fmla="*/ 34 h 670"/>
                    <a:gd name="T92" fmla="*/ 392 w 572"/>
                    <a:gd name="T93" fmla="*/ 38 h 670"/>
                    <a:gd name="T94" fmla="*/ 391 w 572"/>
                    <a:gd name="T95" fmla="*/ 63 h 670"/>
                    <a:gd name="T96" fmla="*/ 243 w 572"/>
                    <a:gd name="T97" fmla="*/ 64 h 670"/>
                    <a:gd name="T98" fmla="*/ 243 w 572"/>
                    <a:gd name="T99" fmla="*/ 74 h 670"/>
                    <a:gd name="T100" fmla="*/ 238 w 572"/>
                    <a:gd name="T101" fmla="*/ 77 h 670"/>
                    <a:gd name="T102" fmla="*/ 235 w 572"/>
                    <a:gd name="T103" fmla="*/ 207 h 670"/>
                    <a:gd name="T104" fmla="*/ 208 w 572"/>
                    <a:gd name="T105" fmla="*/ 212 h 670"/>
                    <a:gd name="T106" fmla="*/ 189 w 572"/>
                    <a:gd name="T107" fmla="*/ 223 h 670"/>
                    <a:gd name="T108" fmla="*/ 187 w 572"/>
                    <a:gd name="T109" fmla="*/ 248 h 670"/>
                    <a:gd name="T110" fmla="*/ 186 w 572"/>
                    <a:gd name="T111" fmla="*/ 317 h 670"/>
                    <a:gd name="T112" fmla="*/ 0 w 572"/>
                    <a:gd name="T113" fmla="*/ 319 h 670"/>
                    <a:gd name="T114" fmla="*/ 0 w 572"/>
                    <a:gd name="T115" fmla="*/ 319 h 670"/>
                    <a:gd name="T116" fmla="*/ 0 w 572"/>
                    <a:gd name="T117" fmla="*/ 332 h 6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72" h="670">
                      <a:moveTo>
                        <a:pt x="0" y="332"/>
                      </a:moveTo>
                      <a:cubicBezTo>
                        <a:pt x="0" y="332"/>
                        <a:pt x="11" y="331"/>
                        <a:pt x="11" y="336"/>
                      </a:cubicBezTo>
                      <a:cubicBezTo>
                        <a:pt x="11" y="341"/>
                        <a:pt x="11" y="354"/>
                        <a:pt x="15" y="357"/>
                      </a:cubicBezTo>
                      <a:cubicBezTo>
                        <a:pt x="19" y="360"/>
                        <a:pt x="24" y="349"/>
                        <a:pt x="24" y="349"/>
                      </a:cubicBezTo>
                      <a:cubicBezTo>
                        <a:pt x="32" y="372"/>
                        <a:pt x="32" y="372"/>
                        <a:pt x="32" y="372"/>
                      </a:cubicBezTo>
                      <a:cubicBezTo>
                        <a:pt x="30" y="403"/>
                        <a:pt x="30" y="403"/>
                        <a:pt x="30" y="403"/>
                      </a:cubicBezTo>
                      <a:cubicBezTo>
                        <a:pt x="21" y="403"/>
                        <a:pt x="21" y="403"/>
                        <a:pt x="21" y="403"/>
                      </a:cubicBezTo>
                      <a:cubicBezTo>
                        <a:pt x="24" y="417"/>
                        <a:pt x="24" y="417"/>
                        <a:pt x="24" y="417"/>
                      </a:cubicBezTo>
                      <a:cubicBezTo>
                        <a:pt x="16" y="423"/>
                        <a:pt x="16" y="423"/>
                        <a:pt x="16" y="423"/>
                      </a:cubicBezTo>
                      <a:cubicBezTo>
                        <a:pt x="16" y="423"/>
                        <a:pt x="39" y="452"/>
                        <a:pt x="39" y="470"/>
                      </a:cubicBezTo>
                      <a:cubicBezTo>
                        <a:pt x="39" y="488"/>
                        <a:pt x="33" y="509"/>
                        <a:pt x="33" y="509"/>
                      </a:cubicBezTo>
                      <a:cubicBezTo>
                        <a:pt x="31" y="538"/>
                        <a:pt x="31" y="538"/>
                        <a:pt x="31" y="538"/>
                      </a:cubicBezTo>
                      <a:cubicBezTo>
                        <a:pt x="31" y="538"/>
                        <a:pt x="15" y="555"/>
                        <a:pt x="12" y="570"/>
                      </a:cubicBezTo>
                      <a:cubicBezTo>
                        <a:pt x="10" y="579"/>
                        <a:pt x="10" y="594"/>
                        <a:pt x="10" y="605"/>
                      </a:cubicBezTo>
                      <a:cubicBezTo>
                        <a:pt x="22" y="603"/>
                        <a:pt x="19" y="579"/>
                        <a:pt x="28" y="573"/>
                      </a:cubicBezTo>
                      <a:cubicBezTo>
                        <a:pt x="37" y="567"/>
                        <a:pt x="47" y="575"/>
                        <a:pt x="47" y="575"/>
                      </a:cubicBezTo>
                      <a:cubicBezTo>
                        <a:pt x="55" y="571"/>
                        <a:pt x="55" y="571"/>
                        <a:pt x="55" y="571"/>
                      </a:cubicBezTo>
                      <a:cubicBezTo>
                        <a:pt x="78" y="572"/>
                        <a:pt x="78" y="572"/>
                        <a:pt x="78" y="572"/>
                      </a:cubicBezTo>
                      <a:cubicBezTo>
                        <a:pt x="78" y="562"/>
                        <a:pt x="78" y="562"/>
                        <a:pt x="78" y="562"/>
                      </a:cubicBezTo>
                      <a:cubicBezTo>
                        <a:pt x="91" y="569"/>
                        <a:pt x="91" y="569"/>
                        <a:pt x="91" y="569"/>
                      </a:cubicBezTo>
                      <a:cubicBezTo>
                        <a:pt x="91" y="569"/>
                        <a:pt x="105" y="570"/>
                        <a:pt x="115" y="572"/>
                      </a:cubicBezTo>
                      <a:cubicBezTo>
                        <a:pt x="125" y="574"/>
                        <a:pt x="136" y="596"/>
                        <a:pt x="136" y="596"/>
                      </a:cubicBezTo>
                      <a:cubicBezTo>
                        <a:pt x="136" y="596"/>
                        <a:pt x="150" y="592"/>
                        <a:pt x="157" y="593"/>
                      </a:cubicBezTo>
                      <a:cubicBezTo>
                        <a:pt x="164" y="594"/>
                        <a:pt x="165" y="630"/>
                        <a:pt x="165" y="630"/>
                      </a:cubicBezTo>
                      <a:cubicBezTo>
                        <a:pt x="165" y="630"/>
                        <a:pt x="176" y="631"/>
                        <a:pt x="179" y="632"/>
                      </a:cubicBezTo>
                      <a:cubicBezTo>
                        <a:pt x="182" y="633"/>
                        <a:pt x="182" y="648"/>
                        <a:pt x="182" y="648"/>
                      </a:cubicBezTo>
                      <a:cubicBezTo>
                        <a:pt x="199" y="654"/>
                        <a:pt x="199" y="654"/>
                        <a:pt x="199" y="654"/>
                      </a:cubicBezTo>
                      <a:cubicBezTo>
                        <a:pt x="208" y="668"/>
                        <a:pt x="208" y="668"/>
                        <a:pt x="208" y="668"/>
                      </a:cubicBezTo>
                      <a:cubicBezTo>
                        <a:pt x="208" y="668"/>
                        <a:pt x="220" y="670"/>
                        <a:pt x="228" y="667"/>
                      </a:cubicBezTo>
                      <a:cubicBezTo>
                        <a:pt x="236" y="664"/>
                        <a:pt x="233" y="654"/>
                        <a:pt x="232" y="653"/>
                      </a:cubicBezTo>
                      <a:cubicBezTo>
                        <a:pt x="232" y="634"/>
                        <a:pt x="234" y="625"/>
                        <a:pt x="247" y="625"/>
                      </a:cubicBezTo>
                      <a:cubicBezTo>
                        <a:pt x="260" y="625"/>
                        <a:pt x="272" y="650"/>
                        <a:pt x="272" y="650"/>
                      </a:cubicBezTo>
                      <a:cubicBezTo>
                        <a:pt x="282" y="633"/>
                        <a:pt x="282" y="633"/>
                        <a:pt x="282" y="633"/>
                      </a:cubicBezTo>
                      <a:cubicBezTo>
                        <a:pt x="304" y="633"/>
                        <a:pt x="304" y="633"/>
                        <a:pt x="304" y="633"/>
                      </a:cubicBezTo>
                      <a:cubicBezTo>
                        <a:pt x="310" y="639"/>
                        <a:pt x="310" y="639"/>
                        <a:pt x="310" y="639"/>
                      </a:cubicBezTo>
                      <a:cubicBezTo>
                        <a:pt x="310" y="639"/>
                        <a:pt x="327" y="636"/>
                        <a:pt x="335" y="635"/>
                      </a:cubicBezTo>
                      <a:cubicBezTo>
                        <a:pt x="343" y="634"/>
                        <a:pt x="341" y="622"/>
                        <a:pt x="345" y="621"/>
                      </a:cubicBezTo>
                      <a:cubicBezTo>
                        <a:pt x="349" y="620"/>
                        <a:pt x="349" y="631"/>
                        <a:pt x="349" y="631"/>
                      </a:cubicBezTo>
                      <a:cubicBezTo>
                        <a:pt x="526" y="628"/>
                        <a:pt x="526" y="628"/>
                        <a:pt x="526" y="628"/>
                      </a:cubicBezTo>
                      <a:cubicBezTo>
                        <a:pt x="531" y="601"/>
                        <a:pt x="531" y="601"/>
                        <a:pt x="531" y="601"/>
                      </a:cubicBezTo>
                      <a:cubicBezTo>
                        <a:pt x="531" y="601"/>
                        <a:pt x="537" y="597"/>
                        <a:pt x="536" y="590"/>
                      </a:cubicBezTo>
                      <a:cubicBezTo>
                        <a:pt x="535" y="583"/>
                        <a:pt x="522" y="577"/>
                        <a:pt x="522" y="577"/>
                      </a:cubicBezTo>
                      <a:cubicBezTo>
                        <a:pt x="491" y="118"/>
                        <a:pt x="491" y="118"/>
                        <a:pt x="491" y="118"/>
                      </a:cubicBezTo>
                      <a:cubicBezTo>
                        <a:pt x="572" y="121"/>
                        <a:pt x="572" y="121"/>
                        <a:pt x="572" y="121"/>
                      </a:cubicBezTo>
                      <a:cubicBezTo>
                        <a:pt x="399" y="0"/>
                        <a:pt x="399" y="0"/>
                        <a:pt x="399" y="0"/>
                      </a:cubicBezTo>
                      <a:cubicBezTo>
                        <a:pt x="397" y="34"/>
                        <a:pt x="397" y="34"/>
                        <a:pt x="397" y="34"/>
                      </a:cubicBezTo>
                      <a:cubicBezTo>
                        <a:pt x="392" y="38"/>
                        <a:pt x="392" y="38"/>
                        <a:pt x="392" y="38"/>
                      </a:cubicBezTo>
                      <a:cubicBezTo>
                        <a:pt x="391" y="63"/>
                        <a:pt x="391" y="63"/>
                        <a:pt x="391" y="63"/>
                      </a:cubicBezTo>
                      <a:cubicBezTo>
                        <a:pt x="243" y="64"/>
                        <a:pt x="243" y="64"/>
                        <a:pt x="243" y="64"/>
                      </a:cubicBezTo>
                      <a:cubicBezTo>
                        <a:pt x="243" y="74"/>
                        <a:pt x="243" y="74"/>
                        <a:pt x="243" y="74"/>
                      </a:cubicBezTo>
                      <a:cubicBezTo>
                        <a:pt x="238" y="77"/>
                        <a:pt x="238" y="77"/>
                        <a:pt x="238" y="77"/>
                      </a:cubicBezTo>
                      <a:cubicBezTo>
                        <a:pt x="238" y="77"/>
                        <a:pt x="237" y="201"/>
                        <a:pt x="235" y="207"/>
                      </a:cubicBezTo>
                      <a:cubicBezTo>
                        <a:pt x="233" y="213"/>
                        <a:pt x="208" y="212"/>
                        <a:pt x="208" y="212"/>
                      </a:cubicBezTo>
                      <a:cubicBezTo>
                        <a:pt x="208" y="212"/>
                        <a:pt x="200" y="213"/>
                        <a:pt x="189" y="223"/>
                      </a:cubicBezTo>
                      <a:cubicBezTo>
                        <a:pt x="178" y="233"/>
                        <a:pt x="187" y="248"/>
                        <a:pt x="187" y="248"/>
                      </a:cubicBezTo>
                      <a:cubicBezTo>
                        <a:pt x="186" y="317"/>
                        <a:pt x="186" y="317"/>
                        <a:pt x="186" y="317"/>
                      </a:cubicBezTo>
                      <a:cubicBezTo>
                        <a:pt x="0" y="319"/>
                        <a:pt x="0" y="319"/>
                        <a:pt x="0" y="319"/>
                      </a:cubicBezTo>
                      <a:cubicBezTo>
                        <a:pt x="0" y="319"/>
                        <a:pt x="0" y="319"/>
                        <a:pt x="0" y="319"/>
                      </a:cubicBezTo>
                      <a:cubicBezTo>
                        <a:pt x="0" y="326"/>
                        <a:pt x="0" y="332"/>
                        <a:pt x="0" y="33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1" name="Mali">
                  <a:extLst>
                    <a:ext uri="{FF2B5EF4-FFF2-40B4-BE49-F238E27FC236}">
                      <a16:creationId xmlns:a16="http://schemas.microsoft.com/office/drawing/2014/main" id="{F1B17CF6-4E2B-4539-65F0-EF4748CB955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04447" y="2271113"/>
                  <a:ext cx="1293675" cy="1060370"/>
                </a:xfrm>
                <a:custGeom>
                  <a:avLst/>
                  <a:gdLst>
                    <a:gd name="T0" fmla="*/ 424 w 778"/>
                    <a:gd name="T1" fmla="*/ 631 h 800"/>
                    <a:gd name="T2" fmla="*/ 437 w 778"/>
                    <a:gd name="T3" fmla="*/ 607 h 800"/>
                    <a:gd name="T4" fmla="*/ 481 w 778"/>
                    <a:gd name="T5" fmla="*/ 585 h 800"/>
                    <a:gd name="T6" fmla="*/ 502 w 778"/>
                    <a:gd name="T7" fmla="*/ 563 h 800"/>
                    <a:gd name="T8" fmla="*/ 527 w 778"/>
                    <a:gd name="T9" fmla="*/ 547 h 800"/>
                    <a:gd name="T10" fmla="*/ 572 w 778"/>
                    <a:gd name="T11" fmla="*/ 537 h 800"/>
                    <a:gd name="T12" fmla="*/ 620 w 778"/>
                    <a:gd name="T13" fmla="*/ 537 h 800"/>
                    <a:gd name="T14" fmla="*/ 680 w 778"/>
                    <a:gd name="T15" fmla="*/ 526 h 800"/>
                    <a:gd name="T16" fmla="*/ 712 w 778"/>
                    <a:gd name="T17" fmla="*/ 519 h 800"/>
                    <a:gd name="T18" fmla="*/ 748 w 778"/>
                    <a:gd name="T19" fmla="*/ 509 h 800"/>
                    <a:gd name="T20" fmla="*/ 778 w 778"/>
                    <a:gd name="T21" fmla="*/ 454 h 800"/>
                    <a:gd name="T22" fmla="*/ 766 w 778"/>
                    <a:gd name="T23" fmla="*/ 320 h 800"/>
                    <a:gd name="T24" fmla="*/ 738 w 778"/>
                    <a:gd name="T25" fmla="*/ 300 h 800"/>
                    <a:gd name="T26" fmla="*/ 694 w 778"/>
                    <a:gd name="T27" fmla="*/ 270 h 800"/>
                    <a:gd name="T28" fmla="*/ 666 w 778"/>
                    <a:gd name="T29" fmla="*/ 251 h 800"/>
                    <a:gd name="T30" fmla="*/ 637 w 778"/>
                    <a:gd name="T31" fmla="*/ 229 h 800"/>
                    <a:gd name="T32" fmla="*/ 364 w 778"/>
                    <a:gd name="T33" fmla="*/ 3 h 800"/>
                    <a:gd name="T34" fmla="*/ 314 w 778"/>
                    <a:gd name="T35" fmla="*/ 459 h 800"/>
                    <a:gd name="T36" fmla="*/ 323 w 778"/>
                    <a:gd name="T37" fmla="*/ 483 h 800"/>
                    <a:gd name="T38" fmla="*/ 141 w 778"/>
                    <a:gd name="T39" fmla="*/ 513 h 800"/>
                    <a:gd name="T40" fmla="*/ 127 w 778"/>
                    <a:gd name="T41" fmla="*/ 517 h 800"/>
                    <a:gd name="T42" fmla="*/ 96 w 778"/>
                    <a:gd name="T43" fmla="*/ 515 h 800"/>
                    <a:gd name="T44" fmla="*/ 64 w 778"/>
                    <a:gd name="T45" fmla="*/ 532 h 800"/>
                    <a:gd name="T46" fmla="*/ 24 w 778"/>
                    <a:gd name="T47" fmla="*/ 535 h 800"/>
                    <a:gd name="T48" fmla="*/ 0 w 778"/>
                    <a:gd name="T49" fmla="*/ 550 h 800"/>
                    <a:gd name="T50" fmla="*/ 9 w 778"/>
                    <a:gd name="T51" fmla="*/ 578 h 800"/>
                    <a:gd name="T52" fmla="*/ 14 w 778"/>
                    <a:gd name="T53" fmla="*/ 623 h 800"/>
                    <a:gd name="T54" fmla="*/ 37 w 778"/>
                    <a:gd name="T55" fmla="*/ 644 h 800"/>
                    <a:gd name="T56" fmla="*/ 44 w 778"/>
                    <a:gd name="T57" fmla="*/ 703 h 800"/>
                    <a:gd name="T58" fmla="*/ 73 w 778"/>
                    <a:gd name="T59" fmla="*/ 706 h 800"/>
                    <a:gd name="T60" fmla="*/ 119 w 778"/>
                    <a:gd name="T61" fmla="*/ 698 h 800"/>
                    <a:gd name="T62" fmla="*/ 145 w 778"/>
                    <a:gd name="T63" fmla="*/ 673 h 800"/>
                    <a:gd name="T64" fmla="*/ 163 w 778"/>
                    <a:gd name="T65" fmla="*/ 697 h 800"/>
                    <a:gd name="T66" fmla="*/ 180 w 778"/>
                    <a:gd name="T67" fmla="*/ 730 h 800"/>
                    <a:gd name="T68" fmla="*/ 182 w 778"/>
                    <a:gd name="T69" fmla="*/ 752 h 800"/>
                    <a:gd name="T70" fmla="*/ 201 w 778"/>
                    <a:gd name="T71" fmla="*/ 796 h 800"/>
                    <a:gd name="T72" fmla="*/ 220 w 778"/>
                    <a:gd name="T73" fmla="*/ 784 h 800"/>
                    <a:gd name="T74" fmla="*/ 250 w 778"/>
                    <a:gd name="T75" fmla="*/ 788 h 800"/>
                    <a:gd name="T76" fmla="*/ 264 w 778"/>
                    <a:gd name="T77" fmla="*/ 770 h 800"/>
                    <a:gd name="T78" fmla="*/ 281 w 778"/>
                    <a:gd name="T79" fmla="*/ 769 h 800"/>
                    <a:gd name="T80" fmla="*/ 296 w 778"/>
                    <a:gd name="T81" fmla="*/ 795 h 800"/>
                    <a:gd name="T82" fmla="*/ 312 w 778"/>
                    <a:gd name="T83" fmla="*/ 744 h 800"/>
                    <a:gd name="T84" fmla="*/ 335 w 778"/>
                    <a:gd name="T85" fmla="*/ 729 h 800"/>
                    <a:gd name="T86" fmla="*/ 333 w 778"/>
                    <a:gd name="T87" fmla="*/ 700 h 800"/>
                    <a:gd name="T88" fmla="*/ 359 w 778"/>
                    <a:gd name="T89" fmla="*/ 685 h 800"/>
                    <a:gd name="T90" fmla="*/ 367 w 778"/>
                    <a:gd name="T91" fmla="*/ 659 h 800"/>
                    <a:gd name="T92" fmla="*/ 375 w 778"/>
                    <a:gd name="T93" fmla="*/ 637 h 800"/>
                    <a:gd name="T94" fmla="*/ 409 w 778"/>
                    <a:gd name="T95" fmla="*/ 636 h 8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78" h="800">
                      <a:moveTo>
                        <a:pt x="409" y="636"/>
                      </a:moveTo>
                      <a:cubicBezTo>
                        <a:pt x="424" y="631"/>
                        <a:pt x="424" y="631"/>
                        <a:pt x="424" y="631"/>
                      </a:cubicBezTo>
                      <a:cubicBezTo>
                        <a:pt x="424" y="607"/>
                        <a:pt x="424" y="607"/>
                        <a:pt x="424" y="607"/>
                      </a:cubicBezTo>
                      <a:cubicBezTo>
                        <a:pt x="437" y="607"/>
                        <a:pt x="437" y="607"/>
                        <a:pt x="437" y="607"/>
                      </a:cubicBezTo>
                      <a:cubicBezTo>
                        <a:pt x="437" y="607"/>
                        <a:pt x="454" y="578"/>
                        <a:pt x="460" y="576"/>
                      </a:cubicBezTo>
                      <a:cubicBezTo>
                        <a:pt x="466" y="574"/>
                        <a:pt x="478" y="586"/>
                        <a:pt x="481" y="585"/>
                      </a:cubicBezTo>
                      <a:cubicBezTo>
                        <a:pt x="484" y="584"/>
                        <a:pt x="485" y="563"/>
                        <a:pt x="485" y="563"/>
                      </a:cubicBezTo>
                      <a:cubicBezTo>
                        <a:pt x="502" y="563"/>
                        <a:pt x="502" y="563"/>
                        <a:pt x="502" y="563"/>
                      </a:cubicBezTo>
                      <a:cubicBezTo>
                        <a:pt x="513" y="549"/>
                        <a:pt x="513" y="549"/>
                        <a:pt x="513" y="549"/>
                      </a:cubicBezTo>
                      <a:cubicBezTo>
                        <a:pt x="513" y="549"/>
                        <a:pt x="517" y="551"/>
                        <a:pt x="527" y="547"/>
                      </a:cubicBezTo>
                      <a:cubicBezTo>
                        <a:pt x="537" y="543"/>
                        <a:pt x="539" y="535"/>
                        <a:pt x="539" y="535"/>
                      </a:cubicBezTo>
                      <a:cubicBezTo>
                        <a:pt x="572" y="537"/>
                        <a:pt x="572" y="537"/>
                        <a:pt x="572" y="537"/>
                      </a:cubicBezTo>
                      <a:cubicBezTo>
                        <a:pt x="588" y="544"/>
                        <a:pt x="588" y="544"/>
                        <a:pt x="588" y="544"/>
                      </a:cubicBezTo>
                      <a:cubicBezTo>
                        <a:pt x="620" y="537"/>
                        <a:pt x="620" y="537"/>
                        <a:pt x="620" y="537"/>
                      </a:cubicBezTo>
                      <a:cubicBezTo>
                        <a:pt x="638" y="525"/>
                        <a:pt x="638" y="525"/>
                        <a:pt x="638" y="525"/>
                      </a:cubicBezTo>
                      <a:cubicBezTo>
                        <a:pt x="680" y="526"/>
                        <a:pt x="680" y="526"/>
                        <a:pt x="680" y="526"/>
                      </a:cubicBezTo>
                      <a:cubicBezTo>
                        <a:pt x="681" y="517"/>
                        <a:pt x="681" y="517"/>
                        <a:pt x="681" y="517"/>
                      </a:cubicBezTo>
                      <a:cubicBezTo>
                        <a:pt x="712" y="519"/>
                        <a:pt x="712" y="519"/>
                        <a:pt x="712" y="519"/>
                      </a:cubicBezTo>
                      <a:cubicBezTo>
                        <a:pt x="719" y="514"/>
                        <a:pt x="719" y="514"/>
                        <a:pt x="719" y="514"/>
                      </a:cubicBezTo>
                      <a:cubicBezTo>
                        <a:pt x="719" y="514"/>
                        <a:pt x="726" y="520"/>
                        <a:pt x="748" y="509"/>
                      </a:cubicBezTo>
                      <a:cubicBezTo>
                        <a:pt x="763" y="502"/>
                        <a:pt x="763" y="469"/>
                        <a:pt x="763" y="469"/>
                      </a:cubicBezTo>
                      <a:cubicBezTo>
                        <a:pt x="778" y="454"/>
                        <a:pt x="778" y="454"/>
                        <a:pt x="778" y="454"/>
                      </a:cubicBezTo>
                      <a:cubicBezTo>
                        <a:pt x="778" y="317"/>
                        <a:pt x="778" y="317"/>
                        <a:pt x="778" y="317"/>
                      </a:cubicBezTo>
                      <a:cubicBezTo>
                        <a:pt x="771" y="319"/>
                        <a:pt x="766" y="320"/>
                        <a:pt x="766" y="320"/>
                      </a:cubicBezTo>
                      <a:cubicBezTo>
                        <a:pt x="766" y="320"/>
                        <a:pt x="744" y="328"/>
                        <a:pt x="729" y="321"/>
                      </a:cubicBezTo>
                      <a:cubicBezTo>
                        <a:pt x="714" y="314"/>
                        <a:pt x="738" y="300"/>
                        <a:pt x="738" y="300"/>
                      </a:cubicBezTo>
                      <a:cubicBezTo>
                        <a:pt x="738" y="300"/>
                        <a:pt x="737" y="280"/>
                        <a:pt x="727" y="272"/>
                      </a:cubicBezTo>
                      <a:cubicBezTo>
                        <a:pt x="717" y="264"/>
                        <a:pt x="694" y="270"/>
                        <a:pt x="694" y="270"/>
                      </a:cubicBezTo>
                      <a:cubicBezTo>
                        <a:pt x="689" y="252"/>
                        <a:pt x="689" y="252"/>
                        <a:pt x="689" y="252"/>
                      </a:cubicBezTo>
                      <a:cubicBezTo>
                        <a:pt x="689" y="252"/>
                        <a:pt x="676" y="254"/>
                        <a:pt x="666" y="251"/>
                      </a:cubicBezTo>
                      <a:cubicBezTo>
                        <a:pt x="656" y="248"/>
                        <a:pt x="658" y="241"/>
                        <a:pt x="656" y="233"/>
                      </a:cubicBezTo>
                      <a:cubicBezTo>
                        <a:pt x="654" y="225"/>
                        <a:pt x="637" y="229"/>
                        <a:pt x="637" y="229"/>
                      </a:cubicBezTo>
                      <a:cubicBezTo>
                        <a:pt x="638" y="212"/>
                        <a:pt x="638" y="212"/>
                        <a:pt x="638" y="212"/>
                      </a:cubicBezTo>
                      <a:cubicBezTo>
                        <a:pt x="364" y="3"/>
                        <a:pt x="364" y="3"/>
                        <a:pt x="364" y="3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314" y="459"/>
                        <a:pt x="314" y="459"/>
                        <a:pt x="314" y="459"/>
                      </a:cubicBezTo>
                      <a:cubicBezTo>
                        <a:pt x="314" y="459"/>
                        <a:pt x="327" y="465"/>
                        <a:pt x="328" y="472"/>
                      </a:cubicBezTo>
                      <a:cubicBezTo>
                        <a:pt x="329" y="479"/>
                        <a:pt x="323" y="483"/>
                        <a:pt x="323" y="483"/>
                      </a:cubicBezTo>
                      <a:cubicBezTo>
                        <a:pt x="318" y="510"/>
                        <a:pt x="318" y="510"/>
                        <a:pt x="318" y="510"/>
                      </a:cubicBezTo>
                      <a:cubicBezTo>
                        <a:pt x="141" y="513"/>
                        <a:pt x="141" y="513"/>
                        <a:pt x="141" y="513"/>
                      </a:cubicBezTo>
                      <a:cubicBezTo>
                        <a:pt x="141" y="513"/>
                        <a:pt x="141" y="502"/>
                        <a:pt x="137" y="503"/>
                      </a:cubicBezTo>
                      <a:cubicBezTo>
                        <a:pt x="133" y="504"/>
                        <a:pt x="135" y="516"/>
                        <a:pt x="127" y="517"/>
                      </a:cubicBezTo>
                      <a:cubicBezTo>
                        <a:pt x="119" y="518"/>
                        <a:pt x="102" y="521"/>
                        <a:pt x="102" y="521"/>
                      </a:cubicBezTo>
                      <a:cubicBezTo>
                        <a:pt x="96" y="515"/>
                        <a:pt x="96" y="515"/>
                        <a:pt x="96" y="515"/>
                      </a:cubicBezTo>
                      <a:cubicBezTo>
                        <a:pt x="74" y="515"/>
                        <a:pt x="74" y="515"/>
                        <a:pt x="74" y="515"/>
                      </a:cubicBezTo>
                      <a:cubicBezTo>
                        <a:pt x="64" y="532"/>
                        <a:pt x="64" y="532"/>
                        <a:pt x="64" y="532"/>
                      </a:cubicBezTo>
                      <a:cubicBezTo>
                        <a:pt x="64" y="532"/>
                        <a:pt x="52" y="507"/>
                        <a:pt x="39" y="507"/>
                      </a:cubicBezTo>
                      <a:cubicBezTo>
                        <a:pt x="26" y="507"/>
                        <a:pt x="24" y="516"/>
                        <a:pt x="24" y="535"/>
                      </a:cubicBezTo>
                      <a:cubicBezTo>
                        <a:pt x="25" y="536"/>
                        <a:pt x="28" y="546"/>
                        <a:pt x="20" y="549"/>
                      </a:cubicBezTo>
                      <a:cubicBezTo>
                        <a:pt x="12" y="552"/>
                        <a:pt x="0" y="550"/>
                        <a:pt x="0" y="550"/>
                      </a:cubicBezTo>
                      <a:cubicBezTo>
                        <a:pt x="1" y="568"/>
                        <a:pt x="1" y="568"/>
                        <a:pt x="1" y="568"/>
                      </a:cubicBezTo>
                      <a:cubicBezTo>
                        <a:pt x="9" y="578"/>
                        <a:pt x="9" y="578"/>
                        <a:pt x="9" y="578"/>
                      </a:cubicBezTo>
                      <a:cubicBezTo>
                        <a:pt x="9" y="578"/>
                        <a:pt x="21" y="600"/>
                        <a:pt x="16" y="604"/>
                      </a:cubicBezTo>
                      <a:cubicBezTo>
                        <a:pt x="11" y="608"/>
                        <a:pt x="7" y="612"/>
                        <a:pt x="14" y="623"/>
                      </a:cubicBezTo>
                      <a:cubicBezTo>
                        <a:pt x="21" y="634"/>
                        <a:pt x="25" y="622"/>
                        <a:pt x="30" y="625"/>
                      </a:cubicBezTo>
                      <a:cubicBezTo>
                        <a:pt x="35" y="628"/>
                        <a:pt x="37" y="644"/>
                        <a:pt x="37" y="644"/>
                      </a:cubicBezTo>
                      <a:cubicBezTo>
                        <a:pt x="36" y="678"/>
                        <a:pt x="36" y="678"/>
                        <a:pt x="36" y="678"/>
                      </a:cubicBezTo>
                      <a:cubicBezTo>
                        <a:pt x="36" y="678"/>
                        <a:pt x="40" y="705"/>
                        <a:pt x="44" y="703"/>
                      </a:cubicBezTo>
                      <a:cubicBezTo>
                        <a:pt x="48" y="701"/>
                        <a:pt x="52" y="685"/>
                        <a:pt x="61" y="685"/>
                      </a:cubicBezTo>
                      <a:cubicBezTo>
                        <a:pt x="70" y="685"/>
                        <a:pt x="73" y="706"/>
                        <a:pt x="73" y="706"/>
                      </a:cubicBezTo>
                      <a:cubicBezTo>
                        <a:pt x="73" y="706"/>
                        <a:pt x="87" y="683"/>
                        <a:pt x="92" y="685"/>
                      </a:cubicBezTo>
                      <a:cubicBezTo>
                        <a:pt x="97" y="687"/>
                        <a:pt x="119" y="698"/>
                        <a:pt x="119" y="698"/>
                      </a:cubicBezTo>
                      <a:cubicBezTo>
                        <a:pt x="131" y="689"/>
                        <a:pt x="131" y="689"/>
                        <a:pt x="131" y="689"/>
                      </a:cubicBezTo>
                      <a:cubicBezTo>
                        <a:pt x="131" y="689"/>
                        <a:pt x="129" y="665"/>
                        <a:pt x="145" y="673"/>
                      </a:cubicBezTo>
                      <a:cubicBezTo>
                        <a:pt x="161" y="681"/>
                        <a:pt x="154" y="688"/>
                        <a:pt x="154" y="688"/>
                      </a:cubicBezTo>
                      <a:cubicBezTo>
                        <a:pt x="163" y="697"/>
                        <a:pt x="163" y="697"/>
                        <a:pt x="163" y="697"/>
                      </a:cubicBezTo>
                      <a:cubicBezTo>
                        <a:pt x="157" y="714"/>
                        <a:pt x="157" y="714"/>
                        <a:pt x="157" y="714"/>
                      </a:cubicBezTo>
                      <a:cubicBezTo>
                        <a:pt x="180" y="730"/>
                        <a:pt x="180" y="730"/>
                        <a:pt x="180" y="730"/>
                      </a:cubicBezTo>
                      <a:cubicBezTo>
                        <a:pt x="163" y="753"/>
                        <a:pt x="163" y="753"/>
                        <a:pt x="163" y="753"/>
                      </a:cubicBezTo>
                      <a:cubicBezTo>
                        <a:pt x="182" y="752"/>
                        <a:pt x="182" y="752"/>
                        <a:pt x="182" y="752"/>
                      </a:cubicBezTo>
                      <a:cubicBezTo>
                        <a:pt x="182" y="777"/>
                        <a:pt x="182" y="777"/>
                        <a:pt x="182" y="777"/>
                      </a:cubicBezTo>
                      <a:cubicBezTo>
                        <a:pt x="201" y="796"/>
                        <a:pt x="201" y="796"/>
                        <a:pt x="201" y="796"/>
                      </a:cubicBezTo>
                      <a:cubicBezTo>
                        <a:pt x="207" y="799"/>
                        <a:pt x="207" y="799"/>
                        <a:pt x="207" y="799"/>
                      </a:cubicBezTo>
                      <a:cubicBezTo>
                        <a:pt x="207" y="799"/>
                        <a:pt x="204" y="782"/>
                        <a:pt x="220" y="784"/>
                      </a:cubicBezTo>
                      <a:cubicBezTo>
                        <a:pt x="236" y="786"/>
                        <a:pt x="246" y="800"/>
                        <a:pt x="246" y="800"/>
                      </a:cubicBezTo>
                      <a:cubicBezTo>
                        <a:pt x="250" y="788"/>
                        <a:pt x="250" y="788"/>
                        <a:pt x="250" y="788"/>
                      </a:cubicBezTo>
                      <a:cubicBezTo>
                        <a:pt x="260" y="788"/>
                        <a:pt x="260" y="788"/>
                        <a:pt x="260" y="788"/>
                      </a:cubicBezTo>
                      <a:cubicBezTo>
                        <a:pt x="264" y="770"/>
                        <a:pt x="264" y="770"/>
                        <a:pt x="264" y="770"/>
                      </a:cubicBezTo>
                      <a:cubicBezTo>
                        <a:pt x="273" y="782"/>
                        <a:pt x="273" y="782"/>
                        <a:pt x="273" y="782"/>
                      </a:cubicBezTo>
                      <a:cubicBezTo>
                        <a:pt x="281" y="769"/>
                        <a:pt x="281" y="769"/>
                        <a:pt x="281" y="769"/>
                      </a:cubicBezTo>
                      <a:cubicBezTo>
                        <a:pt x="281" y="793"/>
                        <a:pt x="281" y="793"/>
                        <a:pt x="281" y="793"/>
                      </a:cubicBezTo>
                      <a:cubicBezTo>
                        <a:pt x="296" y="795"/>
                        <a:pt x="296" y="795"/>
                        <a:pt x="296" y="795"/>
                      </a:cubicBezTo>
                      <a:cubicBezTo>
                        <a:pt x="296" y="795"/>
                        <a:pt x="300" y="781"/>
                        <a:pt x="315" y="781"/>
                      </a:cubicBezTo>
                      <a:cubicBezTo>
                        <a:pt x="312" y="744"/>
                        <a:pt x="312" y="744"/>
                        <a:pt x="312" y="744"/>
                      </a:cubicBezTo>
                      <a:cubicBezTo>
                        <a:pt x="327" y="744"/>
                        <a:pt x="327" y="744"/>
                        <a:pt x="327" y="744"/>
                      </a:cubicBezTo>
                      <a:cubicBezTo>
                        <a:pt x="335" y="729"/>
                        <a:pt x="335" y="729"/>
                        <a:pt x="335" y="729"/>
                      </a:cubicBezTo>
                      <a:cubicBezTo>
                        <a:pt x="320" y="708"/>
                        <a:pt x="320" y="708"/>
                        <a:pt x="320" y="708"/>
                      </a:cubicBezTo>
                      <a:cubicBezTo>
                        <a:pt x="333" y="700"/>
                        <a:pt x="333" y="700"/>
                        <a:pt x="333" y="700"/>
                      </a:cubicBezTo>
                      <a:cubicBezTo>
                        <a:pt x="333" y="700"/>
                        <a:pt x="348" y="697"/>
                        <a:pt x="360" y="696"/>
                      </a:cubicBezTo>
                      <a:cubicBezTo>
                        <a:pt x="372" y="695"/>
                        <a:pt x="359" y="685"/>
                        <a:pt x="359" y="685"/>
                      </a:cubicBezTo>
                      <a:cubicBezTo>
                        <a:pt x="359" y="685"/>
                        <a:pt x="366" y="684"/>
                        <a:pt x="369" y="680"/>
                      </a:cubicBezTo>
                      <a:cubicBezTo>
                        <a:pt x="372" y="676"/>
                        <a:pt x="367" y="659"/>
                        <a:pt x="367" y="659"/>
                      </a:cubicBezTo>
                      <a:cubicBezTo>
                        <a:pt x="367" y="659"/>
                        <a:pt x="379" y="661"/>
                        <a:pt x="381" y="656"/>
                      </a:cubicBezTo>
                      <a:cubicBezTo>
                        <a:pt x="383" y="651"/>
                        <a:pt x="375" y="637"/>
                        <a:pt x="375" y="637"/>
                      </a:cubicBezTo>
                      <a:cubicBezTo>
                        <a:pt x="388" y="617"/>
                        <a:pt x="388" y="617"/>
                        <a:pt x="388" y="617"/>
                      </a:cubicBezTo>
                      <a:lnTo>
                        <a:pt x="409" y="63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2" name="Malawi">
                  <a:extLst>
                    <a:ext uri="{FF2B5EF4-FFF2-40B4-BE49-F238E27FC236}">
                      <a16:creationId xmlns:a16="http://schemas.microsoft.com/office/drawing/2014/main" id="{AF8BCBAC-D788-A513-A2BE-7F68429B63F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313829" y="4726508"/>
                  <a:ext cx="268142" cy="552747"/>
                </a:xfrm>
                <a:custGeom>
                  <a:avLst/>
                  <a:gdLst>
                    <a:gd name="T0" fmla="*/ 156 w 162"/>
                    <a:gd name="T1" fmla="*/ 287 h 416"/>
                    <a:gd name="T2" fmla="*/ 136 w 162"/>
                    <a:gd name="T3" fmla="*/ 260 h 416"/>
                    <a:gd name="T4" fmla="*/ 110 w 162"/>
                    <a:gd name="T5" fmla="*/ 222 h 416"/>
                    <a:gd name="T6" fmla="*/ 101 w 162"/>
                    <a:gd name="T7" fmla="*/ 220 h 416"/>
                    <a:gd name="T8" fmla="*/ 105 w 162"/>
                    <a:gd name="T9" fmla="*/ 229 h 416"/>
                    <a:gd name="T10" fmla="*/ 114 w 162"/>
                    <a:gd name="T11" fmla="*/ 237 h 416"/>
                    <a:gd name="T12" fmla="*/ 113 w 162"/>
                    <a:gd name="T13" fmla="*/ 264 h 416"/>
                    <a:gd name="T14" fmla="*/ 105 w 162"/>
                    <a:gd name="T15" fmla="*/ 253 h 416"/>
                    <a:gd name="T16" fmla="*/ 90 w 162"/>
                    <a:gd name="T17" fmla="*/ 257 h 416"/>
                    <a:gd name="T18" fmla="*/ 86 w 162"/>
                    <a:gd name="T19" fmla="*/ 234 h 416"/>
                    <a:gd name="T20" fmla="*/ 81 w 162"/>
                    <a:gd name="T21" fmla="*/ 220 h 416"/>
                    <a:gd name="T22" fmla="*/ 81 w 162"/>
                    <a:gd name="T23" fmla="*/ 195 h 416"/>
                    <a:gd name="T24" fmla="*/ 64 w 162"/>
                    <a:gd name="T25" fmla="*/ 171 h 416"/>
                    <a:gd name="T26" fmla="*/ 59 w 162"/>
                    <a:gd name="T27" fmla="*/ 154 h 416"/>
                    <a:gd name="T28" fmla="*/ 77 w 162"/>
                    <a:gd name="T29" fmla="*/ 126 h 416"/>
                    <a:gd name="T30" fmla="*/ 84 w 162"/>
                    <a:gd name="T31" fmla="*/ 108 h 416"/>
                    <a:gd name="T32" fmla="*/ 81 w 162"/>
                    <a:gd name="T33" fmla="*/ 90 h 416"/>
                    <a:gd name="T34" fmla="*/ 78 w 162"/>
                    <a:gd name="T35" fmla="*/ 51 h 416"/>
                    <a:gd name="T36" fmla="*/ 64 w 162"/>
                    <a:gd name="T37" fmla="*/ 37 h 416"/>
                    <a:gd name="T38" fmla="*/ 60 w 162"/>
                    <a:gd name="T39" fmla="*/ 10 h 416"/>
                    <a:gd name="T40" fmla="*/ 41 w 162"/>
                    <a:gd name="T41" fmla="*/ 10 h 416"/>
                    <a:gd name="T42" fmla="*/ 35 w 162"/>
                    <a:gd name="T43" fmla="*/ 0 h 416"/>
                    <a:gd name="T44" fmla="*/ 20 w 162"/>
                    <a:gd name="T45" fmla="*/ 1 h 416"/>
                    <a:gd name="T46" fmla="*/ 20 w 162"/>
                    <a:gd name="T47" fmla="*/ 9 h 416"/>
                    <a:gd name="T48" fmla="*/ 35 w 162"/>
                    <a:gd name="T49" fmla="*/ 16 h 416"/>
                    <a:gd name="T50" fmla="*/ 37 w 162"/>
                    <a:gd name="T51" fmla="*/ 42 h 416"/>
                    <a:gd name="T52" fmla="*/ 46 w 162"/>
                    <a:gd name="T53" fmla="*/ 41 h 416"/>
                    <a:gd name="T54" fmla="*/ 46 w 162"/>
                    <a:gd name="T55" fmla="*/ 54 h 416"/>
                    <a:gd name="T56" fmla="*/ 52 w 162"/>
                    <a:gd name="T57" fmla="*/ 64 h 416"/>
                    <a:gd name="T58" fmla="*/ 30 w 162"/>
                    <a:gd name="T59" fmla="*/ 75 h 416"/>
                    <a:gd name="T60" fmla="*/ 30 w 162"/>
                    <a:gd name="T61" fmla="*/ 86 h 416"/>
                    <a:gd name="T62" fmla="*/ 37 w 162"/>
                    <a:gd name="T63" fmla="*/ 92 h 416"/>
                    <a:gd name="T64" fmla="*/ 33 w 162"/>
                    <a:gd name="T65" fmla="*/ 105 h 416"/>
                    <a:gd name="T66" fmla="*/ 34 w 162"/>
                    <a:gd name="T67" fmla="*/ 153 h 416"/>
                    <a:gd name="T68" fmla="*/ 42 w 162"/>
                    <a:gd name="T69" fmla="*/ 157 h 416"/>
                    <a:gd name="T70" fmla="*/ 14 w 162"/>
                    <a:gd name="T71" fmla="*/ 175 h 416"/>
                    <a:gd name="T72" fmla="*/ 16 w 162"/>
                    <a:gd name="T73" fmla="*/ 200 h 416"/>
                    <a:gd name="T74" fmla="*/ 1 w 162"/>
                    <a:gd name="T75" fmla="*/ 226 h 416"/>
                    <a:gd name="T76" fmla="*/ 23 w 162"/>
                    <a:gd name="T77" fmla="*/ 245 h 416"/>
                    <a:gd name="T78" fmla="*/ 44 w 162"/>
                    <a:gd name="T79" fmla="*/ 277 h 416"/>
                    <a:gd name="T80" fmla="*/ 64 w 162"/>
                    <a:gd name="T81" fmla="*/ 274 h 416"/>
                    <a:gd name="T82" fmla="*/ 80 w 162"/>
                    <a:gd name="T83" fmla="*/ 270 h 416"/>
                    <a:gd name="T84" fmla="*/ 83 w 162"/>
                    <a:gd name="T85" fmla="*/ 290 h 416"/>
                    <a:gd name="T86" fmla="*/ 88 w 162"/>
                    <a:gd name="T87" fmla="*/ 298 h 416"/>
                    <a:gd name="T88" fmla="*/ 85 w 162"/>
                    <a:gd name="T89" fmla="*/ 319 h 416"/>
                    <a:gd name="T90" fmla="*/ 75 w 162"/>
                    <a:gd name="T91" fmla="*/ 322 h 416"/>
                    <a:gd name="T92" fmla="*/ 83 w 162"/>
                    <a:gd name="T93" fmla="*/ 335 h 416"/>
                    <a:gd name="T94" fmla="*/ 70 w 162"/>
                    <a:gd name="T95" fmla="*/ 350 h 416"/>
                    <a:gd name="T96" fmla="*/ 77 w 162"/>
                    <a:gd name="T97" fmla="*/ 353 h 416"/>
                    <a:gd name="T98" fmla="*/ 77 w 162"/>
                    <a:gd name="T99" fmla="*/ 370 h 416"/>
                    <a:gd name="T100" fmla="*/ 109 w 162"/>
                    <a:gd name="T101" fmla="*/ 396 h 416"/>
                    <a:gd name="T102" fmla="*/ 107 w 162"/>
                    <a:gd name="T103" fmla="*/ 414 h 416"/>
                    <a:gd name="T104" fmla="*/ 121 w 162"/>
                    <a:gd name="T105" fmla="*/ 389 h 416"/>
                    <a:gd name="T106" fmla="*/ 113 w 162"/>
                    <a:gd name="T107" fmla="*/ 373 h 416"/>
                    <a:gd name="T108" fmla="*/ 143 w 162"/>
                    <a:gd name="T109" fmla="*/ 356 h 416"/>
                    <a:gd name="T110" fmla="*/ 145 w 162"/>
                    <a:gd name="T111" fmla="*/ 314 h 416"/>
                    <a:gd name="T112" fmla="*/ 156 w 162"/>
                    <a:gd name="T113" fmla="*/ 287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62" h="416">
                      <a:moveTo>
                        <a:pt x="156" y="287"/>
                      </a:moveTo>
                      <a:cubicBezTo>
                        <a:pt x="150" y="278"/>
                        <a:pt x="140" y="268"/>
                        <a:pt x="136" y="260"/>
                      </a:cubicBezTo>
                      <a:cubicBezTo>
                        <a:pt x="132" y="252"/>
                        <a:pt x="114" y="225"/>
                        <a:pt x="110" y="222"/>
                      </a:cubicBezTo>
                      <a:cubicBezTo>
                        <a:pt x="108" y="221"/>
                        <a:pt x="104" y="221"/>
                        <a:pt x="101" y="220"/>
                      </a:cubicBezTo>
                      <a:cubicBezTo>
                        <a:pt x="101" y="225"/>
                        <a:pt x="103" y="228"/>
                        <a:pt x="105" y="229"/>
                      </a:cubicBezTo>
                      <a:cubicBezTo>
                        <a:pt x="110" y="231"/>
                        <a:pt x="114" y="237"/>
                        <a:pt x="114" y="237"/>
                      </a:cubicBezTo>
                      <a:cubicBezTo>
                        <a:pt x="114" y="237"/>
                        <a:pt x="119" y="262"/>
                        <a:pt x="113" y="264"/>
                      </a:cubicBezTo>
                      <a:cubicBezTo>
                        <a:pt x="107" y="266"/>
                        <a:pt x="105" y="253"/>
                        <a:pt x="105" y="253"/>
                      </a:cubicBezTo>
                      <a:cubicBezTo>
                        <a:pt x="105" y="253"/>
                        <a:pt x="93" y="259"/>
                        <a:pt x="90" y="257"/>
                      </a:cubicBezTo>
                      <a:cubicBezTo>
                        <a:pt x="87" y="255"/>
                        <a:pt x="87" y="241"/>
                        <a:pt x="86" y="234"/>
                      </a:cubicBezTo>
                      <a:cubicBezTo>
                        <a:pt x="85" y="227"/>
                        <a:pt x="83" y="224"/>
                        <a:pt x="81" y="220"/>
                      </a:cubicBezTo>
                      <a:cubicBezTo>
                        <a:pt x="79" y="216"/>
                        <a:pt x="81" y="203"/>
                        <a:pt x="81" y="195"/>
                      </a:cubicBezTo>
                      <a:cubicBezTo>
                        <a:pt x="81" y="187"/>
                        <a:pt x="76" y="181"/>
                        <a:pt x="64" y="171"/>
                      </a:cubicBezTo>
                      <a:cubicBezTo>
                        <a:pt x="52" y="161"/>
                        <a:pt x="61" y="163"/>
                        <a:pt x="59" y="154"/>
                      </a:cubicBezTo>
                      <a:cubicBezTo>
                        <a:pt x="57" y="145"/>
                        <a:pt x="67" y="137"/>
                        <a:pt x="77" y="126"/>
                      </a:cubicBezTo>
                      <a:cubicBezTo>
                        <a:pt x="87" y="115"/>
                        <a:pt x="83" y="113"/>
                        <a:pt x="84" y="108"/>
                      </a:cubicBezTo>
                      <a:cubicBezTo>
                        <a:pt x="85" y="103"/>
                        <a:pt x="81" y="98"/>
                        <a:pt x="81" y="90"/>
                      </a:cubicBezTo>
                      <a:cubicBezTo>
                        <a:pt x="81" y="82"/>
                        <a:pt x="79" y="67"/>
                        <a:pt x="78" y="51"/>
                      </a:cubicBezTo>
                      <a:cubicBezTo>
                        <a:pt x="77" y="35"/>
                        <a:pt x="75" y="44"/>
                        <a:pt x="64" y="37"/>
                      </a:cubicBezTo>
                      <a:cubicBezTo>
                        <a:pt x="53" y="30"/>
                        <a:pt x="61" y="21"/>
                        <a:pt x="60" y="10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20" y="9"/>
                        <a:pt x="20" y="9"/>
                        <a:pt x="20" y="9"/>
                      </a:cubicBezTo>
                      <a:cubicBezTo>
                        <a:pt x="20" y="9"/>
                        <a:pt x="34" y="9"/>
                        <a:pt x="35" y="16"/>
                      </a:cubicBezTo>
                      <a:cubicBezTo>
                        <a:pt x="36" y="23"/>
                        <a:pt x="34" y="42"/>
                        <a:pt x="37" y="42"/>
                      </a:cubicBezTo>
                      <a:cubicBezTo>
                        <a:pt x="40" y="42"/>
                        <a:pt x="46" y="41"/>
                        <a:pt x="46" y="41"/>
                      </a:cubicBez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6" y="54"/>
                        <a:pt x="58" y="57"/>
                        <a:pt x="52" y="64"/>
                      </a:cubicBezTo>
                      <a:cubicBezTo>
                        <a:pt x="46" y="71"/>
                        <a:pt x="30" y="75"/>
                        <a:pt x="30" y="75"/>
                      </a:cubicBezTo>
                      <a:cubicBezTo>
                        <a:pt x="30" y="86"/>
                        <a:pt x="30" y="86"/>
                        <a:pt x="30" y="86"/>
                      </a:cubicBezTo>
                      <a:cubicBezTo>
                        <a:pt x="37" y="92"/>
                        <a:pt x="37" y="92"/>
                        <a:pt x="37" y="92"/>
                      </a:cubicBezTo>
                      <a:cubicBezTo>
                        <a:pt x="33" y="105"/>
                        <a:pt x="33" y="105"/>
                        <a:pt x="33" y="105"/>
                      </a:cubicBezTo>
                      <a:cubicBezTo>
                        <a:pt x="34" y="153"/>
                        <a:pt x="34" y="153"/>
                        <a:pt x="34" y="153"/>
                      </a:cubicBezTo>
                      <a:cubicBezTo>
                        <a:pt x="34" y="153"/>
                        <a:pt x="45" y="150"/>
                        <a:pt x="42" y="157"/>
                      </a:cubicBezTo>
                      <a:cubicBezTo>
                        <a:pt x="39" y="164"/>
                        <a:pt x="14" y="175"/>
                        <a:pt x="14" y="175"/>
                      </a:cubicBezTo>
                      <a:cubicBezTo>
                        <a:pt x="16" y="200"/>
                        <a:pt x="16" y="200"/>
                        <a:pt x="16" y="200"/>
                      </a:cubicBezTo>
                      <a:cubicBezTo>
                        <a:pt x="16" y="200"/>
                        <a:pt x="0" y="223"/>
                        <a:pt x="1" y="226"/>
                      </a:cubicBezTo>
                      <a:cubicBezTo>
                        <a:pt x="2" y="229"/>
                        <a:pt x="23" y="245"/>
                        <a:pt x="23" y="245"/>
                      </a:cubicBezTo>
                      <a:cubicBezTo>
                        <a:pt x="44" y="277"/>
                        <a:pt x="44" y="277"/>
                        <a:pt x="44" y="277"/>
                      </a:cubicBezTo>
                      <a:cubicBezTo>
                        <a:pt x="64" y="274"/>
                        <a:pt x="64" y="274"/>
                        <a:pt x="64" y="274"/>
                      </a:cubicBezTo>
                      <a:cubicBezTo>
                        <a:pt x="64" y="274"/>
                        <a:pt x="74" y="267"/>
                        <a:pt x="80" y="270"/>
                      </a:cubicBezTo>
                      <a:cubicBezTo>
                        <a:pt x="80" y="270"/>
                        <a:pt x="84" y="281"/>
                        <a:pt x="83" y="290"/>
                      </a:cubicBezTo>
                      <a:cubicBezTo>
                        <a:pt x="82" y="299"/>
                        <a:pt x="88" y="298"/>
                        <a:pt x="88" y="298"/>
                      </a:cubicBezTo>
                      <a:cubicBezTo>
                        <a:pt x="85" y="319"/>
                        <a:pt x="85" y="319"/>
                        <a:pt x="85" y="319"/>
                      </a:cubicBezTo>
                      <a:cubicBezTo>
                        <a:pt x="75" y="322"/>
                        <a:pt x="75" y="322"/>
                        <a:pt x="75" y="322"/>
                      </a:cubicBezTo>
                      <a:cubicBezTo>
                        <a:pt x="83" y="335"/>
                        <a:pt x="83" y="335"/>
                        <a:pt x="83" y="335"/>
                      </a:cubicBezTo>
                      <a:cubicBezTo>
                        <a:pt x="83" y="335"/>
                        <a:pt x="68" y="347"/>
                        <a:pt x="70" y="350"/>
                      </a:cubicBezTo>
                      <a:cubicBezTo>
                        <a:pt x="72" y="353"/>
                        <a:pt x="77" y="353"/>
                        <a:pt x="77" y="353"/>
                      </a:cubicBezTo>
                      <a:cubicBezTo>
                        <a:pt x="77" y="370"/>
                        <a:pt x="77" y="370"/>
                        <a:pt x="77" y="370"/>
                      </a:cubicBezTo>
                      <a:cubicBezTo>
                        <a:pt x="77" y="370"/>
                        <a:pt x="108" y="390"/>
                        <a:pt x="109" y="396"/>
                      </a:cubicBezTo>
                      <a:cubicBezTo>
                        <a:pt x="110" y="402"/>
                        <a:pt x="96" y="412"/>
                        <a:pt x="107" y="414"/>
                      </a:cubicBezTo>
                      <a:cubicBezTo>
                        <a:pt x="118" y="416"/>
                        <a:pt x="125" y="399"/>
                        <a:pt x="121" y="389"/>
                      </a:cubicBezTo>
                      <a:cubicBezTo>
                        <a:pt x="117" y="379"/>
                        <a:pt x="107" y="391"/>
                        <a:pt x="113" y="373"/>
                      </a:cubicBezTo>
                      <a:cubicBezTo>
                        <a:pt x="119" y="355"/>
                        <a:pt x="137" y="363"/>
                        <a:pt x="143" y="356"/>
                      </a:cubicBezTo>
                      <a:cubicBezTo>
                        <a:pt x="149" y="349"/>
                        <a:pt x="145" y="314"/>
                        <a:pt x="145" y="314"/>
                      </a:cubicBezTo>
                      <a:cubicBezTo>
                        <a:pt x="145" y="314"/>
                        <a:pt x="162" y="296"/>
                        <a:pt x="156" y="287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3" name="Madagascar">
                  <a:extLst>
                    <a:ext uri="{FF2B5EF4-FFF2-40B4-BE49-F238E27FC236}">
                      <a16:creationId xmlns:a16="http://schemas.microsoft.com/office/drawing/2014/main" id="{2B3472E2-F82F-59F1-BFEA-F850390257F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1807" y="4929557"/>
                  <a:ext cx="677415" cy="988928"/>
                </a:xfrm>
                <a:custGeom>
                  <a:avLst/>
                  <a:gdLst>
                    <a:gd name="T0" fmla="*/ 88 w 409"/>
                    <a:gd name="T1" fmla="*/ 219 h 746"/>
                    <a:gd name="T2" fmla="*/ 104 w 409"/>
                    <a:gd name="T3" fmla="*/ 214 h 746"/>
                    <a:gd name="T4" fmla="*/ 134 w 409"/>
                    <a:gd name="T5" fmla="*/ 218 h 746"/>
                    <a:gd name="T6" fmla="*/ 134 w 409"/>
                    <a:gd name="T7" fmla="*/ 202 h 746"/>
                    <a:gd name="T8" fmla="*/ 173 w 409"/>
                    <a:gd name="T9" fmla="*/ 207 h 746"/>
                    <a:gd name="T10" fmla="*/ 186 w 409"/>
                    <a:gd name="T11" fmla="*/ 188 h 746"/>
                    <a:gd name="T12" fmla="*/ 216 w 409"/>
                    <a:gd name="T13" fmla="*/ 193 h 746"/>
                    <a:gd name="T14" fmla="*/ 214 w 409"/>
                    <a:gd name="T15" fmla="*/ 172 h 746"/>
                    <a:gd name="T16" fmla="*/ 223 w 409"/>
                    <a:gd name="T17" fmla="*/ 150 h 746"/>
                    <a:gd name="T18" fmla="*/ 225 w 409"/>
                    <a:gd name="T19" fmla="*/ 172 h 746"/>
                    <a:gd name="T20" fmla="*/ 230 w 409"/>
                    <a:gd name="T21" fmla="*/ 186 h 746"/>
                    <a:gd name="T22" fmla="*/ 239 w 409"/>
                    <a:gd name="T23" fmla="*/ 159 h 746"/>
                    <a:gd name="T24" fmla="*/ 244 w 409"/>
                    <a:gd name="T25" fmla="*/ 124 h 746"/>
                    <a:gd name="T26" fmla="*/ 255 w 409"/>
                    <a:gd name="T27" fmla="*/ 138 h 746"/>
                    <a:gd name="T28" fmla="*/ 269 w 409"/>
                    <a:gd name="T29" fmla="*/ 126 h 746"/>
                    <a:gd name="T30" fmla="*/ 271 w 409"/>
                    <a:gd name="T31" fmla="*/ 88 h 746"/>
                    <a:gd name="T32" fmla="*/ 288 w 409"/>
                    <a:gd name="T33" fmla="*/ 88 h 746"/>
                    <a:gd name="T34" fmla="*/ 312 w 409"/>
                    <a:gd name="T35" fmla="*/ 62 h 746"/>
                    <a:gd name="T36" fmla="*/ 315 w 409"/>
                    <a:gd name="T37" fmla="*/ 26 h 746"/>
                    <a:gd name="T38" fmla="*/ 336 w 409"/>
                    <a:gd name="T39" fmla="*/ 0 h 746"/>
                    <a:gd name="T40" fmla="*/ 372 w 409"/>
                    <a:gd name="T41" fmla="*/ 41 h 746"/>
                    <a:gd name="T42" fmla="*/ 372 w 409"/>
                    <a:gd name="T43" fmla="*/ 56 h 746"/>
                    <a:gd name="T44" fmla="*/ 395 w 409"/>
                    <a:gd name="T45" fmla="*/ 110 h 746"/>
                    <a:gd name="T46" fmla="*/ 382 w 409"/>
                    <a:gd name="T47" fmla="*/ 143 h 746"/>
                    <a:gd name="T48" fmla="*/ 402 w 409"/>
                    <a:gd name="T49" fmla="*/ 193 h 746"/>
                    <a:gd name="T50" fmla="*/ 375 w 409"/>
                    <a:gd name="T51" fmla="*/ 188 h 746"/>
                    <a:gd name="T52" fmla="*/ 354 w 409"/>
                    <a:gd name="T53" fmla="*/ 193 h 746"/>
                    <a:gd name="T54" fmla="*/ 358 w 409"/>
                    <a:gd name="T55" fmla="*/ 221 h 746"/>
                    <a:gd name="T56" fmla="*/ 333 w 409"/>
                    <a:gd name="T57" fmla="*/ 259 h 746"/>
                    <a:gd name="T58" fmla="*/ 338 w 409"/>
                    <a:gd name="T59" fmla="*/ 312 h 746"/>
                    <a:gd name="T60" fmla="*/ 267 w 409"/>
                    <a:gd name="T61" fmla="*/ 478 h 746"/>
                    <a:gd name="T62" fmla="*/ 211 w 409"/>
                    <a:gd name="T63" fmla="*/ 609 h 746"/>
                    <a:gd name="T64" fmla="*/ 189 w 409"/>
                    <a:gd name="T65" fmla="*/ 676 h 746"/>
                    <a:gd name="T66" fmla="*/ 149 w 409"/>
                    <a:gd name="T67" fmla="*/ 712 h 746"/>
                    <a:gd name="T68" fmla="*/ 133 w 409"/>
                    <a:gd name="T69" fmla="*/ 710 h 746"/>
                    <a:gd name="T70" fmla="*/ 60 w 409"/>
                    <a:gd name="T71" fmla="*/ 717 h 746"/>
                    <a:gd name="T72" fmla="*/ 28 w 409"/>
                    <a:gd name="T73" fmla="*/ 675 h 746"/>
                    <a:gd name="T74" fmla="*/ 41 w 409"/>
                    <a:gd name="T75" fmla="*/ 659 h 746"/>
                    <a:gd name="T76" fmla="*/ 5 w 409"/>
                    <a:gd name="T77" fmla="*/ 556 h 746"/>
                    <a:gd name="T78" fmla="*/ 39 w 409"/>
                    <a:gd name="T79" fmla="*/ 473 h 746"/>
                    <a:gd name="T80" fmla="*/ 79 w 409"/>
                    <a:gd name="T81" fmla="*/ 436 h 746"/>
                    <a:gd name="T82" fmla="*/ 71 w 409"/>
                    <a:gd name="T83" fmla="*/ 349 h 746"/>
                    <a:gd name="T84" fmla="*/ 67 w 409"/>
                    <a:gd name="T85" fmla="*/ 271 h 746"/>
                    <a:gd name="T86" fmla="*/ 94 w 409"/>
                    <a:gd name="T87" fmla="*/ 239 h 746"/>
                    <a:gd name="T88" fmla="*/ 88 w 409"/>
                    <a:gd name="T89" fmla="*/ 219 h 7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09" h="746">
                      <a:moveTo>
                        <a:pt x="88" y="219"/>
                      </a:moveTo>
                      <a:cubicBezTo>
                        <a:pt x="104" y="214"/>
                        <a:pt x="104" y="214"/>
                        <a:pt x="104" y="214"/>
                      </a:cubicBezTo>
                      <a:cubicBezTo>
                        <a:pt x="134" y="218"/>
                        <a:pt x="134" y="218"/>
                        <a:pt x="134" y="218"/>
                      </a:cubicBezTo>
                      <a:cubicBezTo>
                        <a:pt x="134" y="202"/>
                        <a:pt x="134" y="202"/>
                        <a:pt x="134" y="202"/>
                      </a:cubicBezTo>
                      <a:cubicBezTo>
                        <a:pt x="173" y="207"/>
                        <a:pt x="173" y="207"/>
                        <a:pt x="173" y="207"/>
                      </a:cubicBezTo>
                      <a:cubicBezTo>
                        <a:pt x="186" y="188"/>
                        <a:pt x="186" y="188"/>
                        <a:pt x="186" y="188"/>
                      </a:cubicBezTo>
                      <a:cubicBezTo>
                        <a:pt x="216" y="193"/>
                        <a:pt x="216" y="193"/>
                        <a:pt x="216" y="193"/>
                      </a:cubicBezTo>
                      <a:cubicBezTo>
                        <a:pt x="214" y="172"/>
                        <a:pt x="214" y="172"/>
                        <a:pt x="214" y="172"/>
                      </a:cubicBezTo>
                      <a:cubicBezTo>
                        <a:pt x="223" y="150"/>
                        <a:pt x="223" y="150"/>
                        <a:pt x="223" y="150"/>
                      </a:cubicBezTo>
                      <a:cubicBezTo>
                        <a:pt x="225" y="172"/>
                        <a:pt x="225" y="172"/>
                        <a:pt x="225" y="172"/>
                      </a:cubicBezTo>
                      <a:cubicBezTo>
                        <a:pt x="230" y="186"/>
                        <a:pt x="230" y="186"/>
                        <a:pt x="230" y="186"/>
                      </a:cubicBezTo>
                      <a:cubicBezTo>
                        <a:pt x="239" y="159"/>
                        <a:pt x="239" y="159"/>
                        <a:pt x="239" y="159"/>
                      </a:cubicBezTo>
                      <a:cubicBezTo>
                        <a:pt x="239" y="159"/>
                        <a:pt x="237" y="129"/>
                        <a:pt x="244" y="124"/>
                      </a:cubicBezTo>
                      <a:cubicBezTo>
                        <a:pt x="251" y="118"/>
                        <a:pt x="255" y="138"/>
                        <a:pt x="255" y="138"/>
                      </a:cubicBezTo>
                      <a:cubicBezTo>
                        <a:pt x="255" y="138"/>
                        <a:pt x="260" y="136"/>
                        <a:pt x="269" y="126"/>
                      </a:cubicBezTo>
                      <a:cubicBezTo>
                        <a:pt x="278" y="115"/>
                        <a:pt x="264" y="95"/>
                        <a:pt x="271" y="88"/>
                      </a:cubicBezTo>
                      <a:cubicBezTo>
                        <a:pt x="278" y="81"/>
                        <a:pt x="288" y="88"/>
                        <a:pt x="288" y="88"/>
                      </a:cubicBezTo>
                      <a:cubicBezTo>
                        <a:pt x="288" y="88"/>
                        <a:pt x="306" y="74"/>
                        <a:pt x="312" y="62"/>
                      </a:cubicBezTo>
                      <a:cubicBezTo>
                        <a:pt x="317" y="49"/>
                        <a:pt x="315" y="26"/>
                        <a:pt x="315" y="26"/>
                      </a:cubicBezTo>
                      <a:cubicBezTo>
                        <a:pt x="336" y="0"/>
                        <a:pt x="336" y="0"/>
                        <a:pt x="336" y="0"/>
                      </a:cubicBezTo>
                      <a:cubicBezTo>
                        <a:pt x="372" y="41"/>
                        <a:pt x="372" y="41"/>
                        <a:pt x="372" y="41"/>
                      </a:cubicBezTo>
                      <a:cubicBezTo>
                        <a:pt x="372" y="41"/>
                        <a:pt x="372" y="51"/>
                        <a:pt x="372" y="56"/>
                      </a:cubicBezTo>
                      <a:cubicBezTo>
                        <a:pt x="372" y="62"/>
                        <a:pt x="395" y="110"/>
                        <a:pt x="395" y="110"/>
                      </a:cubicBezTo>
                      <a:cubicBezTo>
                        <a:pt x="382" y="143"/>
                        <a:pt x="382" y="143"/>
                        <a:pt x="382" y="143"/>
                      </a:cubicBezTo>
                      <a:cubicBezTo>
                        <a:pt x="382" y="143"/>
                        <a:pt x="409" y="188"/>
                        <a:pt x="402" y="193"/>
                      </a:cubicBezTo>
                      <a:cubicBezTo>
                        <a:pt x="395" y="198"/>
                        <a:pt x="375" y="188"/>
                        <a:pt x="375" y="188"/>
                      </a:cubicBezTo>
                      <a:cubicBezTo>
                        <a:pt x="354" y="193"/>
                        <a:pt x="354" y="193"/>
                        <a:pt x="354" y="193"/>
                      </a:cubicBezTo>
                      <a:cubicBezTo>
                        <a:pt x="358" y="221"/>
                        <a:pt x="358" y="221"/>
                        <a:pt x="358" y="221"/>
                      </a:cubicBezTo>
                      <a:cubicBezTo>
                        <a:pt x="358" y="221"/>
                        <a:pt x="335" y="245"/>
                        <a:pt x="333" y="259"/>
                      </a:cubicBezTo>
                      <a:cubicBezTo>
                        <a:pt x="331" y="273"/>
                        <a:pt x="345" y="287"/>
                        <a:pt x="338" y="312"/>
                      </a:cubicBezTo>
                      <a:cubicBezTo>
                        <a:pt x="331" y="336"/>
                        <a:pt x="306" y="409"/>
                        <a:pt x="267" y="478"/>
                      </a:cubicBezTo>
                      <a:cubicBezTo>
                        <a:pt x="228" y="547"/>
                        <a:pt x="211" y="609"/>
                        <a:pt x="211" y="609"/>
                      </a:cubicBezTo>
                      <a:cubicBezTo>
                        <a:pt x="211" y="609"/>
                        <a:pt x="214" y="653"/>
                        <a:pt x="189" y="676"/>
                      </a:cubicBezTo>
                      <a:cubicBezTo>
                        <a:pt x="165" y="699"/>
                        <a:pt x="156" y="708"/>
                        <a:pt x="149" y="712"/>
                      </a:cubicBezTo>
                      <a:cubicBezTo>
                        <a:pt x="141" y="715"/>
                        <a:pt x="133" y="710"/>
                        <a:pt x="133" y="710"/>
                      </a:cubicBezTo>
                      <a:cubicBezTo>
                        <a:pt x="133" y="710"/>
                        <a:pt x="90" y="746"/>
                        <a:pt x="60" y="717"/>
                      </a:cubicBezTo>
                      <a:cubicBezTo>
                        <a:pt x="30" y="689"/>
                        <a:pt x="28" y="675"/>
                        <a:pt x="28" y="675"/>
                      </a:cubicBezTo>
                      <a:cubicBezTo>
                        <a:pt x="41" y="659"/>
                        <a:pt x="41" y="659"/>
                        <a:pt x="41" y="659"/>
                      </a:cubicBezTo>
                      <a:cubicBezTo>
                        <a:pt x="41" y="659"/>
                        <a:pt x="10" y="622"/>
                        <a:pt x="5" y="556"/>
                      </a:cubicBezTo>
                      <a:cubicBezTo>
                        <a:pt x="0" y="490"/>
                        <a:pt x="23" y="492"/>
                        <a:pt x="39" y="473"/>
                      </a:cubicBezTo>
                      <a:cubicBezTo>
                        <a:pt x="55" y="453"/>
                        <a:pt x="79" y="436"/>
                        <a:pt x="79" y="436"/>
                      </a:cubicBezTo>
                      <a:cubicBezTo>
                        <a:pt x="79" y="436"/>
                        <a:pt x="72" y="370"/>
                        <a:pt x="71" y="349"/>
                      </a:cubicBezTo>
                      <a:cubicBezTo>
                        <a:pt x="69" y="327"/>
                        <a:pt x="53" y="283"/>
                        <a:pt x="67" y="271"/>
                      </a:cubicBezTo>
                      <a:cubicBezTo>
                        <a:pt x="81" y="259"/>
                        <a:pt x="94" y="239"/>
                        <a:pt x="94" y="239"/>
                      </a:cubicBezTo>
                      <a:lnTo>
                        <a:pt x="88" y="21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4" name="Libya">
                  <a:extLst>
                    <a:ext uri="{FF2B5EF4-FFF2-40B4-BE49-F238E27FC236}">
                      <a16:creationId xmlns:a16="http://schemas.microsoft.com/office/drawing/2014/main" id="{1CF637D2-F0C4-F31F-96C7-C06BFC91CED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93274" y="1688287"/>
                  <a:ext cx="1213700" cy="977643"/>
                </a:xfrm>
                <a:custGeom>
                  <a:avLst/>
                  <a:gdLst>
                    <a:gd name="T0" fmla="*/ 104 w 731"/>
                    <a:gd name="T1" fmla="*/ 37 h 737"/>
                    <a:gd name="T2" fmla="*/ 69 w 731"/>
                    <a:gd name="T3" fmla="*/ 55 h 737"/>
                    <a:gd name="T4" fmla="*/ 50 w 731"/>
                    <a:gd name="T5" fmla="*/ 78 h 737"/>
                    <a:gd name="T6" fmla="*/ 35 w 731"/>
                    <a:gd name="T7" fmla="*/ 89 h 737"/>
                    <a:gd name="T8" fmla="*/ 44 w 731"/>
                    <a:gd name="T9" fmla="*/ 127 h 737"/>
                    <a:gd name="T10" fmla="*/ 25 w 731"/>
                    <a:gd name="T11" fmla="*/ 153 h 737"/>
                    <a:gd name="T12" fmla="*/ 1 w 731"/>
                    <a:gd name="T13" fmla="*/ 167 h 737"/>
                    <a:gd name="T14" fmla="*/ 30 w 731"/>
                    <a:gd name="T15" fmla="*/ 234 h 737"/>
                    <a:gd name="T16" fmla="*/ 22 w 731"/>
                    <a:gd name="T17" fmla="*/ 274 h 737"/>
                    <a:gd name="T18" fmla="*/ 28 w 731"/>
                    <a:gd name="T19" fmla="*/ 288 h 737"/>
                    <a:gd name="T20" fmla="*/ 19 w 731"/>
                    <a:gd name="T21" fmla="*/ 301 h 737"/>
                    <a:gd name="T22" fmla="*/ 24 w 731"/>
                    <a:gd name="T23" fmla="*/ 337 h 737"/>
                    <a:gd name="T24" fmla="*/ 28 w 731"/>
                    <a:gd name="T25" fmla="*/ 355 h 737"/>
                    <a:gd name="T26" fmla="*/ 1 w 731"/>
                    <a:gd name="T27" fmla="*/ 375 h 737"/>
                    <a:gd name="T28" fmla="*/ 32 w 731"/>
                    <a:gd name="T29" fmla="*/ 425 h 737"/>
                    <a:gd name="T30" fmla="*/ 32 w 731"/>
                    <a:gd name="T31" fmla="*/ 450 h 737"/>
                    <a:gd name="T32" fmla="*/ 48 w 731"/>
                    <a:gd name="T33" fmla="*/ 470 h 737"/>
                    <a:gd name="T34" fmla="*/ 63 w 731"/>
                    <a:gd name="T35" fmla="*/ 464 h 737"/>
                    <a:gd name="T36" fmla="*/ 102 w 731"/>
                    <a:gd name="T37" fmla="*/ 477 h 737"/>
                    <a:gd name="T38" fmla="*/ 122 w 731"/>
                    <a:gd name="T39" fmla="*/ 521 h 737"/>
                    <a:gd name="T40" fmla="*/ 147 w 731"/>
                    <a:gd name="T41" fmla="*/ 527 h 737"/>
                    <a:gd name="T42" fmla="*/ 194 w 731"/>
                    <a:gd name="T43" fmla="*/ 537 h 737"/>
                    <a:gd name="T44" fmla="*/ 228 w 731"/>
                    <a:gd name="T45" fmla="*/ 566 h 737"/>
                    <a:gd name="T46" fmla="*/ 311 w 731"/>
                    <a:gd name="T47" fmla="*/ 521 h 737"/>
                    <a:gd name="T48" fmla="*/ 684 w 731"/>
                    <a:gd name="T49" fmla="*/ 737 h 737"/>
                    <a:gd name="T50" fmla="*/ 683 w 731"/>
                    <a:gd name="T51" fmla="*/ 708 h 737"/>
                    <a:gd name="T52" fmla="*/ 731 w 731"/>
                    <a:gd name="T53" fmla="*/ 707 h 737"/>
                    <a:gd name="T54" fmla="*/ 730 w 731"/>
                    <a:gd name="T55" fmla="*/ 599 h 737"/>
                    <a:gd name="T56" fmla="*/ 717 w 731"/>
                    <a:gd name="T57" fmla="*/ 201 h 737"/>
                    <a:gd name="T58" fmla="*/ 699 w 731"/>
                    <a:gd name="T59" fmla="*/ 163 h 737"/>
                    <a:gd name="T60" fmla="*/ 713 w 731"/>
                    <a:gd name="T61" fmla="*/ 135 h 737"/>
                    <a:gd name="T62" fmla="*/ 703 w 731"/>
                    <a:gd name="T63" fmla="*/ 115 h 737"/>
                    <a:gd name="T64" fmla="*/ 707 w 731"/>
                    <a:gd name="T65" fmla="*/ 94 h 737"/>
                    <a:gd name="T66" fmla="*/ 720 w 731"/>
                    <a:gd name="T67" fmla="*/ 81 h 737"/>
                    <a:gd name="T68" fmla="*/ 716 w 731"/>
                    <a:gd name="T69" fmla="*/ 63 h 737"/>
                    <a:gd name="T70" fmla="*/ 701 w 731"/>
                    <a:gd name="T71" fmla="*/ 68 h 737"/>
                    <a:gd name="T72" fmla="*/ 694 w 731"/>
                    <a:gd name="T73" fmla="*/ 59 h 737"/>
                    <a:gd name="T74" fmla="*/ 682 w 731"/>
                    <a:gd name="T75" fmla="*/ 67 h 737"/>
                    <a:gd name="T76" fmla="*/ 658 w 731"/>
                    <a:gd name="T77" fmla="*/ 50 h 737"/>
                    <a:gd name="T78" fmla="*/ 628 w 731"/>
                    <a:gd name="T79" fmla="*/ 49 h 737"/>
                    <a:gd name="T80" fmla="*/ 617 w 731"/>
                    <a:gd name="T81" fmla="*/ 28 h 737"/>
                    <a:gd name="T82" fmla="*/ 590 w 731"/>
                    <a:gd name="T83" fmla="*/ 23 h 737"/>
                    <a:gd name="T84" fmla="*/ 561 w 731"/>
                    <a:gd name="T85" fmla="*/ 15 h 737"/>
                    <a:gd name="T86" fmla="*/ 553 w 731"/>
                    <a:gd name="T87" fmla="*/ 23 h 737"/>
                    <a:gd name="T88" fmla="*/ 510 w 731"/>
                    <a:gd name="T89" fmla="*/ 31 h 737"/>
                    <a:gd name="T90" fmla="*/ 480 w 731"/>
                    <a:gd name="T91" fmla="*/ 70 h 737"/>
                    <a:gd name="T92" fmla="*/ 496 w 731"/>
                    <a:gd name="T93" fmla="*/ 114 h 737"/>
                    <a:gd name="T94" fmla="*/ 463 w 731"/>
                    <a:gd name="T95" fmla="*/ 154 h 737"/>
                    <a:gd name="T96" fmla="*/ 419 w 731"/>
                    <a:gd name="T97" fmla="*/ 144 h 737"/>
                    <a:gd name="T98" fmla="*/ 351 w 731"/>
                    <a:gd name="T99" fmla="*/ 105 h 737"/>
                    <a:gd name="T100" fmla="*/ 289 w 731"/>
                    <a:gd name="T101" fmla="*/ 97 h 737"/>
                    <a:gd name="T102" fmla="*/ 271 w 731"/>
                    <a:gd name="T103" fmla="*/ 53 h 737"/>
                    <a:gd name="T104" fmla="*/ 244 w 731"/>
                    <a:gd name="T105" fmla="*/ 40 h 737"/>
                    <a:gd name="T106" fmla="*/ 212 w 731"/>
                    <a:gd name="T107" fmla="*/ 21 h 737"/>
                    <a:gd name="T108" fmla="*/ 173 w 731"/>
                    <a:gd name="T109" fmla="*/ 20 h 737"/>
                    <a:gd name="T110" fmla="*/ 143 w 731"/>
                    <a:gd name="T111" fmla="*/ 24 h 737"/>
                    <a:gd name="T112" fmla="*/ 107 w 731"/>
                    <a:gd name="T113" fmla="*/ 3 h 737"/>
                    <a:gd name="T114" fmla="*/ 96 w 731"/>
                    <a:gd name="T115" fmla="*/ 0 h 737"/>
                    <a:gd name="T116" fmla="*/ 93 w 731"/>
                    <a:gd name="T117" fmla="*/ 27 h 737"/>
                    <a:gd name="T118" fmla="*/ 104 w 731"/>
                    <a:gd name="T119" fmla="*/ 37 h 7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31" h="737">
                      <a:moveTo>
                        <a:pt x="104" y="37"/>
                      </a:moveTo>
                      <a:cubicBezTo>
                        <a:pt x="100" y="45"/>
                        <a:pt x="75" y="49"/>
                        <a:pt x="69" y="55"/>
                      </a:cubicBezTo>
                      <a:cubicBezTo>
                        <a:pt x="63" y="61"/>
                        <a:pt x="50" y="78"/>
                        <a:pt x="50" y="78"/>
                      </a:cubicBezTo>
                      <a:cubicBezTo>
                        <a:pt x="50" y="78"/>
                        <a:pt x="37" y="83"/>
                        <a:pt x="35" y="89"/>
                      </a:cubicBezTo>
                      <a:cubicBezTo>
                        <a:pt x="33" y="95"/>
                        <a:pt x="43" y="115"/>
                        <a:pt x="44" y="127"/>
                      </a:cubicBezTo>
                      <a:cubicBezTo>
                        <a:pt x="45" y="139"/>
                        <a:pt x="25" y="153"/>
                        <a:pt x="25" y="153"/>
                      </a:cubicBezTo>
                      <a:cubicBezTo>
                        <a:pt x="25" y="153"/>
                        <a:pt x="0" y="161"/>
                        <a:pt x="1" y="167"/>
                      </a:cubicBezTo>
                      <a:cubicBezTo>
                        <a:pt x="2" y="173"/>
                        <a:pt x="29" y="224"/>
                        <a:pt x="30" y="234"/>
                      </a:cubicBezTo>
                      <a:cubicBezTo>
                        <a:pt x="31" y="244"/>
                        <a:pt x="22" y="274"/>
                        <a:pt x="22" y="274"/>
                      </a:cubicBezTo>
                      <a:cubicBezTo>
                        <a:pt x="28" y="288"/>
                        <a:pt x="28" y="288"/>
                        <a:pt x="28" y="288"/>
                      </a:cubicBezTo>
                      <a:cubicBezTo>
                        <a:pt x="19" y="301"/>
                        <a:pt x="19" y="301"/>
                        <a:pt x="19" y="301"/>
                      </a:cubicBezTo>
                      <a:cubicBezTo>
                        <a:pt x="24" y="337"/>
                        <a:pt x="24" y="337"/>
                        <a:pt x="24" y="337"/>
                      </a:cubicBezTo>
                      <a:cubicBezTo>
                        <a:pt x="24" y="337"/>
                        <a:pt x="28" y="343"/>
                        <a:pt x="28" y="355"/>
                      </a:cubicBezTo>
                      <a:cubicBezTo>
                        <a:pt x="28" y="367"/>
                        <a:pt x="2" y="369"/>
                        <a:pt x="1" y="375"/>
                      </a:cubicBezTo>
                      <a:cubicBezTo>
                        <a:pt x="0" y="381"/>
                        <a:pt x="27" y="417"/>
                        <a:pt x="32" y="425"/>
                      </a:cubicBezTo>
                      <a:cubicBezTo>
                        <a:pt x="37" y="433"/>
                        <a:pt x="32" y="443"/>
                        <a:pt x="32" y="450"/>
                      </a:cubicBezTo>
                      <a:cubicBezTo>
                        <a:pt x="32" y="457"/>
                        <a:pt x="44" y="468"/>
                        <a:pt x="48" y="470"/>
                      </a:cubicBezTo>
                      <a:cubicBezTo>
                        <a:pt x="52" y="472"/>
                        <a:pt x="57" y="467"/>
                        <a:pt x="63" y="464"/>
                      </a:cubicBezTo>
                      <a:cubicBezTo>
                        <a:pt x="69" y="461"/>
                        <a:pt x="97" y="474"/>
                        <a:pt x="102" y="477"/>
                      </a:cubicBezTo>
                      <a:cubicBezTo>
                        <a:pt x="107" y="480"/>
                        <a:pt x="122" y="521"/>
                        <a:pt x="122" y="521"/>
                      </a:cubicBezTo>
                      <a:cubicBezTo>
                        <a:pt x="147" y="527"/>
                        <a:pt x="147" y="527"/>
                        <a:pt x="147" y="527"/>
                      </a:cubicBezTo>
                      <a:cubicBezTo>
                        <a:pt x="147" y="527"/>
                        <a:pt x="187" y="535"/>
                        <a:pt x="194" y="537"/>
                      </a:cubicBezTo>
                      <a:cubicBezTo>
                        <a:pt x="201" y="539"/>
                        <a:pt x="217" y="567"/>
                        <a:pt x="228" y="566"/>
                      </a:cubicBezTo>
                      <a:cubicBezTo>
                        <a:pt x="239" y="565"/>
                        <a:pt x="311" y="521"/>
                        <a:pt x="311" y="521"/>
                      </a:cubicBezTo>
                      <a:cubicBezTo>
                        <a:pt x="684" y="737"/>
                        <a:pt x="684" y="737"/>
                        <a:pt x="684" y="737"/>
                      </a:cubicBezTo>
                      <a:cubicBezTo>
                        <a:pt x="683" y="708"/>
                        <a:pt x="683" y="708"/>
                        <a:pt x="683" y="708"/>
                      </a:cubicBezTo>
                      <a:cubicBezTo>
                        <a:pt x="731" y="707"/>
                        <a:pt x="731" y="707"/>
                        <a:pt x="731" y="707"/>
                      </a:cubicBezTo>
                      <a:cubicBezTo>
                        <a:pt x="730" y="599"/>
                        <a:pt x="730" y="599"/>
                        <a:pt x="730" y="599"/>
                      </a:cubicBezTo>
                      <a:cubicBezTo>
                        <a:pt x="730" y="599"/>
                        <a:pt x="717" y="214"/>
                        <a:pt x="717" y="201"/>
                      </a:cubicBezTo>
                      <a:cubicBezTo>
                        <a:pt x="717" y="188"/>
                        <a:pt x="702" y="170"/>
                        <a:pt x="699" y="163"/>
                      </a:cubicBezTo>
                      <a:cubicBezTo>
                        <a:pt x="696" y="156"/>
                        <a:pt x="710" y="144"/>
                        <a:pt x="713" y="135"/>
                      </a:cubicBezTo>
                      <a:cubicBezTo>
                        <a:pt x="716" y="126"/>
                        <a:pt x="704" y="119"/>
                        <a:pt x="703" y="115"/>
                      </a:cubicBezTo>
                      <a:cubicBezTo>
                        <a:pt x="702" y="111"/>
                        <a:pt x="702" y="97"/>
                        <a:pt x="707" y="94"/>
                      </a:cubicBezTo>
                      <a:cubicBezTo>
                        <a:pt x="711" y="92"/>
                        <a:pt x="717" y="85"/>
                        <a:pt x="720" y="81"/>
                      </a:cubicBezTo>
                      <a:cubicBezTo>
                        <a:pt x="714" y="72"/>
                        <a:pt x="716" y="63"/>
                        <a:pt x="716" y="63"/>
                      </a:cubicBezTo>
                      <a:cubicBezTo>
                        <a:pt x="701" y="68"/>
                        <a:pt x="701" y="68"/>
                        <a:pt x="701" y="68"/>
                      </a:cubicBezTo>
                      <a:cubicBezTo>
                        <a:pt x="694" y="59"/>
                        <a:pt x="694" y="59"/>
                        <a:pt x="694" y="59"/>
                      </a:cubicBezTo>
                      <a:cubicBezTo>
                        <a:pt x="694" y="59"/>
                        <a:pt x="689" y="67"/>
                        <a:pt x="682" y="67"/>
                      </a:cubicBezTo>
                      <a:cubicBezTo>
                        <a:pt x="675" y="67"/>
                        <a:pt x="667" y="50"/>
                        <a:pt x="658" y="50"/>
                      </a:cubicBezTo>
                      <a:cubicBezTo>
                        <a:pt x="649" y="50"/>
                        <a:pt x="639" y="57"/>
                        <a:pt x="628" y="49"/>
                      </a:cubicBezTo>
                      <a:cubicBezTo>
                        <a:pt x="617" y="41"/>
                        <a:pt x="626" y="32"/>
                        <a:pt x="617" y="28"/>
                      </a:cubicBezTo>
                      <a:cubicBezTo>
                        <a:pt x="608" y="24"/>
                        <a:pt x="590" y="23"/>
                        <a:pt x="590" y="23"/>
                      </a:cubicBezTo>
                      <a:cubicBezTo>
                        <a:pt x="590" y="23"/>
                        <a:pt x="569" y="15"/>
                        <a:pt x="561" y="15"/>
                      </a:cubicBezTo>
                      <a:cubicBezTo>
                        <a:pt x="553" y="15"/>
                        <a:pt x="553" y="23"/>
                        <a:pt x="553" y="23"/>
                      </a:cubicBezTo>
                      <a:cubicBezTo>
                        <a:pt x="553" y="23"/>
                        <a:pt x="523" y="21"/>
                        <a:pt x="510" y="31"/>
                      </a:cubicBezTo>
                      <a:cubicBezTo>
                        <a:pt x="497" y="41"/>
                        <a:pt x="480" y="54"/>
                        <a:pt x="480" y="70"/>
                      </a:cubicBezTo>
                      <a:cubicBezTo>
                        <a:pt x="480" y="86"/>
                        <a:pt x="496" y="105"/>
                        <a:pt x="496" y="114"/>
                      </a:cubicBezTo>
                      <a:cubicBezTo>
                        <a:pt x="496" y="123"/>
                        <a:pt x="475" y="152"/>
                        <a:pt x="463" y="154"/>
                      </a:cubicBezTo>
                      <a:cubicBezTo>
                        <a:pt x="451" y="156"/>
                        <a:pt x="433" y="159"/>
                        <a:pt x="419" y="144"/>
                      </a:cubicBezTo>
                      <a:cubicBezTo>
                        <a:pt x="405" y="129"/>
                        <a:pt x="366" y="106"/>
                        <a:pt x="351" y="105"/>
                      </a:cubicBezTo>
                      <a:cubicBezTo>
                        <a:pt x="336" y="104"/>
                        <a:pt x="302" y="113"/>
                        <a:pt x="289" y="97"/>
                      </a:cubicBezTo>
                      <a:cubicBezTo>
                        <a:pt x="276" y="81"/>
                        <a:pt x="280" y="69"/>
                        <a:pt x="271" y="53"/>
                      </a:cubicBezTo>
                      <a:cubicBezTo>
                        <a:pt x="262" y="37"/>
                        <a:pt x="244" y="40"/>
                        <a:pt x="244" y="40"/>
                      </a:cubicBezTo>
                      <a:cubicBezTo>
                        <a:pt x="244" y="40"/>
                        <a:pt x="220" y="22"/>
                        <a:pt x="212" y="21"/>
                      </a:cubicBezTo>
                      <a:cubicBezTo>
                        <a:pt x="204" y="20"/>
                        <a:pt x="180" y="19"/>
                        <a:pt x="173" y="20"/>
                      </a:cubicBezTo>
                      <a:cubicBezTo>
                        <a:pt x="166" y="21"/>
                        <a:pt x="154" y="28"/>
                        <a:pt x="143" y="24"/>
                      </a:cubicBezTo>
                      <a:cubicBezTo>
                        <a:pt x="132" y="20"/>
                        <a:pt x="112" y="4"/>
                        <a:pt x="107" y="3"/>
                      </a:cubicBezTo>
                      <a:cubicBezTo>
                        <a:pt x="104" y="2"/>
                        <a:pt x="100" y="1"/>
                        <a:pt x="96" y="0"/>
                      </a:cubicBezTo>
                      <a:cubicBezTo>
                        <a:pt x="93" y="27"/>
                        <a:pt x="93" y="27"/>
                        <a:pt x="93" y="27"/>
                      </a:cubicBezTo>
                      <a:cubicBezTo>
                        <a:pt x="93" y="27"/>
                        <a:pt x="108" y="29"/>
                        <a:pt x="104" y="37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5" name="Liberia">
                  <a:extLst>
                    <a:ext uri="{FF2B5EF4-FFF2-40B4-BE49-F238E27FC236}">
                      <a16:creationId xmlns:a16="http://schemas.microsoft.com/office/drawing/2014/main" id="{DFC1651F-B188-6FB1-1BCD-BA890E10F50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37372" y="3433009"/>
                  <a:ext cx="343409" cy="312096"/>
                </a:xfrm>
                <a:custGeom>
                  <a:avLst/>
                  <a:gdLst>
                    <a:gd name="T0" fmla="*/ 207 w 207"/>
                    <a:gd name="T1" fmla="*/ 175 h 236"/>
                    <a:gd name="T2" fmla="*/ 186 w 207"/>
                    <a:gd name="T3" fmla="*/ 146 h 236"/>
                    <a:gd name="T4" fmla="*/ 185 w 207"/>
                    <a:gd name="T5" fmla="*/ 129 h 236"/>
                    <a:gd name="T6" fmla="*/ 161 w 207"/>
                    <a:gd name="T7" fmla="*/ 133 h 236"/>
                    <a:gd name="T8" fmla="*/ 161 w 207"/>
                    <a:gd name="T9" fmla="*/ 123 h 236"/>
                    <a:gd name="T10" fmla="*/ 148 w 207"/>
                    <a:gd name="T11" fmla="*/ 121 h 236"/>
                    <a:gd name="T12" fmla="*/ 162 w 207"/>
                    <a:gd name="T13" fmla="*/ 89 h 236"/>
                    <a:gd name="T14" fmla="*/ 149 w 207"/>
                    <a:gd name="T15" fmla="*/ 55 h 236"/>
                    <a:gd name="T16" fmla="*/ 145 w 207"/>
                    <a:gd name="T17" fmla="*/ 56 h 236"/>
                    <a:gd name="T18" fmla="*/ 129 w 207"/>
                    <a:gd name="T19" fmla="*/ 82 h 236"/>
                    <a:gd name="T20" fmla="*/ 117 w 207"/>
                    <a:gd name="T21" fmla="*/ 72 h 236"/>
                    <a:gd name="T22" fmla="*/ 109 w 207"/>
                    <a:gd name="T23" fmla="*/ 72 h 236"/>
                    <a:gd name="T24" fmla="*/ 99 w 207"/>
                    <a:gd name="T25" fmla="*/ 13 h 236"/>
                    <a:gd name="T26" fmla="*/ 83 w 207"/>
                    <a:gd name="T27" fmla="*/ 18 h 236"/>
                    <a:gd name="T28" fmla="*/ 67 w 207"/>
                    <a:gd name="T29" fmla="*/ 14 h 236"/>
                    <a:gd name="T30" fmla="*/ 69 w 207"/>
                    <a:gd name="T31" fmla="*/ 31 h 236"/>
                    <a:gd name="T32" fmla="*/ 55 w 207"/>
                    <a:gd name="T33" fmla="*/ 34 h 236"/>
                    <a:gd name="T34" fmla="*/ 55 w 207"/>
                    <a:gd name="T35" fmla="*/ 48 h 236"/>
                    <a:gd name="T36" fmla="*/ 16 w 207"/>
                    <a:gd name="T37" fmla="*/ 82 h 236"/>
                    <a:gd name="T38" fmla="*/ 14 w 207"/>
                    <a:gd name="T39" fmla="*/ 105 h 236"/>
                    <a:gd name="T40" fmla="*/ 0 w 207"/>
                    <a:gd name="T41" fmla="*/ 89 h 236"/>
                    <a:gd name="T42" fmla="*/ 0 w 207"/>
                    <a:gd name="T43" fmla="*/ 89 h 236"/>
                    <a:gd name="T44" fmla="*/ 23 w 207"/>
                    <a:gd name="T45" fmla="*/ 115 h 236"/>
                    <a:gd name="T46" fmla="*/ 40 w 207"/>
                    <a:gd name="T47" fmla="*/ 117 h 236"/>
                    <a:gd name="T48" fmla="*/ 48 w 207"/>
                    <a:gd name="T49" fmla="*/ 135 h 236"/>
                    <a:gd name="T50" fmla="*/ 70 w 207"/>
                    <a:gd name="T51" fmla="*/ 139 h 236"/>
                    <a:gd name="T52" fmla="*/ 105 w 207"/>
                    <a:gd name="T53" fmla="*/ 187 h 236"/>
                    <a:gd name="T54" fmla="*/ 156 w 207"/>
                    <a:gd name="T55" fmla="*/ 213 h 236"/>
                    <a:gd name="T56" fmla="*/ 195 w 207"/>
                    <a:gd name="T57" fmla="*/ 236 h 236"/>
                    <a:gd name="T58" fmla="*/ 198 w 207"/>
                    <a:gd name="T59" fmla="*/ 236 h 236"/>
                    <a:gd name="T60" fmla="*/ 197 w 207"/>
                    <a:gd name="T61" fmla="*/ 209 h 236"/>
                    <a:gd name="T62" fmla="*/ 207 w 207"/>
                    <a:gd name="T63" fmla="*/ 175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07" h="236">
                      <a:moveTo>
                        <a:pt x="207" y="175"/>
                      </a:moveTo>
                      <a:cubicBezTo>
                        <a:pt x="207" y="162"/>
                        <a:pt x="186" y="146"/>
                        <a:pt x="186" y="146"/>
                      </a:cubicBezTo>
                      <a:cubicBezTo>
                        <a:pt x="185" y="129"/>
                        <a:pt x="185" y="129"/>
                        <a:pt x="185" y="129"/>
                      </a:cubicBezTo>
                      <a:cubicBezTo>
                        <a:pt x="161" y="133"/>
                        <a:pt x="161" y="133"/>
                        <a:pt x="161" y="133"/>
                      </a:cubicBezTo>
                      <a:cubicBezTo>
                        <a:pt x="161" y="123"/>
                        <a:pt x="161" y="123"/>
                        <a:pt x="161" y="123"/>
                      </a:cubicBezTo>
                      <a:cubicBezTo>
                        <a:pt x="161" y="123"/>
                        <a:pt x="149" y="124"/>
                        <a:pt x="148" y="121"/>
                      </a:cubicBezTo>
                      <a:cubicBezTo>
                        <a:pt x="147" y="118"/>
                        <a:pt x="162" y="104"/>
                        <a:pt x="162" y="89"/>
                      </a:cubicBezTo>
                      <a:cubicBezTo>
                        <a:pt x="162" y="79"/>
                        <a:pt x="154" y="64"/>
                        <a:pt x="149" y="55"/>
                      </a:cubicBezTo>
                      <a:cubicBezTo>
                        <a:pt x="147" y="55"/>
                        <a:pt x="146" y="55"/>
                        <a:pt x="145" y="56"/>
                      </a:cubicBezTo>
                      <a:cubicBezTo>
                        <a:pt x="140" y="60"/>
                        <a:pt x="140" y="82"/>
                        <a:pt x="129" y="82"/>
                      </a:cubicBezTo>
                      <a:cubicBezTo>
                        <a:pt x="118" y="82"/>
                        <a:pt x="117" y="72"/>
                        <a:pt x="117" y="72"/>
                      </a:cubicBezTo>
                      <a:cubicBezTo>
                        <a:pt x="109" y="72"/>
                        <a:pt x="109" y="72"/>
                        <a:pt x="109" y="72"/>
                      </a:cubicBezTo>
                      <a:cubicBezTo>
                        <a:pt x="109" y="72"/>
                        <a:pt x="118" y="26"/>
                        <a:pt x="99" y="13"/>
                      </a:cubicBezTo>
                      <a:cubicBezTo>
                        <a:pt x="80" y="0"/>
                        <a:pt x="83" y="18"/>
                        <a:pt x="83" y="18"/>
                      </a:cubicBezTo>
                      <a:cubicBezTo>
                        <a:pt x="67" y="14"/>
                        <a:pt x="67" y="14"/>
                        <a:pt x="67" y="14"/>
                      </a:cubicBezTo>
                      <a:cubicBezTo>
                        <a:pt x="69" y="31"/>
                        <a:pt x="69" y="31"/>
                        <a:pt x="69" y="31"/>
                      </a:cubicBezTo>
                      <a:cubicBezTo>
                        <a:pt x="55" y="34"/>
                        <a:pt x="55" y="34"/>
                        <a:pt x="55" y="34"/>
                      </a:cubicBezTo>
                      <a:cubicBezTo>
                        <a:pt x="55" y="34"/>
                        <a:pt x="59" y="38"/>
                        <a:pt x="55" y="48"/>
                      </a:cubicBezTo>
                      <a:cubicBezTo>
                        <a:pt x="51" y="58"/>
                        <a:pt x="17" y="75"/>
                        <a:pt x="16" y="82"/>
                      </a:cubicBezTo>
                      <a:cubicBezTo>
                        <a:pt x="15" y="86"/>
                        <a:pt x="15" y="97"/>
                        <a:pt x="14" y="105"/>
                      </a:cubicBezTo>
                      <a:cubicBezTo>
                        <a:pt x="0" y="89"/>
                        <a:pt x="0" y="89"/>
                        <a:pt x="0" y="89"/>
                      </a:cubicBezTo>
                      <a:cubicBezTo>
                        <a:pt x="0" y="89"/>
                        <a:pt x="0" y="89"/>
                        <a:pt x="0" y="89"/>
                      </a:cubicBezTo>
                      <a:cubicBezTo>
                        <a:pt x="23" y="115"/>
                        <a:pt x="23" y="115"/>
                        <a:pt x="23" y="115"/>
                      </a:cubicBezTo>
                      <a:cubicBezTo>
                        <a:pt x="40" y="117"/>
                        <a:pt x="40" y="117"/>
                        <a:pt x="40" y="117"/>
                      </a:cubicBezTo>
                      <a:cubicBezTo>
                        <a:pt x="48" y="135"/>
                        <a:pt x="48" y="135"/>
                        <a:pt x="48" y="135"/>
                      </a:cubicBezTo>
                      <a:cubicBezTo>
                        <a:pt x="48" y="135"/>
                        <a:pt x="66" y="131"/>
                        <a:pt x="70" y="139"/>
                      </a:cubicBezTo>
                      <a:cubicBezTo>
                        <a:pt x="74" y="147"/>
                        <a:pt x="89" y="173"/>
                        <a:pt x="105" y="187"/>
                      </a:cubicBezTo>
                      <a:cubicBezTo>
                        <a:pt x="121" y="201"/>
                        <a:pt x="149" y="208"/>
                        <a:pt x="156" y="213"/>
                      </a:cubicBezTo>
                      <a:cubicBezTo>
                        <a:pt x="163" y="218"/>
                        <a:pt x="180" y="236"/>
                        <a:pt x="195" y="236"/>
                      </a:cubicBezTo>
                      <a:cubicBezTo>
                        <a:pt x="196" y="236"/>
                        <a:pt x="197" y="236"/>
                        <a:pt x="198" y="236"/>
                      </a:cubicBezTo>
                      <a:cubicBezTo>
                        <a:pt x="197" y="209"/>
                        <a:pt x="197" y="209"/>
                        <a:pt x="197" y="209"/>
                      </a:cubicBezTo>
                      <a:cubicBezTo>
                        <a:pt x="197" y="209"/>
                        <a:pt x="207" y="188"/>
                        <a:pt x="207" y="17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6" name="Lesotho">
                  <a:extLst>
                    <a:ext uri="{FF2B5EF4-FFF2-40B4-BE49-F238E27FC236}">
                      <a16:creationId xmlns:a16="http://schemas.microsoft.com/office/drawing/2014/main" id="{1F6F7D6E-5A6E-1A25-05BC-7BC2F21276B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29284" y="6087692"/>
                  <a:ext cx="183466" cy="150408"/>
                </a:xfrm>
                <a:custGeom>
                  <a:avLst/>
                  <a:gdLst>
                    <a:gd name="T0" fmla="*/ 0 w 111"/>
                    <a:gd name="T1" fmla="*/ 58 h 114"/>
                    <a:gd name="T2" fmla="*/ 17 w 111"/>
                    <a:gd name="T3" fmla="*/ 83 h 114"/>
                    <a:gd name="T4" fmla="*/ 17 w 111"/>
                    <a:gd name="T5" fmla="*/ 94 h 114"/>
                    <a:gd name="T6" fmla="*/ 35 w 111"/>
                    <a:gd name="T7" fmla="*/ 114 h 114"/>
                    <a:gd name="T8" fmla="*/ 50 w 111"/>
                    <a:gd name="T9" fmla="*/ 113 h 114"/>
                    <a:gd name="T10" fmla="*/ 61 w 111"/>
                    <a:gd name="T11" fmla="*/ 89 h 114"/>
                    <a:gd name="T12" fmla="*/ 82 w 111"/>
                    <a:gd name="T13" fmla="*/ 85 h 114"/>
                    <a:gd name="T14" fmla="*/ 99 w 111"/>
                    <a:gd name="T15" fmla="*/ 75 h 114"/>
                    <a:gd name="T16" fmla="*/ 96 w 111"/>
                    <a:gd name="T17" fmla="*/ 63 h 114"/>
                    <a:gd name="T18" fmla="*/ 111 w 111"/>
                    <a:gd name="T19" fmla="*/ 50 h 114"/>
                    <a:gd name="T20" fmla="*/ 110 w 111"/>
                    <a:gd name="T21" fmla="*/ 34 h 114"/>
                    <a:gd name="T22" fmla="*/ 100 w 111"/>
                    <a:gd name="T23" fmla="*/ 31 h 114"/>
                    <a:gd name="T24" fmla="*/ 83 w 111"/>
                    <a:gd name="T25" fmla="*/ 6 h 114"/>
                    <a:gd name="T26" fmla="*/ 62 w 111"/>
                    <a:gd name="T27" fmla="*/ 5 h 114"/>
                    <a:gd name="T28" fmla="*/ 54 w 111"/>
                    <a:gd name="T29" fmla="*/ 8 h 114"/>
                    <a:gd name="T30" fmla="*/ 53 w 111"/>
                    <a:gd name="T31" fmla="*/ 18 h 114"/>
                    <a:gd name="T32" fmla="*/ 38 w 111"/>
                    <a:gd name="T33" fmla="*/ 19 h 114"/>
                    <a:gd name="T34" fmla="*/ 31 w 111"/>
                    <a:gd name="T35" fmla="*/ 33 h 114"/>
                    <a:gd name="T36" fmla="*/ 19 w 111"/>
                    <a:gd name="T37" fmla="*/ 46 h 114"/>
                    <a:gd name="T38" fmla="*/ 17 w 111"/>
                    <a:gd name="T39" fmla="*/ 56 h 114"/>
                    <a:gd name="T40" fmla="*/ 0 w 111"/>
                    <a:gd name="T41" fmla="*/ 58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1" h="114">
                      <a:moveTo>
                        <a:pt x="0" y="58"/>
                      </a:moveTo>
                      <a:cubicBezTo>
                        <a:pt x="17" y="83"/>
                        <a:pt x="17" y="83"/>
                        <a:pt x="17" y="83"/>
                      </a:cubicBezTo>
                      <a:cubicBezTo>
                        <a:pt x="17" y="94"/>
                        <a:pt x="17" y="94"/>
                        <a:pt x="17" y="9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50" y="113"/>
                        <a:pt x="50" y="113"/>
                        <a:pt x="50" y="113"/>
                      </a:cubicBezTo>
                      <a:cubicBezTo>
                        <a:pt x="50" y="113"/>
                        <a:pt x="51" y="93"/>
                        <a:pt x="61" y="89"/>
                      </a:cubicBezTo>
                      <a:cubicBezTo>
                        <a:pt x="71" y="85"/>
                        <a:pt x="74" y="87"/>
                        <a:pt x="82" y="85"/>
                      </a:cubicBezTo>
                      <a:cubicBezTo>
                        <a:pt x="90" y="83"/>
                        <a:pt x="99" y="75"/>
                        <a:pt x="99" y="75"/>
                      </a:cubicBezTo>
                      <a:cubicBezTo>
                        <a:pt x="96" y="63"/>
                        <a:pt x="96" y="63"/>
                        <a:pt x="96" y="63"/>
                      </a:cubicBezTo>
                      <a:cubicBezTo>
                        <a:pt x="111" y="50"/>
                        <a:pt x="111" y="50"/>
                        <a:pt x="111" y="50"/>
                      </a:cubicBezTo>
                      <a:cubicBezTo>
                        <a:pt x="110" y="34"/>
                        <a:pt x="110" y="34"/>
                        <a:pt x="110" y="34"/>
                      </a:cubicBezTo>
                      <a:cubicBezTo>
                        <a:pt x="100" y="31"/>
                        <a:pt x="100" y="31"/>
                        <a:pt x="100" y="31"/>
                      </a:cubicBezTo>
                      <a:cubicBezTo>
                        <a:pt x="100" y="31"/>
                        <a:pt x="88" y="12"/>
                        <a:pt x="83" y="6"/>
                      </a:cubicBezTo>
                      <a:cubicBezTo>
                        <a:pt x="78" y="0"/>
                        <a:pt x="62" y="5"/>
                        <a:pt x="62" y="5"/>
                      </a:cubicBez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3" y="18"/>
                        <a:pt x="53" y="18"/>
                        <a:pt x="53" y="18"/>
                      </a:cubicBezTo>
                      <a:cubicBezTo>
                        <a:pt x="53" y="18"/>
                        <a:pt x="43" y="15"/>
                        <a:pt x="38" y="19"/>
                      </a:cubicBezTo>
                      <a:cubicBezTo>
                        <a:pt x="33" y="23"/>
                        <a:pt x="31" y="33"/>
                        <a:pt x="31" y="33"/>
                      </a:cubicBezTo>
                      <a:cubicBezTo>
                        <a:pt x="19" y="46"/>
                        <a:pt x="19" y="46"/>
                        <a:pt x="19" y="46"/>
                      </a:cubicBezTo>
                      <a:cubicBezTo>
                        <a:pt x="17" y="56"/>
                        <a:pt x="17" y="56"/>
                        <a:pt x="17" y="56"/>
                      </a:cubicBezTo>
                      <a:lnTo>
                        <a:pt x="0" y="5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7" name="Kenya">
                  <a:extLst>
                    <a:ext uri="{FF2B5EF4-FFF2-40B4-BE49-F238E27FC236}">
                      <a16:creationId xmlns:a16="http://schemas.microsoft.com/office/drawing/2014/main" id="{C9D268C3-E74F-F145-033F-C7326F7EA3C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426706" y="3718786"/>
                  <a:ext cx="630372" cy="673071"/>
                </a:xfrm>
                <a:custGeom>
                  <a:avLst/>
                  <a:gdLst>
                    <a:gd name="T0" fmla="*/ 337 w 378"/>
                    <a:gd name="T1" fmla="*/ 100 h 509"/>
                    <a:gd name="T2" fmla="*/ 358 w 378"/>
                    <a:gd name="T3" fmla="*/ 79 h 509"/>
                    <a:gd name="T4" fmla="*/ 378 w 378"/>
                    <a:gd name="T5" fmla="*/ 43 h 509"/>
                    <a:gd name="T6" fmla="*/ 362 w 378"/>
                    <a:gd name="T7" fmla="*/ 37 h 509"/>
                    <a:gd name="T8" fmla="*/ 358 w 378"/>
                    <a:gd name="T9" fmla="*/ 41 h 509"/>
                    <a:gd name="T10" fmla="*/ 340 w 378"/>
                    <a:gd name="T11" fmla="*/ 40 h 509"/>
                    <a:gd name="T12" fmla="*/ 324 w 378"/>
                    <a:gd name="T13" fmla="*/ 23 h 509"/>
                    <a:gd name="T14" fmla="*/ 312 w 378"/>
                    <a:gd name="T15" fmla="*/ 32 h 509"/>
                    <a:gd name="T16" fmla="*/ 283 w 378"/>
                    <a:gd name="T17" fmla="*/ 46 h 509"/>
                    <a:gd name="T18" fmla="*/ 278 w 378"/>
                    <a:gd name="T19" fmla="*/ 56 h 509"/>
                    <a:gd name="T20" fmla="*/ 265 w 378"/>
                    <a:gd name="T21" fmla="*/ 70 h 509"/>
                    <a:gd name="T22" fmla="*/ 234 w 378"/>
                    <a:gd name="T23" fmla="*/ 61 h 509"/>
                    <a:gd name="T24" fmla="*/ 194 w 378"/>
                    <a:gd name="T25" fmla="*/ 57 h 509"/>
                    <a:gd name="T26" fmla="*/ 143 w 378"/>
                    <a:gd name="T27" fmla="*/ 17 h 509"/>
                    <a:gd name="T28" fmla="*/ 96 w 378"/>
                    <a:gd name="T29" fmla="*/ 15 h 509"/>
                    <a:gd name="T30" fmla="*/ 90 w 378"/>
                    <a:gd name="T31" fmla="*/ 0 h 509"/>
                    <a:gd name="T32" fmla="*/ 77 w 378"/>
                    <a:gd name="T33" fmla="*/ 8 h 509"/>
                    <a:gd name="T34" fmla="*/ 17 w 378"/>
                    <a:gd name="T35" fmla="*/ 9 h 509"/>
                    <a:gd name="T36" fmla="*/ 3 w 378"/>
                    <a:gd name="T37" fmla="*/ 29 h 509"/>
                    <a:gd name="T38" fmla="*/ 10 w 378"/>
                    <a:gd name="T39" fmla="*/ 51 h 509"/>
                    <a:gd name="T40" fmla="*/ 23 w 378"/>
                    <a:gd name="T41" fmla="*/ 56 h 509"/>
                    <a:gd name="T42" fmla="*/ 21 w 378"/>
                    <a:gd name="T43" fmla="*/ 71 h 509"/>
                    <a:gd name="T44" fmla="*/ 30 w 378"/>
                    <a:gd name="T45" fmla="*/ 86 h 509"/>
                    <a:gd name="T46" fmla="*/ 29 w 378"/>
                    <a:gd name="T47" fmla="*/ 91 h 509"/>
                    <a:gd name="T48" fmla="*/ 50 w 378"/>
                    <a:gd name="T49" fmla="*/ 116 h 509"/>
                    <a:gd name="T50" fmla="*/ 41 w 378"/>
                    <a:gd name="T51" fmla="*/ 126 h 509"/>
                    <a:gd name="T52" fmla="*/ 57 w 378"/>
                    <a:gd name="T53" fmla="*/ 156 h 509"/>
                    <a:gd name="T54" fmla="*/ 46 w 378"/>
                    <a:gd name="T55" fmla="*/ 174 h 509"/>
                    <a:gd name="T56" fmla="*/ 42 w 378"/>
                    <a:gd name="T57" fmla="*/ 189 h 509"/>
                    <a:gd name="T58" fmla="*/ 29 w 378"/>
                    <a:gd name="T59" fmla="*/ 193 h 509"/>
                    <a:gd name="T60" fmla="*/ 26 w 378"/>
                    <a:gd name="T61" fmla="*/ 208 h 509"/>
                    <a:gd name="T62" fmla="*/ 14 w 378"/>
                    <a:gd name="T63" fmla="*/ 219 h 509"/>
                    <a:gd name="T64" fmla="*/ 13 w 378"/>
                    <a:gd name="T65" fmla="*/ 230 h 509"/>
                    <a:gd name="T66" fmla="*/ 2 w 378"/>
                    <a:gd name="T67" fmla="*/ 248 h 509"/>
                    <a:gd name="T68" fmla="*/ 18 w 378"/>
                    <a:gd name="T69" fmla="*/ 270 h 509"/>
                    <a:gd name="T70" fmla="*/ 25 w 378"/>
                    <a:gd name="T71" fmla="*/ 262 h 509"/>
                    <a:gd name="T72" fmla="*/ 39 w 378"/>
                    <a:gd name="T73" fmla="*/ 261 h 509"/>
                    <a:gd name="T74" fmla="*/ 42 w 378"/>
                    <a:gd name="T75" fmla="*/ 273 h 509"/>
                    <a:gd name="T76" fmla="*/ 33 w 378"/>
                    <a:gd name="T77" fmla="*/ 275 h 509"/>
                    <a:gd name="T78" fmla="*/ 23 w 378"/>
                    <a:gd name="T79" fmla="*/ 283 h 509"/>
                    <a:gd name="T80" fmla="*/ 9 w 378"/>
                    <a:gd name="T81" fmla="*/ 283 h 509"/>
                    <a:gd name="T82" fmla="*/ 13 w 378"/>
                    <a:gd name="T83" fmla="*/ 302 h 509"/>
                    <a:gd name="T84" fmla="*/ 9 w 378"/>
                    <a:gd name="T85" fmla="*/ 312 h 509"/>
                    <a:gd name="T86" fmla="*/ 175 w 378"/>
                    <a:gd name="T87" fmla="*/ 416 h 509"/>
                    <a:gd name="T88" fmla="*/ 184 w 378"/>
                    <a:gd name="T89" fmla="*/ 429 h 509"/>
                    <a:gd name="T90" fmla="*/ 173 w 378"/>
                    <a:gd name="T91" fmla="*/ 439 h 509"/>
                    <a:gd name="T92" fmla="*/ 248 w 378"/>
                    <a:gd name="T93" fmla="*/ 509 h 509"/>
                    <a:gd name="T94" fmla="*/ 248 w 378"/>
                    <a:gd name="T95" fmla="*/ 508 h 509"/>
                    <a:gd name="T96" fmla="*/ 261 w 378"/>
                    <a:gd name="T97" fmla="*/ 505 h 509"/>
                    <a:gd name="T98" fmla="*/ 281 w 378"/>
                    <a:gd name="T99" fmla="*/ 463 h 509"/>
                    <a:gd name="T100" fmla="*/ 279 w 378"/>
                    <a:gd name="T101" fmla="*/ 441 h 509"/>
                    <a:gd name="T102" fmla="*/ 299 w 378"/>
                    <a:gd name="T103" fmla="*/ 424 h 509"/>
                    <a:gd name="T104" fmla="*/ 301 w 378"/>
                    <a:gd name="T105" fmla="*/ 398 h 509"/>
                    <a:gd name="T106" fmla="*/ 324 w 378"/>
                    <a:gd name="T107" fmla="*/ 388 h 509"/>
                    <a:gd name="T108" fmla="*/ 328 w 378"/>
                    <a:gd name="T109" fmla="*/ 361 h 509"/>
                    <a:gd name="T110" fmla="*/ 360 w 378"/>
                    <a:gd name="T111" fmla="*/ 351 h 509"/>
                    <a:gd name="T112" fmla="*/ 364 w 378"/>
                    <a:gd name="T113" fmla="*/ 343 h 509"/>
                    <a:gd name="T114" fmla="*/ 336 w 378"/>
                    <a:gd name="T115" fmla="*/ 303 h 509"/>
                    <a:gd name="T116" fmla="*/ 337 w 378"/>
                    <a:gd name="T117" fmla="*/ 100 h 5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78" h="509">
                      <a:moveTo>
                        <a:pt x="337" y="100"/>
                      </a:moveTo>
                      <a:cubicBezTo>
                        <a:pt x="337" y="100"/>
                        <a:pt x="351" y="87"/>
                        <a:pt x="358" y="79"/>
                      </a:cubicBezTo>
                      <a:cubicBezTo>
                        <a:pt x="365" y="71"/>
                        <a:pt x="378" y="43"/>
                        <a:pt x="378" y="43"/>
                      </a:cubicBezTo>
                      <a:cubicBezTo>
                        <a:pt x="362" y="37"/>
                        <a:pt x="362" y="37"/>
                        <a:pt x="362" y="37"/>
                      </a:cubicBezTo>
                      <a:cubicBezTo>
                        <a:pt x="358" y="41"/>
                        <a:pt x="358" y="41"/>
                        <a:pt x="358" y="41"/>
                      </a:cubicBezTo>
                      <a:cubicBezTo>
                        <a:pt x="340" y="40"/>
                        <a:pt x="340" y="40"/>
                        <a:pt x="340" y="40"/>
                      </a:cubicBezTo>
                      <a:cubicBezTo>
                        <a:pt x="324" y="23"/>
                        <a:pt x="324" y="23"/>
                        <a:pt x="324" y="23"/>
                      </a:cubicBezTo>
                      <a:cubicBezTo>
                        <a:pt x="312" y="32"/>
                        <a:pt x="312" y="32"/>
                        <a:pt x="312" y="32"/>
                      </a:cubicBezTo>
                      <a:cubicBezTo>
                        <a:pt x="312" y="32"/>
                        <a:pt x="290" y="40"/>
                        <a:pt x="283" y="46"/>
                      </a:cubicBezTo>
                      <a:cubicBezTo>
                        <a:pt x="276" y="52"/>
                        <a:pt x="278" y="56"/>
                        <a:pt x="278" y="56"/>
                      </a:cubicBezTo>
                      <a:cubicBezTo>
                        <a:pt x="265" y="70"/>
                        <a:pt x="265" y="70"/>
                        <a:pt x="265" y="70"/>
                      </a:cubicBezTo>
                      <a:cubicBezTo>
                        <a:pt x="265" y="70"/>
                        <a:pt x="247" y="63"/>
                        <a:pt x="234" y="61"/>
                      </a:cubicBezTo>
                      <a:cubicBezTo>
                        <a:pt x="221" y="59"/>
                        <a:pt x="194" y="57"/>
                        <a:pt x="194" y="57"/>
                      </a:cubicBezTo>
                      <a:cubicBezTo>
                        <a:pt x="143" y="17"/>
                        <a:pt x="143" y="17"/>
                        <a:pt x="143" y="17"/>
                      </a:cubicBezTo>
                      <a:cubicBezTo>
                        <a:pt x="96" y="15"/>
                        <a:pt x="96" y="15"/>
                        <a:pt x="96" y="15"/>
                      </a:cubicBezTo>
                      <a:cubicBezTo>
                        <a:pt x="90" y="0"/>
                        <a:pt x="90" y="0"/>
                        <a:pt x="90" y="0"/>
                      </a:cubicBezTo>
                      <a:cubicBezTo>
                        <a:pt x="77" y="8"/>
                        <a:pt x="77" y="8"/>
                        <a:pt x="77" y="8"/>
                      </a:cubicBezTo>
                      <a:cubicBezTo>
                        <a:pt x="17" y="9"/>
                        <a:pt x="17" y="9"/>
                        <a:pt x="17" y="9"/>
                      </a:cubicBezTo>
                      <a:cubicBezTo>
                        <a:pt x="3" y="29"/>
                        <a:pt x="3" y="29"/>
                        <a:pt x="3" y="29"/>
                      </a:cubicBezTo>
                      <a:cubicBezTo>
                        <a:pt x="3" y="29"/>
                        <a:pt x="10" y="38"/>
                        <a:pt x="10" y="51"/>
                      </a:cubicBezTo>
                      <a:cubicBezTo>
                        <a:pt x="10" y="64"/>
                        <a:pt x="23" y="56"/>
                        <a:pt x="23" y="56"/>
                      </a:cubicBezTo>
                      <a:cubicBezTo>
                        <a:pt x="23" y="56"/>
                        <a:pt x="23" y="65"/>
                        <a:pt x="21" y="71"/>
                      </a:cubicBezTo>
                      <a:cubicBezTo>
                        <a:pt x="19" y="77"/>
                        <a:pt x="30" y="86"/>
                        <a:pt x="30" y="86"/>
                      </a:cubicBezTo>
                      <a:cubicBezTo>
                        <a:pt x="29" y="91"/>
                        <a:pt x="29" y="91"/>
                        <a:pt x="29" y="91"/>
                      </a:cubicBezTo>
                      <a:cubicBezTo>
                        <a:pt x="50" y="116"/>
                        <a:pt x="50" y="116"/>
                        <a:pt x="50" y="116"/>
                      </a:cubicBezTo>
                      <a:cubicBezTo>
                        <a:pt x="50" y="116"/>
                        <a:pt x="42" y="121"/>
                        <a:pt x="41" y="126"/>
                      </a:cubicBezTo>
                      <a:cubicBezTo>
                        <a:pt x="40" y="131"/>
                        <a:pt x="53" y="150"/>
                        <a:pt x="57" y="156"/>
                      </a:cubicBezTo>
                      <a:cubicBezTo>
                        <a:pt x="61" y="162"/>
                        <a:pt x="46" y="174"/>
                        <a:pt x="46" y="174"/>
                      </a:cubicBezTo>
                      <a:cubicBezTo>
                        <a:pt x="42" y="189"/>
                        <a:pt x="42" y="189"/>
                        <a:pt x="42" y="189"/>
                      </a:cubicBezTo>
                      <a:cubicBezTo>
                        <a:pt x="42" y="189"/>
                        <a:pt x="36" y="187"/>
                        <a:pt x="29" y="193"/>
                      </a:cubicBezTo>
                      <a:cubicBezTo>
                        <a:pt x="22" y="199"/>
                        <a:pt x="26" y="208"/>
                        <a:pt x="26" y="208"/>
                      </a:cubicBezTo>
                      <a:cubicBezTo>
                        <a:pt x="14" y="219"/>
                        <a:pt x="14" y="219"/>
                        <a:pt x="14" y="219"/>
                      </a:cubicBezTo>
                      <a:cubicBezTo>
                        <a:pt x="13" y="230"/>
                        <a:pt x="13" y="230"/>
                        <a:pt x="13" y="230"/>
                      </a:cubicBezTo>
                      <a:cubicBezTo>
                        <a:pt x="13" y="230"/>
                        <a:pt x="2" y="237"/>
                        <a:pt x="2" y="248"/>
                      </a:cubicBezTo>
                      <a:cubicBezTo>
                        <a:pt x="2" y="259"/>
                        <a:pt x="11" y="269"/>
                        <a:pt x="18" y="270"/>
                      </a:cubicBezTo>
                      <a:cubicBezTo>
                        <a:pt x="25" y="271"/>
                        <a:pt x="25" y="262"/>
                        <a:pt x="25" y="262"/>
                      </a:cubicBezTo>
                      <a:cubicBezTo>
                        <a:pt x="39" y="261"/>
                        <a:pt x="39" y="261"/>
                        <a:pt x="39" y="261"/>
                      </a:cubicBezTo>
                      <a:cubicBezTo>
                        <a:pt x="42" y="273"/>
                        <a:pt x="42" y="273"/>
                        <a:pt x="42" y="273"/>
                      </a:cubicBezTo>
                      <a:cubicBezTo>
                        <a:pt x="33" y="275"/>
                        <a:pt x="33" y="275"/>
                        <a:pt x="33" y="275"/>
                      </a:cubicBezTo>
                      <a:cubicBezTo>
                        <a:pt x="23" y="283"/>
                        <a:pt x="23" y="283"/>
                        <a:pt x="23" y="283"/>
                      </a:cubicBezTo>
                      <a:cubicBezTo>
                        <a:pt x="23" y="283"/>
                        <a:pt x="18" y="273"/>
                        <a:pt x="9" y="283"/>
                      </a:cubicBezTo>
                      <a:cubicBezTo>
                        <a:pt x="0" y="293"/>
                        <a:pt x="13" y="302"/>
                        <a:pt x="13" y="302"/>
                      </a:cubicBezTo>
                      <a:cubicBezTo>
                        <a:pt x="9" y="312"/>
                        <a:pt x="9" y="312"/>
                        <a:pt x="9" y="312"/>
                      </a:cubicBezTo>
                      <a:cubicBezTo>
                        <a:pt x="175" y="416"/>
                        <a:pt x="175" y="416"/>
                        <a:pt x="175" y="416"/>
                      </a:cubicBezTo>
                      <a:cubicBezTo>
                        <a:pt x="175" y="416"/>
                        <a:pt x="187" y="425"/>
                        <a:pt x="184" y="429"/>
                      </a:cubicBezTo>
                      <a:cubicBezTo>
                        <a:pt x="181" y="433"/>
                        <a:pt x="173" y="439"/>
                        <a:pt x="173" y="439"/>
                      </a:cubicBezTo>
                      <a:cubicBezTo>
                        <a:pt x="248" y="509"/>
                        <a:pt x="248" y="509"/>
                        <a:pt x="248" y="509"/>
                      </a:cubicBezTo>
                      <a:cubicBezTo>
                        <a:pt x="248" y="508"/>
                        <a:pt x="248" y="508"/>
                        <a:pt x="248" y="508"/>
                      </a:cubicBezTo>
                      <a:cubicBezTo>
                        <a:pt x="261" y="505"/>
                        <a:pt x="261" y="505"/>
                        <a:pt x="261" y="505"/>
                      </a:cubicBezTo>
                      <a:cubicBezTo>
                        <a:pt x="281" y="463"/>
                        <a:pt x="281" y="463"/>
                        <a:pt x="281" y="463"/>
                      </a:cubicBezTo>
                      <a:cubicBezTo>
                        <a:pt x="281" y="463"/>
                        <a:pt x="279" y="448"/>
                        <a:pt x="279" y="441"/>
                      </a:cubicBezTo>
                      <a:cubicBezTo>
                        <a:pt x="279" y="434"/>
                        <a:pt x="300" y="434"/>
                        <a:pt x="299" y="424"/>
                      </a:cubicBezTo>
                      <a:cubicBezTo>
                        <a:pt x="298" y="414"/>
                        <a:pt x="293" y="401"/>
                        <a:pt x="301" y="398"/>
                      </a:cubicBezTo>
                      <a:cubicBezTo>
                        <a:pt x="309" y="395"/>
                        <a:pt x="324" y="388"/>
                        <a:pt x="324" y="388"/>
                      </a:cubicBezTo>
                      <a:cubicBezTo>
                        <a:pt x="328" y="361"/>
                        <a:pt x="328" y="361"/>
                        <a:pt x="328" y="361"/>
                      </a:cubicBezTo>
                      <a:cubicBezTo>
                        <a:pt x="328" y="361"/>
                        <a:pt x="352" y="366"/>
                        <a:pt x="360" y="351"/>
                      </a:cubicBezTo>
                      <a:cubicBezTo>
                        <a:pt x="361" y="349"/>
                        <a:pt x="362" y="346"/>
                        <a:pt x="364" y="343"/>
                      </a:cubicBezTo>
                      <a:cubicBezTo>
                        <a:pt x="336" y="303"/>
                        <a:pt x="336" y="303"/>
                        <a:pt x="336" y="303"/>
                      </a:cubicBezTo>
                      <a:lnTo>
                        <a:pt x="337" y="10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8" name="Guinea-Bissau">
                  <a:extLst>
                    <a:ext uri="{FF2B5EF4-FFF2-40B4-BE49-F238E27FC236}">
                      <a16:creationId xmlns:a16="http://schemas.microsoft.com/office/drawing/2014/main" id="{31C49352-CC75-7CF0-28D8-5C3D2A95DD4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84550" y="3147236"/>
                  <a:ext cx="206987" cy="135367"/>
                </a:xfrm>
                <a:custGeom>
                  <a:avLst/>
                  <a:gdLst>
                    <a:gd name="T0" fmla="*/ 85 w 125"/>
                    <a:gd name="T1" fmla="*/ 67 h 103"/>
                    <a:gd name="T2" fmla="*/ 102 w 125"/>
                    <a:gd name="T3" fmla="*/ 60 h 103"/>
                    <a:gd name="T4" fmla="*/ 124 w 125"/>
                    <a:gd name="T5" fmla="*/ 49 h 103"/>
                    <a:gd name="T6" fmla="*/ 108 w 125"/>
                    <a:gd name="T7" fmla="*/ 28 h 103"/>
                    <a:gd name="T8" fmla="*/ 124 w 125"/>
                    <a:gd name="T9" fmla="*/ 19 h 103"/>
                    <a:gd name="T10" fmla="*/ 123 w 125"/>
                    <a:gd name="T11" fmla="*/ 2 h 103"/>
                    <a:gd name="T12" fmla="*/ 56 w 125"/>
                    <a:gd name="T13" fmla="*/ 0 h 103"/>
                    <a:gd name="T14" fmla="*/ 39 w 125"/>
                    <a:gd name="T15" fmla="*/ 15 h 103"/>
                    <a:gd name="T16" fmla="*/ 12 w 125"/>
                    <a:gd name="T17" fmla="*/ 15 h 103"/>
                    <a:gd name="T18" fmla="*/ 4 w 125"/>
                    <a:gd name="T19" fmla="*/ 25 h 103"/>
                    <a:gd name="T20" fmla="*/ 0 w 125"/>
                    <a:gd name="T21" fmla="*/ 48 h 103"/>
                    <a:gd name="T22" fmla="*/ 15 w 125"/>
                    <a:gd name="T23" fmla="*/ 50 h 103"/>
                    <a:gd name="T24" fmla="*/ 46 w 125"/>
                    <a:gd name="T25" fmla="*/ 45 h 103"/>
                    <a:gd name="T26" fmla="*/ 63 w 125"/>
                    <a:gd name="T27" fmla="*/ 39 h 103"/>
                    <a:gd name="T28" fmla="*/ 63 w 125"/>
                    <a:gd name="T29" fmla="*/ 54 h 103"/>
                    <a:gd name="T30" fmla="*/ 37 w 125"/>
                    <a:gd name="T31" fmla="*/ 52 h 103"/>
                    <a:gd name="T32" fmla="*/ 42 w 125"/>
                    <a:gd name="T33" fmla="*/ 68 h 103"/>
                    <a:gd name="T34" fmla="*/ 63 w 125"/>
                    <a:gd name="T35" fmla="*/ 63 h 103"/>
                    <a:gd name="T36" fmla="*/ 39 w 125"/>
                    <a:gd name="T37" fmla="*/ 75 h 103"/>
                    <a:gd name="T38" fmla="*/ 58 w 125"/>
                    <a:gd name="T39" fmla="*/ 103 h 103"/>
                    <a:gd name="T40" fmla="*/ 63 w 125"/>
                    <a:gd name="T41" fmla="*/ 88 h 103"/>
                    <a:gd name="T42" fmla="*/ 72 w 125"/>
                    <a:gd name="T43" fmla="*/ 68 h 103"/>
                    <a:gd name="T44" fmla="*/ 85 w 125"/>
                    <a:gd name="T45" fmla="*/ 67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25" h="103">
                      <a:moveTo>
                        <a:pt x="85" y="67"/>
                      </a:moveTo>
                      <a:cubicBezTo>
                        <a:pt x="85" y="67"/>
                        <a:pt x="92" y="60"/>
                        <a:pt x="102" y="60"/>
                      </a:cubicBezTo>
                      <a:cubicBezTo>
                        <a:pt x="112" y="60"/>
                        <a:pt x="123" y="64"/>
                        <a:pt x="124" y="49"/>
                      </a:cubicBezTo>
                      <a:cubicBezTo>
                        <a:pt x="125" y="34"/>
                        <a:pt x="108" y="39"/>
                        <a:pt x="108" y="28"/>
                      </a:cubicBezTo>
                      <a:cubicBezTo>
                        <a:pt x="108" y="17"/>
                        <a:pt x="124" y="19"/>
                        <a:pt x="124" y="19"/>
                      </a:cubicBezTo>
                      <a:cubicBezTo>
                        <a:pt x="123" y="2"/>
                        <a:pt x="123" y="2"/>
                        <a:pt x="123" y="2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39" y="15"/>
                        <a:pt x="39" y="15"/>
                        <a:pt x="39" y="15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0" y="48"/>
                        <a:pt x="8" y="56"/>
                        <a:pt x="15" y="50"/>
                      </a:cubicBezTo>
                      <a:cubicBezTo>
                        <a:pt x="22" y="44"/>
                        <a:pt x="46" y="45"/>
                        <a:pt x="46" y="45"/>
                      </a:cubicBezTo>
                      <a:cubicBezTo>
                        <a:pt x="63" y="39"/>
                        <a:pt x="63" y="39"/>
                        <a:pt x="63" y="39"/>
                      </a:cubicBezTo>
                      <a:cubicBezTo>
                        <a:pt x="63" y="54"/>
                        <a:pt x="63" y="54"/>
                        <a:pt x="63" y="54"/>
                      </a:cubicBezTo>
                      <a:cubicBezTo>
                        <a:pt x="63" y="54"/>
                        <a:pt x="39" y="42"/>
                        <a:pt x="37" y="52"/>
                      </a:cubicBezTo>
                      <a:cubicBezTo>
                        <a:pt x="35" y="62"/>
                        <a:pt x="42" y="68"/>
                        <a:pt x="42" y="68"/>
                      </a:cubicBezTo>
                      <a:cubicBezTo>
                        <a:pt x="63" y="63"/>
                        <a:pt x="63" y="63"/>
                        <a:pt x="63" y="63"/>
                      </a:cubicBezTo>
                      <a:cubicBezTo>
                        <a:pt x="39" y="75"/>
                        <a:pt x="39" y="75"/>
                        <a:pt x="39" y="75"/>
                      </a:cubicBezTo>
                      <a:cubicBezTo>
                        <a:pt x="58" y="103"/>
                        <a:pt x="58" y="103"/>
                        <a:pt x="58" y="103"/>
                      </a:cubicBezTo>
                      <a:cubicBezTo>
                        <a:pt x="63" y="88"/>
                        <a:pt x="63" y="88"/>
                        <a:pt x="63" y="88"/>
                      </a:cubicBezTo>
                      <a:cubicBezTo>
                        <a:pt x="72" y="68"/>
                        <a:pt x="72" y="68"/>
                        <a:pt x="72" y="68"/>
                      </a:cubicBezTo>
                      <a:lnTo>
                        <a:pt x="85" y="6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9" name="Guinea">
                  <a:extLst>
                    <a:ext uri="{FF2B5EF4-FFF2-40B4-BE49-F238E27FC236}">
                      <a16:creationId xmlns:a16="http://schemas.microsoft.com/office/drawing/2014/main" id="{E62A7EB1-7A26-15E1-B607-13E1C8B69CB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88050" y="3150994"/>
                  <a:ext cx="573921" cy="391059"/>
                </a:xfrm>
                <a:custGeom>
                  <a:avLst/>
                  <a:gdLst>
                    <a:gd name="T0" fmla="*/ 61 w 345"/>
                    <a:gd name="T1" fmla="*/ 17 h 296"/>
                    <a:gd name="T2" fmla="*/ 61 w 345"/>
                    <a:gd name="T3" fmla="*/ 47 h 296"/>
                    <a:gd name="T4" fmla="*/ 22 w 345"/>
                    <a:gd name="T5" fmla="*/ 65 h 296"/>
                    <a:gd name="T6" fmla="*/ 0 w 345"/>
                    <a:gd name="T7" fmla="*/ 86 h 296"/>
                    <a:gd name="T8" fmla="*/ 19 w 345"/>
                    <a:gd name="T9" fmla="*/ 103 h 296"/>
                    <a:gd name="T10" fmla="*/ 45 w 345"/>
                    <a:gd name="T11" fmla="*/ 138 h 296"/>
                    <a:gd name="T12" fmla="*/ 59 w 345"/>
                    <a:gd name="T13" fmla="*/ 149 h 296"/>
                    <a:gd name="T14" fmla="*/ 86 w 345"/>
                    <a:gd name="T15" fmla="*/ 194 h 296"/>
                    <a:gd name="T16" fmla="*/ 142 w 345"/>
                    <a:gd name="T17" fmla="*/ 152 h 296"/>
                    <a:gd name="T18" fmla="*/ 172 w 345"/>
                    <a:gd name="T19" fmla="*/ 140 h 296"/>
                    <a:gd name="T20" fmla="*/ 197 w 345"/>
                    <a:gd name="T21" fmla="*/ 190 h 296"/>
                    <a:gd name="T22" fmla="*/ 197 w 345"/>
                    <a:gd name="T23" fmla="*/ 226 h 296"/>
                    <a:gd name="T24" fmla="*/ 215 w 345"/>
                    <a:gd name="T25" fmla="*/ 228 h 296"/>
                    <a:gd name="T26" fmla="*/ 247 w 345"/>
                    <a:gd name="T27" fmla="*/ 227 h 296"/>
                    <a:gd name="T28" fmla="*/ 265 w 345"/>
                    <a:gd name="T29" fmla="*/ 286 h 296"/>
                    <a:gd name="T30" fmla="*/ 293 w 345"/>
                    <a:gd name="T31" fmla="*/ 270 h 296"/>
                    <a:gd name="T32" fmla="*/ 320 w 345"/>
                    <a:gd name="T33" fmla="*/ 255 h 296"/>
                    <a:gd name="T34" fmla="*/ 314 w 345"/>
                    <a:gd name="T35" fmla="*/ 229 h 296"/>
                    <a:gd name="T36" fmla="*/ 345 w 345"/>
                    <a:gd name="T37" fmla="*/ 220 h 296"/>
                    <a:gd name="T38" fmla="*/ 338 w 345"/>
                    <a:gd name="T39" fmla="*/ 193 h 296"/>
                    <a:gd name="T40" fmla="*/ 335 w 345"/>
                    <a:gd name="T41" fmla="*/ 176 h 296"/>
                    <a:gd name="T42" fmla="*/ 318 w 345"/>
                    <a:gd name="T43" fmla="*/ 148 h 296"/>
                    <a:gd name="T44" fmla="*/ 312 w 345"/>
                    <a:gd name="T45" fmla="*/ 115 h 296"/>
                    <a:gd name="T46" fmla="*/ 293 w 345"/>
                    <a:gd name="T47" fmla="*/ 91 h 296"/>
                    <a:gd name="T48" fmla="*/ 287 w 345"/>
                    <a:gd name="T49" fmla="*/ 52 h 296"/>
                    <a:gd name="T50" fmla="*/ 284 w 345"/>
                    <a:gd name="T51" fmla="*/ 26 h 296"/>
                    <a:gd name="T52" fmla="*/ 261 w 345"/>
                    <a:gd name="T53" fmla="*/ 27 h 296"/>
                    <a:gd name="T54" fmla="*/ 222 w 345"/>
                    <a:gd name="T55" fmla="*/ 23 h 296"/>
                    <a:gd name="T56" fmla="*/ 191 w 345"/>
                    <a:gd name="T57" fmla="*/ 23 h 296"/>
                    <a:gd name="T58" fmla="*/ 166 w 345"/>
                    <a:gd name="T59" fmla="*/ 16 h 296"/>
                    <a:gd name="T60" fmla="*/ 122 w 345"/>
                    <a:gd name="T61" fmla="*/ 24 h 296"/>
                    <a:gd name="T62" fmla="*/ 95 w 345"/>
                    <a:gd name="T63" fmla="*/ 14 h 296"/>
                    <a:gd name="T64" fmla="*/ 60 w 345"/>
                    <a:gd name="T65" fmla="*/ 0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45" h="296">
                      <a:moveTo>
                        <a:pt x="60" y="0"/>
                      </a:moveTo>
                      <a:cubicBezTo>
                        <a:pt x="61" y="17"/>
                        <a:pt x="61" y="17"/>
                        <a:pt x="61" y="17"/>
                      </a:cubicBezTo>
                      <a:cubicBezTo>
                        <a:pt x="61" y="17"/>
                        <a:pt x="45" y="15"/>
                        <a:pt x="45" y="26"/>
                      </a:cubicBezTo>
                      <a:cubicBezTo>
                        <a:pt x="45" y="37"/>
                        <a:pt x="62" y="32"/>
                        <a:pt x="61" y="47"/>
                      </a:cubicBezTo>
                      <a:cubicBezTo>
                        <a:pt x="60" y="62"/>
                        <a:pt x="49" y="58"/>
                        <a:pt x="39" y="58"/>
                      </a:cubicBezTo>
                      <a:cubicBezTo>
                        <a:pt x="29" y="58"/>
                        <a:pt x="22" y="65"/>
                        <a:pt x="22" y="65"/>
                      </a:cubicBezTo>
                      <a:cubicBezTo>
                        <a:pt x="9" y="66"/>
                        <a:pt x="9" y="66"/>
                        <a:pt x="9" y="66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0" y="86"/>
                        <a:pt x="4" y="100"/>
                        <a:pt x="9" y="102"/>
                      </a:cubicBezTo>
                      <a:cubicBezTo>
                        <a:pt x="14" y="104"/>
                        <a:pt x="19" y="103"/>
                        <a:pt x="19" y="103"/>
                      </a:cubicBezTo>
                      <a:cubicBezTo>
                        <a:pt x="19" y="103"/>
                        <a:pt x="10" y="127"/>
                        <a:pt x="25" y="134"/>
                      </a:cubicBezTo>
                      <a:cubicBezTo>
                        <a:pt x="40" y="141"/>
                        <a:pt x="45" y="138"/>
                        <a:pt x="45" y="138"/>
                      </a:cubicBezTo>
                      <a:cubicBezTo>
                        <a:pt x="45" y="138"/>
                        <a:pt x="42" y="150"/>
                        <a:pt x="46" y="154"/>
                      </a:cubicBezTo>
                      <a:cubicBezTo>
                        <a:pt x="50" y="158"/>
                        <a:pt x="59" y="149"/>
                        <a:pt x="59" y="149"/>
                      </a:cubicBezTo>
                      <a:cubicBezTo>
                        <a:pt x="59" y="149"/>
                        <a:pt x="63" y="169"/>
                        <a:pt x="67" y="176"/>
                      </a:cubicBezTo>
                      <a:cubicBezTo>
                        <a:pt x="71" y="183"/>
                        <a:pt x="86" y="194"/>
                        <a:pt x="86" y="194"/>
                      </a:cubicBezTo>
                      <a:cubicBezTo>
                        <a:pt x="98" y="194"/>
                        <a:pt x="117" y="152"/>
                        <a:pt x="117" y="152"/>
                      </a:cubicBezTo>
                      <a:cubicBezTo>
                        <a:pt x="142" y="152"/>
                        <a:pt x="142" y="152"/>
                        <a:pt x="142" y="152"/>
                      </a:cubicBezTo>
                      <a:cubicBezTo>
                        <a:pt x="146" y="140"/>
                        <a:pt x="146" y="140"/>
                        <a:pt x="146" y="140"/>
                      </a:cubicBezTo>
                      <a:cubicBezTo>
                        <a:pt x="172" y="140"/>
                        <a:pt x="172" y="140"/>
                        <a:pt x="172" y="140"/>
                      </a:cubicBezTo>
                      <a:cubicBezTo>
                        <a:pt x="200" y="181"/>
                        <a:pt x="200" y="181"/>
                        <a:pt x="200" y="181"/>
                      </a:cubicBezTo>
                      <a:cubicBezTo>
                        <a:pt x="197" y="190"/>
                        <a:pt x="197" y="190"/>
                        <a:pt x="197" y="190"/>
                      </a:cubicBezTo>
                      <a:cubicBezTo>
                        <a:pt x="197" y="190"/>
                        <a:pt x="208" y="202"/>
                        <a:pt x="208" y="210"/>
                      </a:cubicBezTo>
                      <a:cubicBezTo>
                        <a:pt x="208" y="218"/>
                        <a:pt x="197" y="226"/>
                        <a:pt x="197" y="226"/>
                      </a:cubicBezTo>
                      <a:cubicBezTo>
                        <a:pt x="196" y="239"/>
                        <a:pt x="196" y="239"/>
                        <a:pt x="196" y="239"/>
                      </a:cubicBezTo>
                      <a:cubicBezTo>
                        <a:pt x="215" y="228"/>
                        <a:pt x="215" y="228"/>
                        <a:pt x="215" y="228"/>
                      </a:cubicBezTo>
                      <a:cubicBezTo>
                        <a:pt x="231" y="232"/>
                        <a:pt x="231" y="232"/>
                        <a:pt x="231" y="232"/>
                      </a:cubicBezTo>
                      <a:cubicBezTo>
                        <a:pt x="231" y="232"/>
                        <a:pt x="228" y="214"/>
                        <a:pt x="247" y="227"/>
                      </a:cubicBezTo>
                      <a:cubicBezTo>
                        <a:pt x="266" y="240"/>
                        <a:pt x="257" y="286"/>
                        <a:pt x="257" y="286"/>
                      </a:cubicBezTo>
                      <a:cubicBezTo>
                        <a:pt x="265" y="286"/>
                        <a:pt x="265" y="286"/>
                        <a:pt x="265" y="286"/>
                      </a:cubicBezTo>
                      <a:cubicBezTo>
                        <a:pt x="265" y="286"/>
                        <a:pt x="266" y="296"/>
                        <a:pt x="277" y="296"/>
                      </a:cubicBezTo>
                      <a:cubicBezTo>
                        <a:pt x="288" y="296"/>
                        <a:pt x="288" y="274"/>
                        <a:pt x="293" y="270"/>
                      </a:cubicBezTo>
                      <a:cubicBezTo>
                        <a:pt x="298" y="266"/>
                        <a:pt x="313" y="279"/>
                        <a:pt x="320" y="276"/>
                      </a:cubicBezTo>
                      <a:cubicBezTo>
                        <a:pt x="327" y="273"/>
                        <a:pt x="320" y="255"/>
                        <a:pt x="320" y="255"/>
                      </a:cubicBezTo>
                      <a:cubicBezTo>
                        <a:pt x="332" y="252"/>
                        <a:pt x="332" y="252"/>
                        <a:pt x="332" y="252"/>
                      </a:cubicBezTo>
                      <a:cubicBezTo>
                        <a:pt x="332" y="252"/>
                        <a:pt x="314" y="239"/>
                        <a:pt x="314" y="229"/>
                      </a:cubicBezTo>
                      <a:cubicBezTo>
                        <a:pt x="314" y="219"/>
                        <a:pt x="344" y="233"/>
                        <a:pt x="344" y="233"/>
                      </a:cubicBezTo>
                      <a:cubicBezTo>
                        <a:pt x="344" y="233"/>
                        <a:pt x="345" y="227"/>
                        <a:pt x="345" y="220"/>
                      </a:cubicBezTo>
                      <a:cubicBezTo>
                        <a:pt x="345" y="213"/>
                        <a:pt x="330" y="218"/>
                        <a:pt x="329" y="210"/>
                      </a:cubicBezTo>
                      <a:cubicBezTo>
                        <a:pt x="328" y="202"/>
                        <a:pt x="338" y="193"/>
                        <a:pt x="338" y="193"/>
                      </a:cubicBezTo>
                      <a:cubicBezTo>
                        <a:pt x="328" y="189"/>
                        <a:pt x="328" y="189"/>
                        <a:pt x="328" y="189"/>
                      </a:cubicBezTo>
                      <a:cubicBezTo>
                        <a:pt x="335" y="176"/>
                        <a:pt x="335" y="176"/>
                        <a:pt x="335" y="176"/>
                      </a:cubicBezTo>
                      <a:cubicBezTo>
                        <a:pt x="323" y="175"/>
                        <a:pt x="323" y="175"/>
                        <a:pt x="323" y="175"/>
                      </a:cubicBezTo>
                      <a:cubicBezTo>
                        <a:pt x="318" y="148"/>
                        <a:pt x="318" y="148"/>
                        <a:pt x="318" y="148"/>
                      </a:cubicBezTo>
                      <a:cubicBezTo>
                        <a:pt x="331" y="134"/>
                        <a:pt x="331" y="134"/>
                        <a:pt x="331" y="134"/>
                      </a:cubicBezTo>
                      <a:cubicBezTo>
                        <a:pt x="312" y="115"/>
                        <a:pt x="312" y="115"/>
                        <a:pt x="312" y="115"/>
                      </a:cubicBezTo>
                      <a:cubicBezTo>
                        <a:pt x="312" y="90"/>
                        <a:pt x="312" y="90"/>
                        <a:pt x="312" y="90"/>
                      </a:cubicBezTo>
                      <a:cubicBezTo>
                        <a:pt x="293" y="91"/>
                        <a:pt x="293" y="91"/>
                        <a:pt x="293" y="91"/>
                      </a:cubicBezTo>
                      <a:cubicBezTo>
                        <a:pt x="310" y="68"/>
                        <a:pt x="310" y="68"/>
                        <a:pt x="310" y="68"/>
                      </a:cubicBezTo>
                      <a:cubicBezTo>
                        <a:pt x="287" y="52"/>
                        <a:pt x="287" y="52"/>
                        <a:pt x="287" y="52"/>
                      </a:cubicBezTo>
                      <a:cubicBezTo>
                        <a:pt x="293" y="35"/>
                        <a:pt x="293" y="35"/>
                        <a:pt x="293" y="35"/>
                      </a:cubicBezTo>
                      <a:cubicBezTo>
                        <a:pt x="284" y="26"/>
                        <a:pt x="284" y="26"/>
                        <a:pt x="284" y="26"/>
                      </a:cubicBezTo>
                      <a:cubicBezTo>
                        <a:pt x="284" y="26"/>
                        <a:pt x="291" y="19"/>
                        <a:pt x="275" y="11"/>
                      </a:cubicBezTo>
                      <a:cubicBezTo>
                        <a:pt x="259" y="3"/>
                        <a:pt x="261" y="27"/>
                        <a:pt x="261" y="27"/>
                      </a:cubicBezTo>
                      <a:cubicBezTo>
                        <a:pt x="249" y="36"/>
                        <a:pt x="249" y="36"/>
                        <a:pt x="249" y="36"/>
                      </a:cubicBezTo>
                      <a:cubicBezTo>
                        <a:pt x="249" y="36"/>
                        <a:pt x="227" y="25"/>
                        <a:pt x="222" y="23"/>
                      </a:cubicBezTo>
                      <a:cubicBezTo>
                        <a:pt x="217" y="21"/>
                        <a:pt x="203" y="44"/>
                        <a:pt x="203" y="44"/>
                      </a:cubicBezTo>
                      <a:cubicBezTo>
                        <a:pt x="203" y="44"/>
                        <a:pt x="200" y="23"/>
                        <a:pt x="191" y="23"/>
                      </a:cubicBezTo>
                      <a:cubicBezTo>
                        <a:pt x="182" y="23"/>
                        <a:pt x="178" y="39"/>
                        <a:pt x="174" y="41"/>
                      </a:cubicBezTo>
                      <a:cubicBezTo>
                        <a:pt x="170" y="43"/>
                        <a:pt x="166" y="16"/>
                        <a:pt x="166" y="16"/>
                      </a:cubicBezTo>
                      <a:cubicBezTo>
                        <a:pt x="138" y="17"/>
                        <a:pt x="138" y="17"/>
                        <a:pt x="138" y="17"/>
                      </a:cubicBezTo>
                      <a:cubicBezTo>
                        <a:pt x="138" y="17"/>
                        <a:pt x="129" y="24"/>
                        <a:pt x="122" y="24"/>
                      </a:cubicBezTo>
                      <a:cubicBezTo>
                        <a:pt x="115" y="24"/>
                        <a:pt x="106" y="8"/>
                        <a:pt x="106" y="8"/>
                      </a:cubicBezTo>
                      <a:cubicBezTo>
                        <a:pt x="106" y="8"/>
                        <a:pt x="103" y="16"/>
                        <a:pt x="95" y="14"/>
                      </a:cubicBezTo>
                      <a:cubicBezTo>
                        <a:pt x="87" y="12"/>
                        <a:pt x="87" y="1"/>
                        <a:pt x="87" y="1"/>
                      </a:cubicBez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50" name="Ghana">
                  <a:extLst>
                    <a:ext uri="{FF2B5EF4-FFF2-40B4-BE49-F238E27FC236}">
                      <a16:creationId xmlns:a16="http://schemas.microsoft.com/office/drawing/2014/main" id="{7E681317-DE85-F5B8-0214-E8492FD5E33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00679" y="3263799"/>
                  <a:ext cx="352819" cy="462504"/>
                </a:xfrm>
                <a:custGeom>
                  <a:avLst/>
                  <a:gdLst>
                    <a:gd name="T0" fmla="*/ 185 w 213"/>
                    <a:gd name="T1" fmla="*/ 228 h 349"/>
                    <a:gd name="T2" fmla="*/ 190 w 213"/>
                    <a:gd name="T3" fmla="*/ 205 h 349"/>
                    <a:gd name="T4" fmla="*/ 182 w 213"/>
                    <a:gd name="T5" fmla="*/ 198 h 349"/>
                    <a:gd name="T6" fmla="*/ 185 w 213"/>
                    <a:gd name="T7" fmla="*/ 186 h 349"/>
                    <a:gd name="T8" fmla="*/ 187 w 213"/>
                    <a:gd name="T9" fmla="*/ 157 h 349"/>
                    <a:gd name="T10" fmla="*/ 191 w 213"/>
                    <a:gd name="T11" fmla="*/ 148 h 349"/>
                    <a:gd name="T12" fmla="*/ 173 w 213"/>
                    <a:gd name="T13" fmla="*/ 134 h 349"/>
                    <a:gd name="T14" fmla="*/ 185 w 213"/>
                    <a:gd name="T15" fmla="*/ 123 h 349"/>
                    <a:gd name="T16" fmla="*/ 178 w 213"/>
                    <a:gd name="T17" fmla="*/ 113 h 349"/>
                    <a:gd name="T18" fmla="*/ 182 w 213"/>
                    <a:gd name="T19" fmla="*/ 88 h 349"/>
                    <a:gd name="T20" fmla="*/ 166 w 213"/>
                    <a:gd name="T21" fmla="*/ 91 h 349"/>
                    <a:gd name="T22" fmla="*/ 174 w 213"/>
                    <a:gd name="T23" fmla="*/ 42 h 349"/>
                    <a:gd name="T24" fmla="*/ 152 w 213"/>
                    <a:gd name="T25" fmla="*/ 24 h 349"/>
                    <a:gd name="T26" fmla="*/ 159 w 213"/>
                    <a:gd name="T27" fmla="*/ 15 h 349"/>
                    <a:gd name="T28" fmla="*/ 159 w 213"/>
                    <a:gd name="T29" fmla="*/ 4 h 349"/>
                    <a:gd name="T30" fmla="*/ 145 w 213"/>
                    <a:gd name="T31" fmla="*/ 0 h 349"/>
                    <a:gd name="T32" fmla="*/ 129 w 213"/>
                    <a:gd name="T33" fmla="*/ 10 h 349"/>
                    <a:gd name="T34" fmla="*/ 109 w 213"/>
                    <a:gd name="T35" fmla="*/ 7 h 349"/>
                    <a:gd name="T36" fmla="*/ 98 w 213"/>
                    <a:gd name="T37" fmla="*/ 10 h 349"/>
                    <a:gd name="T38" fmla="*/ 86 w 213"/>
                    <a:gd name="T39" fmla="*/ 7 h 349"/>
                    <a:gd name="T40" fmla="*/ 81 w 213"/>
                    <a:gd name="T41" fmla="*/ 10 h 349"/>
                    <a:gd name="T42" fmla="*/ 26 w 213"/>
                    <a:gd name="T43" fmla="*/ 7 h 349"/>
                    <a:gd name="T44" fmla="*/ 18 w 213"/>
                    <a:gd name="T45" fmla="*/ 24 h 349"/>
                    <a:gd name="T46" fmla="*/ 24 w 213"/>
                    <a:gd name="T47" fmla="*/ 33 h 349"/>
                    <a:gd name="T48" fmla="*/ 25 w 213"/>
                    <a:gd name="T49" fmla="*/ 51 h 349"/>
                    <a:gd name="T50" fmla="*/ 26 w 213"/>
                    <a:gd name="T51" fmla="*/ 87 h 349"/>
                    <a:gd name="T52" fmla="*/ 30 w 213"/>
                    <a:gd name="T53" fmla="*/ 86 h 349"/>
                    <a:gd name="T54" fmla="*/ 34 w 213"/>
                    <a:gd name="T55" fmla="*/ 105 h 349"/>
                    <a:gd name="T56" fmla="*/ 26 w 213"/>
                    <a:gd name="T57" fmla="*/ 106 h 349"/>
                    <a:gd name="T58" fmla="*/ 38 w 213"/>
                    <a:gd name="T59" fmla="*/ 152 h 349"/>
                    <a:gd name="T60" fmla="*/ 21 w 213"/>
                    <a:gd name="T61" fmla="*/ 179 h 349"/>
                    <a:gd name="T62" fmla="*/ 20 w 213"/>
                    <a:gd name="T63" fmla="*/ 209 h 349"/>
                    <a:gd name="T64" fmla="*/ 0 w 213"/>
                    <a:gd name="T65" fmla="*/ 241 h 349"/>
                    <a:gd name="T66" fmla="*/ 13 w 213"/>
                    <a:gd name="T67" fmla="*/ 291 h 349"/>
                    <a:gd name="T68" fmla="*/ 31 w 213"/>
                    <a:gd name="T69" fmla="*/ 297 h 349"/>
                    <a:gd name="T70" fmla="*/ 32 w 213"/>
                    <a:gd name="T71" fmla="*/ 332 h 349"/>
                    <a:gd name="T72" fmla="*/ 47 w 213"/>
                    <a:gd name="T73" fmla="*/ 334 h 349"/>
                    <a:gd name="T74" fmla="*/ 61 w 213"/>
                    <a:gd name="T75" fmla="*/ 345 h 349"/>
                    <a:gd name="T76" fmla="*/ 99 w 213"/>
                    <a:gd name="T77" fmla="*/ 321 h 349"/>
                    <a:gd name="T78" fmla="*/ 117 w 213"/>
                    <a:gd name="T79" fmla="*/ 321 h 349"/>
                    <a:gd name="T80" fmla="*/ 141 w 213"/>
                    <a:gd name="T81" fmla="*/ 302 h 349"/>
                    <a:gd name="T82" fmla="*/ 159 w 213"/>
                    <a:gd name="T83" fmla="*/ 298 h 349"/>
                    <a:gd name="T84" fmla="*/ 173 w 213"/>
                    <a:gd name="T85" fmla="*/ 283 h 349"/>
                    <a:gd name="T86" fmla="*/ 196 w 213"/>
                    <a:gd name="T87" fmla="*/ 287 h 349"/>
                    <a:gd name="T88" fmla="*/ 213 w 213"/>
                    <a:gd name="T89" fmla="*/ 273 h 349"/>
                    <a:gd name="T90" fmla="*/ 193 w 213"/>
                    <a:gd name="T91" fmla="*/ 256 h 349"/>
                    <a:gd name="T92" fmla="*/ 185 w 213"/>
                    <a:gd name="T93" fmla="*/ 228 h 3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13" h="349">
                      <a:moveTo>
                        <a:pt x="185" y="228"/>
                      </a:moveTo>
                      <a:cubicBezTo>
                        <a:pt x="185" y="228"/>
                        <a:pt x="191" y="211"/>
                        <a:pt x="190" y="205"/>
                      </a:cubicBezTo>
                      <a:cubicBezTo>
                        <a:pt x="189" y="199"/>
                        <a:pt x="182" y="203"/>
                        <a:pt x="182" y="198"/>
                      </a:cubicBezTo>
                      <a:cubicBezTo>
                        <a:pt x="182" y="193"/>
                        <a:pt x="185" y="186"/>
                        <a:pt x="185" y="186"/>
                      </a:cubicBezTo>
                      <a:cubicBezTo>
                        <a:pt x="187" y="157"/>
                        <a:pt x="187" y="157"/>
                        <a:pt x="187" y="157"/>
                      </a:cubicBezTo>
                      <a:cubicBezTo>
                        <a:pt x="187" y="157"/>
                        <a:pt x="192" y="154"/>
                        <a:pt x="191" y="148"/>
                      </a:cubicBezTo>
                      <a:cubicBezTo>
                        <a:pt x="190" y="142"/>
                        <a:pt x="173" y="134"/>
                        <a:pt x="173" y="134"/>
                      </a:cubicBezTo>
                      <a:cubicBezTo>
                        <a:pt x="173" y="134"/>
                        <a:pt x="184" y="126"/>
                        <a:pt x="185" y="123"/>
                      </a:cubicBezTo>
                      <a:cubicBezTo>
                        <a:pt x="186" y="120"/>
                        <a:pt x="178" y="113"/>
                        <a:pt x="178" y="113"/>
                      </a:cubicBezTo>
                      <a:cubicBezTo>
                        <a:pt x="178" y="113"/>
                        <a:pt x="186" y="95"/>
                        <a:pt x="182" y="88"/>
                      </a:cubicBezTo>
                      <a:cubicBezTo>
                        <a:pt x="178" y="81"/>
                        <a:pt x="166" y="91"/>
                        <a:pt x="166" y="91"/>
                      </a:cubicBezTo>
                      <a:cubicBezTo>
                        <a:pt x="174" y="42"/>
                        <a:pt x="174" y="42"/>
                        <a:pt x="174" y="42"/>
                      </a:cubicBezTo>
                      <a:cubicBezTo>
                        <a:pt x="152" y="24"/>
                        <a:pt x="152" y="24"/>
                        <a:pt x="152" y="24"/>
                      </a:cubicBezTo>
                      <a:cubicBezTo>
                        <a:pt x="159" y="15"/>
                        <a:pt x="159" y="15"/>
                        <a:pt x="159" y="15"/>
                      </a:cubicBezTo>
                      <a:cubicBezTo>
                        <a:pt x="159" y="4"/>
                        <a:pt x="159" y="4"/>
                        <a:pt x="159" y="4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29" y="10"/>
                        <a:pt x="129" y="10"/>
                        <a:pt x="129" y="10"/>
                      </a:cubicBezTo>
                      <a:cubicBezTo>
                        <a:pt x="109" y="7"/>
                        <a:pt x="109" y="7"/>
                        <a:pt x="109" y="7"/>
                      </a:cubicBezTo>
                      <a:cubicBezTo>
                        <a:pt x="98" y="10"/>
                        <a:pt x="98" y="10"/>
                        <a:pt x="98" y="10"/>
                      </a:cubicBezTo>
                      <a:cubicBezTo>
                        <a:pt x="86" y="7"/>
                        <a:pt x="86" y="7"/>
                        <a:pt x="86" y="7"/>
                      </a:cubicBezTo>
                      <a:cubicBezTo>
                        <a:pt x="81" y="10"/>
                        <a:pt x="81" y="10"/>
                        <a:pt x="81" y="10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7"/>
                        <a:pt x="18" y="16"/>
                        <a:pt x="18" y="24"/>
                      </a:cubicBezTo>
                      <a:cubicBezTo>
                        <a:pt x="18" y="32"/>
                        <a:pt x="24" y="33"/>
                        <a:pt x="24" y="33"/>
                      </a:cubicBezTo>
                      <a:cubicBezTo>
                        <a:pt x="25" y="51"/>
                        <a:pt x="25" y="51"/>
                        <a:pt x="25" y="51"/>
                      </a:cubicBezTo>
                      <a:cubicBezTo>
                        <a:pt x="26" y="87"/>
                        <a:pt x="26" y="87"/>
                        <a:pt x="26" y="87"/>
                      </a:cubicBezTo>
                      <a:cubicBezTo>
                        <a:pt x="30" y="86"/>
                        <a:pt x="30" y="86"/>
                        <a:pt x="30" y="86"/>
                      </a:cubicBezTo>
                      <a:cubicBezTo>
                        <a:pt x="34" y="105"/>
                        <a:pt x="34" y="105"/>
                        <a:pt x="34" y="105"/>
                      </a:cubicBezTo>
                      <a:cubicBezTo>
                        <a:pt x="26" y="106"/>
                        <a:pt x="26" y="106"/>
                        <a:pt x="26" y="106"/>
                      </a:cubicBezTo>
                      <a:cubicBezTo>
                        <a:pt x="26" y="106"/>
                        <a:pt x="38" y="140"/>
                        <a:pt x="38" y="152"/>
                      </a:cubicBezTo>
                      <a:cubicBezTo>
                        <a:pt x="38" y="164"/>
                        <a:pt x="21" y="171"/>
                        <a:pt x="21" y="179"/>
                      </a:cubicBezTo>
                      <a:cubicBezTo>
                        <a:pt x="21" y="187"/>
                        <a:pt x="20" y="209"/>
                        <a:pt x="20" y="209"/>
                      </a:cubicBezTo>
                      <a:cubicBezTo>
                        <a:pt x="20" y="209"/>
                        <a:pt x="0" y="227"/>
                        <a:pt x="0" y="241"/>
                      </a:cubicBezTo>
                      <a:cubicBezTo>
                        <a:pt x="0" y="255"/>
                        <a:pt x="13" y="291"/>
                        <a:pt x="13" y="291"/>
                      </a:cubicBezTo>
                      <a:cubicBezTo>
                        <a:pt x="31" y="297"/>
                        <a:pt x="31" y="297"/>
                        <a:pt x="31" y="297"/>
                      </a:cubicBezTo>
                      <a:cubicBezTo>
                        <a:pt x="32" y="332"/>
                        <a:pt x="32" y="332"/>
                        <a:pt x="32" y="332"/>
                      </a:cubicBezTo>
                      <a:cubicBezTo>
                        <a:pt x="41" y="334"/>
                        <a:pt x="47" y="334"/>
                        <a:pt x="47" y="334"/>
                      </a:cubicBezTo>
                      <a:cubicBezTo>
                        <a:pt x="47" y="334"/>
                        <a:pt x="51" y="349"/>
                        <a:pt x="61" y="345"/>
                      </a:cubicBezTo>
                      <a:cubicBezTo>
                        <a:pt x="71" y="341"/>
                        <a:pt x="92" y="323"/>
                        <a:pt x="99" y="321"/>
                      </a:cubicBezTo>
                      <a:cubicBezTo>
                        <a:pt x="106" y="319"/>
                        <a:pt x="117" y="321"/>
                        <a:pt x="117" y="321"/>
                      </a:cubicBezTo>
                      <a:cubicBezTo>
                        <a:pt x="117" y="321"/>
                        <a:pt x="138" y="303"/>
                        <a:pt x="141" y="302"/>
                      </a:cubicBezTo>
                      <a:cubicBezTo>
                        <a:pt x="144" y="301"/>
                        <a:pt x="159" y="298"/>
                        <a:pt x="159" y="298"/>
                      </a:cubicBezTo>
                      <a:cubicBezTo>
                        <a:pt x="159" y="298"/>
                        <a:pt x="165" y="282"/>
                        <a:pt x="173" y="283"/>
                      </a:cubicBezTo>
                      <a:cubicBezTo>
                        <a:pt x="181" y="284"/>
                        <a:pt x="187" y="292"/>
                        <a:pt x="196" y="287"/>
                      </a:cubicBezTo>
                      <a:cubicBezTo>
                        <a:pt x="201" y="284"/>
                        <a:pt x="207" y="278"/>
                        <a:pt x="213" y="273"/>
                      </a:cubicBezTo>
                      <a:cubicBezTo>
                        <a:pt x="193" y="256"/>
                        <a:pt x="193" y="256"/>
                        <a:pt x="193" y="256"/>
                      </a:cubicBezTo>
                      <a:lnTo>
                        <a:pt x="185" y="22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51" name="Gabon">
                  <a:extLst>
                    <a:ext uri="{FF2B5EF4-FFF2-40B4-BE49-F238E27FC236}">
                      <a16:creationId xmlns:a16="http://schemas.microsoft.com/office/drawing/2014/main" id="{2B1B9738-0EE8-AE21-B2E6-A2C531644D1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41528" y="3884230"/>
                  <a:ext cx="465723" cy="451221"/>
                </a:xfrm>
                <a:custGeom>
                  <a:avLst/>
                  <a:gdLst>
                    <a:gd name="T0" fmla="*/ 261 w 281"/>
                    <a:gd name="T1" fmla="*/ 153 h 339"/>
                    <a:gd name="T2" fmla="*/ 244 w 281"/>
                    <a:gd name="T3" fmla="*/ 140 h 339"/>
                    <a:gd name="T4" fmla="*/ 254 w 281"/>
                    <a:gd name="T5" fmla="*/ 100 h 339"/>
                    <a:gd name="T6" fmla="*/ 273 w 281"/>
                    <a:gd name="T7" fmla="*/ 74 h 339"/>
                    <a:gd name="T8" fmla="*/ 263 w 281"/>
                    <a:gd name="T9" fmla="*/ 56 h 339"/>
                    <a:gd name="T10" fmla="*/ 229 w 281"/>
                    <a:gd name="T11" fmla="*/ 62 h 339"/>
                    <a:gd name="T12" fmla="*/ 210 w 281"/>
                    <a:gd name="T13" fmla="*/ 36 h 339"/>
                    <a:gd name="T14" fmla="*/ 220 w 281"/>
                    <a:gd name="T15" fmla="*/ 4 h 339"/>
                    <a:gd name="T16" fmla="*/ 177 w 281"/>
                    <a:gd name="T17" fmla="*/ 1 h 339"/>
                    <a:gd name="T18" fmla="*/ 147 w 281"/>
                    <a:gd name="T19" fmla="*/ 9 h 339"/>
                    <a:gd name="T20" fmla="*/ 125 w 281"/>
                    <a:gd name="T21" fmla="*/ 10 h 339"/>
                    <a:gd name="T22" fmla="*/ 128 w 281"/>
                    <a:gd name="T23" fmla="*/ 37 h 339"/>
                    <a:gd name="T24" fmla="*/ 56 w 281"/>
                    <a:gd name="T25" fmla="*/ 75 h 339"/>
                    <a:gd name="T26" fmla="*/ 46 w 281"/>
                    <a:gd name="T27" fmla="*/ 71 h 339"/>
                    <a:gd name="T28" fmla="*/ 40 w 281"/>
                    <a:gd name="T29" fmla="*/ 77 h 339"/>
                    <a:gd name="T30" fmla="*/ 30 w 281"/>
                    <a:gd name="T31" fmla="*/ 107 h 339"/>
                    <a:gd name="T32" fmla="*/ 0 w 281"/>
                    <a:gd name="T33" fmla="*/ 166 h 339"/>
                    <a:gd name="T34" fmla="*/ 28 w 281"/>
                    <a:gd name="T35" fmla="*/ 195 h 339"/>
                    <a:gd name="T36" fmla="*/ 27 w 281"/>
                    <a:gd name="T37" fmla="*/ 228 h 339"/>
                    <a:gd name="T38" fmla="*/ 46 w 281"/>
                    <a:gd name="T39" fmla="*/ 259 h 339"/>
                    <a:gd name="T40" fmla="*/ 61 w 281"/>
                    <a:gd name="T41" fmla="*/ 271 h 339"/>
                    <a:gd name="T42" fmla="*/ 91 w 281"/>
                    <a:gd name="T43" fmla="*/ 311 h 339"/>
                    <a:gd name="T44" fmla="*/ 114 w 281"/>
                    <a:gd name="T45" fmla="*/ 339 h 339"/>
                    <a:gd name="T46" fmla="*/ 133 w 281"/>
                    <a:gd name="T47" fmla="*/ 317 h 339"/>
                    <a:gd name="T48" fmla="*/ 152 w 281"/>
                    <a:gd name="T49" fmla="*/ 304 h 339"/>
                    <a:gd name="T50" fmla="*/ 149 w 281"/>
                    <a:gd name="T51" fmla="*/ 287 h 339"/>
                    <a:gd name="T52" fmla="*/ 139 w 281"/>
                    <a:gd name="T53" fmla="*/ 274 h 339"/>
                    <a:gd name="T54" fmla="*/ 172 w 281"/>
                    <a:gd name="T55" fmla="*/ 257 h 339"/>
                    <a:gd name="T56" fmla="*/ 178 w 281"/>
                    <a:gd name="T57" fmla="*/ 225 h 339"/>
                    <a:gd name="T58" fmla="*/ 204 w 281"/>
                    <a:gd name="T59" fmla="*/ 255 h 339"/>
                    <a:gd name="T60" fmla="*/ 241 w 281"/>
                    <a:gd name="T61" fmla="*/ 239 h 339"/>
                    <a:gd name="T62" fmla="*/ 260 w 281"/>
                    <a:gd name="T63" fmla="*/ 244 h 339"/>
                    <a:gd name="T64" fmla="*/ 269 w 281"/>
                    <a:gd name="T65" fmla="*/ 212 h 339"/>
                    <a:gd name="T66" fmla="*/ 272 w 281"/>
                    <a:gd name="T67" fmla="*/ 171 h 3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81" h="339">
                      <a:moveTo>
                        <a:pt x="279" y="160"/>
                      </a:moveTo>
                      <a:cubicBezTo>
                        <a:pt x="277" y="154"/>
                        <a:pt x="261" y="153"/>
                        <a:pt x="261" y="153"/>
                      </a:cubicBezTo>
                      <a:cubicBezTo>
                        <a:pt x="256" y="141"/>
                        <a:pt x="256" y="141"/>
                        <a:pt x="256" y="141"/>
                      </a:cubicBezTo>
                      <a:cubicBezTo>
                        <a:pt x="244" y="140"/>
                        <a:pt x="244" y="140"/>
                        <a:pt x="244" y="140"/>
                      </a:cubicBezTo>
                      <a:cubicBezTo>
                        <a:pt x="245" y="116"/>
                        <a:pt x="245" y="116"/>
                        <a:pt x="245" y="116"/>
                      </a:cubicBezTo>
                      <a:cubicBezTo>
                        <a:pt x="254" y="100"/>
                        <a:pt x="254" y="100"/>
                        <a:pt x="254" y="100"/>
                      </a:cubicBezTo>
                      <a:cubicBezTo>
                        <a:pt x="254" y="100"/>
                        <a:pt x="261" y="101"/>
                        <a:pt x="267" y="94"/>
                      </a:cubicBezTo>
                      <a:cubicBezTo>
                        <a:pt x="273" y="87"/>
                        <a:pt x="273" y="74"/>
                        <a:pt x="273" y="74"/>
                      </a:cubicBezTo>
                      <a:cubicBezTo>
                        <a:pt x="267" y="70"/>
                        <a:pt x="267" y="70"/>
                        <a:pt x="267" y="70"/>
                      </a:cubicBezTo>
                      <a:cubicBezTo>
                        <a:pt x="267" y="70"/>
                        <a:pt x="266" y="60"/>
                        <a:pt x="263" y="56"/>
                      </a:cubicBezTo>
                      <a:cubicBezTo>
                        <a:pt x="260" y="52"/>
                        <a:pt x="248" y="47"/>
                        <a:pt x="243" y="47"/>
                      </a:cubicBezTo>
                      <a:cubicBezTo>
                        <a:pt x="238" y="47"/>
                        <a:pt x="238" y="62"/>
                        <a:pt x="229" y="62"/>
                      </a:cubicBezTo>
                      <a:cubicBezTo>
                        <a:pt x="220" y="62"/>
                        <a:pt x="212" y="57"/>
                        <a:pt x="212" y="57"/>
                      </a:cubicBezTo>
                      <a:cubicBezTo>
                        <a:pt x="210" y="36"/>
                        <a:pt x="210" y="36"/>
                        <a:pt x="210" y="36"/>
                      </a:cubicBezTo>
                      <a:cubicBezTo>
                        <a:pt x="220" y="14"/>
                        <a:pt x="220" y="14"/>
                        <a:pt x="220" y="14"/>
                      </a:cubicBezTo>
                      <a:cubicBezTo>
                        <a:pt x="220" y="4"/>
                        <a:pt x="220" y="4"/>
                        <a:pt x="220" y="4"/>
                      </a:cubicBezTo>
                      <a:cubicBezTo>
                        <a:pt x="188" y="5"/>
                        <a:pt x="188" y="5"/>
                        <a:pt x="188" y="5"/>
                      </a:cubicBezTo>
                      <a:cubicBezTo>
                        <a:pt x="188" y="5"/>
                        <a:pt x="181" y="1"/>
                        <a:pt x="177" y="1"/>
                      </a:cubicBezTo>
                      <a:cubicBezTo>
                        <a:pt x="173" y="1"/>
                        <a:pt x="168" y="9"/>
                        <a:pt x="168" y="9"/>
                      </a:cubicBezTo>
                      <a:cubicBezTo>
                        <a:pt x="147" y="9"/>
                        <a:pt x="147" y="9"/>
                        <a:pt x="147" y="9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25" y="10"/>
                        <a:pt x="125" y="10"/>
                        <a:pt x="125" y="10"/>
                      </a:cubicBezTo>
                      <a:cubicBezTo>
                        <a:pt x="122" y="33"/>
                        <a:pt x="122" y="33"/>
                        <a:pt x="122" y="33"/>
                      </a:cubicBezTo>
                      <a:cubicBezTo>
                        <a:pt x="128" y="37"/>
                        <a:pt x="128" y="37"/>
                        <a:pt x="128" y="37"/>
                      </a:cubicBezTo>
                      <a:cubicBezTo>
                        <a:pt x="128" y="37"/>
                        <a:pt x="128" y="72"/>
                        <a:pt x="123" y="73"/>
                      </a:cubicBezTo>
                      <a:cubicBezTo>
                        <a:pt x="118" y="74"/>
                        <a:pt x="56" y="75"/>
                        <a:pt x="56" y="75"/>
                      </a:cubicBezTo>
                      <a:cubicBezTo>
                        <a:pt x="54" y="69"/>
                        <a:pt x="54" y="69"/>
                        <a:pt x="54" y="69"/>
                      </a:cubicBezTo>
                      <a:cubicBezTo>
                        <a:pt x="46" y="71"/>
                        <a:pt x="46" y="71"/>
                        <a:pt x="46" y="71"/>
                      </a:cubicBezTo>
                      <a:cubicBezTo>
                        <a:pt x="47" y="72"/>
                        <a:pt x="48" y="72"/>
                        <a:pt x="48" y="72"/>
                      </a:cubicBezTo>
                      <a:cubicBezTo>
                        <a:pt x="40" y="77"/>
                        <a:pt x="40" y="77"/>
                        <a:pt x="40" y="77"/>
                      </a:cubicBezTo>
                      <a:cubicBezTo>
                        <a:pt x="40" y="77"/>
                        <a:pt x="49" y="105"/>
                        <a:pt x="45" y="107"/>
                      </a:cubicBezTo>
                      <a:cubicBezTo>
                        <a:pt x="41" y="109"/>
                        <a:pt x="30" y="107"/>
                        <a:pt x="30" y="107"/>
                      </a:cubicBezTo>
                      <a:cubicBezTo>
                        <a:pt x="30" y="107"/>
                        <a:pt x="33" y="148"/>
                        <a:pt x="23" y="159"/>
                      </a:cubicBezTo>
                      <a:cubicBezTo>
                        <a:pt x="13" y="170"/>
                        <a:pt x="0" y="166"/>
                        <a:pt x="0" y="166"/>
                      </a:cubicBezTo>
                      <a:cubicBezTo>
                        <a:pt x="17" y="203"/>
                        <a:pt x="17" y="203"/>
                        <a:pt x="17" y="203"/>
                      </a:cubicBezTo>
                      <a:cubicBezTo>
                        <a:pt x="28" y="195"/>
                        <a:pt x="28" y="195"/>
                        <a:pt x="28" y="195"/>
                      </a:cubicBezTo>
                      <a:cubicBezTo>
                        <a:pt x="34" y="208"/>
                        <a:pt x="34" y="208"/>
                        <a:pt x="34" y="208"/>
                      </a:cubicBezTo>
                      <a:cubicBezTo>
                        <a:pt x="34" y="208"/>
                        <a:pt x="25" y="221"/>
                        <a:pt x="27" y="228"/>
                      </a:cubicBezTo>
                      <a:cubicBezTo>
                        <a:pt x="29" y="235"/>
                        <a:pt x="42" y="232"/>
                        <a:pt x="42" y="232"/>
                      </a:cubicBezTo>
                      <a:cubicBezTo>
                        <a:pt x="46" y="259"/>
                        <a:pt x="46" y="259"/>
                        <a:pt x="46" y="259"/>
                      </a:cubicBezTo>
                      <a:cubicBezTo>
                        <a:pt x="66" y="263"/>
                        <a:pt x="66" y="263"/>
                        <a:pt x="66" y="263"/>
                      </a:cubicBezTo>
                      <a:cubicBezTo>
                        <a:pt x="61" y="271"/>
                        <a:pt x="61" y="271"/>
                        <a:pt x="61" y="271"/>
                      </a:cubicBezTo>
                      <a:cubicBezTo>
                        <a:pt x="94" y="306"/>
                        <a:pt x="94" y="306"/>
                        <a:pt x="94" y="306"/>
                      </a:cubicBezTo>
                      <a:cubicBezTo>
                        <a:pt x="91" y="311"/>
                        <a:pt x="91" y="311"/>
                        <a:pt x="91" y="311"/>
                      </a:cubicBezTo>
                      <a:cubicBezTo>
                        <a:pt x="113" y="338"/>
                        <a:pt x="113" y="338"/>
                        <a:pt x="113" y="338"/>
                      </a:cubicBezTo>
                      <a:cubicBezTo>
                        <a:pt x="114" y="339"/>
                        <a:pt x="114" y="339"/>
                        <a:pt x="114" y="339"/>
                      </a:cubicBezTo>
                      <a:cubicBezTo>
                        <a:pt x="119" y="326"/>
                        <a:pt x="119" y="326"/>
                        <a:pt x="119" y="326"/>
                      </a:cubicBezTo>
                      <a:cubicBezTo>
                        <a:pt x="133" y="317"/>
                        <a:pt x="133" y="317"/>
                        <a:pt x="133" y="317"/>
                      </a:cubicBezTo>
                      <a:cubicBezTo>
                        <a:pt x="133" y="317"/>
                        <a:pt x="148" y="335"/>
                        <a:pt x="152" y="326"/>
                      </a:cubicBezTo>
                      <a:cubicBezTo>
                        <a:pt x="156" y="317"/>
                        <a:pt x="152" y="304"/>
                        <a:pt x="152" y="304"/>
                      </a:cubicBezTo>
                      <a:cubicBezTo>
                        <a:pt x="140" y="296"/>
                        <a:pt x="140" y="296"/>
                        <a:pt x="140" y="296"/>
                      </a:cubicBezTo>
                      <a:cubicBezTo>
                        <a:pt x="149" y="287"/>
                        <a:pt x="149" y="287"/>
                        <a:pt x="149" y="287"/>
                      </a:cubicBezTo>
                      <a:cubicBezTo>
                        <a:pt x="132" y="274"/>
                        <a:pt x="132" y="274"/>
                        <a:pt x="132" y="274"/>
                      </a:cubicBezTo>
                      <a:cubicBezTo>
                        <a:pt x="139" y="274"/>
                        <a:pt x="139" y="274"/>
                        <a:pt x="139" y="274"/>
                      </a:cubicBezTo>
                      <a:cubicBezTo>
                        <a:pt x="139" y="274"/>
                        <a:pt x="132" y="249"/>
                        <a:pt x="138" y="251"/>
                      </a:cubicBezTo>
                      <a:cubicBezTo>
                        <a:pt x="144" y="253"/>
                        <a:pt x="168" y="262"/>
                        <a:pt x="172" y="257"/>
                      </a:cubicBezTo>
                      <a:cubicBezTo>
                        <a:pt x="176" y="252"/>
                        <a:pt x="185" y="244"/>
                        <a:pt x="185" y="244"/>
                      </a:cubicBezTo>
                      <a:cubicBezTo>
                        <a:pt x="185" y="244"/>
                        <a:pt x="172" y="226"/>
                        <a:pt x="178" y="225"/>
                      </a:cubicBezTo>
                      <a:cubicBezTo>
                        <a:pt x="184" y="224"/>
                        <a:pt x="195" y="226"/>
                        <a:pt x="195" y="226"/>
                      </a:cubicBezTo>
                      <a:cubicBezTo>
                        <a:pt x="204" y="255"/>
                        <a:pt x="204" y="255"/>
                        <a:pt x="204" y="255"/>
                      </a:cubicBezTo>
                      <a:cubicBezTo>
                        <a:pt x="204" y="255"/>
                        <a:pt x="218" y="256"/>
                        <a:pt x="226" y="254"/>
                      </a:cubicBezTo>
                      <a:cubicBezTo>
                        <a:pt x="234" y="252"/>
                        <a:pt x="237" y="236"/>
                        <a:pt x="241" y="239"/>
                      </a:cubicBezTo>
                      <a:cubicBezTo>
                        <a:pt x="245" y="242"/>
                        <a:pt x="238" y="264"/>
                        <a:pt x="248" y="264"/>
                      </a:cubicBezTo>
                      <a:cubicBezTo>
                        <a:pt x="258" y="264"/>
                        <a:pt x="260" y="258"/>
                        <a:pt x="260" y="244"/>
                      </a:cubicBezTo>
                      <a:cubicBezTo>
                        <a:pt x="260" y="230"/>
                        <a:pt x="273" y="226"/>
                        <a:pt x="273" y="226"/>
                      </a:cubicBezTo>
                      <a:cubicBezTo>
                        <a:pt x="269" y="212"/>
                        <a:pt x="269" y="212"/>
                        <a:pt x="269" y="212"/>
                      </a:cubicBezTo>
                      <a:cubicBezTo>
                        <a:pt x="273" y="201"/>
                        <a:pt x="273" y="201"/>
                        <a:pt x="273" y="201"/>
                      </a:cubicBezTo>
                      <a:cubicBezTo>
                        <a:pt x="272" y="171"/>
                        <a:pt x="272" y="171"/>
                        <a:pt x="272" y="171"/>
                      </a:cubicBezTo>
                      <a:cubicBezTo>
                        <a:pt x="272" y="171"/>
                        <a:pt x="281" y="166"/>
                        <a:pt x="279" y="16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52" name="Ethiopa">
                  <a:extLst>
                    <a:ext uri="{FF2B5EF4-FFF2-40B4-BE49-F238E27FC236}">
                      <a16:creationId xmlns:a16="http://schemas.microsoft.com/office/drawing/2014/main" id="{25188633-1E4B-2FD8-245A-D52C31885F1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346764" y="2993067"/>
                  <a:ext cx="1176069" cy="815960"/>
                </a:xfrm>
                <a:custGeom>
                  <a:avLst/>
                  <a:gdLst>
                    <a:gd name="T0" fmla="*/ 75 w 709"/>
                    <a:gd name="T1" fmla="*/ 428 h 615"/>
                    <a:gd name="T2" fmla="*/ 87 w 709"/>
                    <a:gd name="T3" fmla="*/ 442 h 615"/>
                    <a:gd name="T4" fmla="*/ 96 w 709"/>
                    <a:gd name="T5" fmla="*/ 471 h 615"/>
                    <a:gd name="T6" fmla="*/ 133 w 709"/>
                    <a:gd name="T7" fmla="*/ 513 h 615"/>
                    <a:gd name="T8" fmla="*/ 138 w 709"/>
                    <a:gd name="T9" fmla="*/ 545 h 615"/>
                    <a:gd name="T10" fmla="*/ 191 w 709"/>
                    <a:gd name="T11" fmla="*/ 562 h 615"/>
                    <a:gd name="T12" fmla="*/ 282 w 709"/>
                    <a:gd name="T13" fmla="*/ 606 h 615"/>
                    <a:gd name="T14" fmla="*/ 326 w 709"/>
                    <a:gd name="T15" fmla="*/ 601 h 615"/>
                    <a:gd name="T16" fmla="*/ 360 w 709"/>
                    <a:gd name="T17" fmla="*/ 577 h 615"/>
                    <a:gd name="T18" fmla="*/ 388 w 709"/>
                    <a:gd name="T19" fmla="*/ 585 h 615"/>
                    <a:gd name="T20" fmla="*/ 410 w 709"/>
                    <a:gd name="T21" fmla="*/ 582 h 615"/>
                    <a:gd name="T22" fmla="*/ 434 w 709"/>
                    <a:gd name="T23" fmla="*/ 574 h 615"/>
                    <a:gd name="T24" fmla="*/ 480 w 709"/>
                    <a:gd name="T25" fmla="*/ 549 h 615"/>
                    <a:gd name="T26" fmla="*/ 569 w 709"/>
                    <a:gd name="T27" fmla="*/ 535 h 615"/>
                    <a:gd name="T28" fmla="*/ 661 w 709"/>
                    <a:gd name="T29" fmla="*/ 373 h 615"/>
                    <a:gd name="T30" fmla="*/ 527 w 709"/>
                    <a:gd name="T31" fmla="*/ 320 h 615"/>
                    <a:gd name="T32" fmla="*/ 491 w 709"/>
                    <a:gd name="T33" fmla="*/ 295 h 615"/>
                    <a:gd name="T34" fmla="*/ 462 w 709"/>
                    <a:gd name="T35" fmla="*/ 246 h 615"/>
                    <a:gd name="T36" fmla="*/ 454 w 709"/>
                    <a:gd name="T37" fmla="*/ 230 h 615"/>
                    <a:gd name="T38" fmla="*/ 454 w 709"/>
                    <a:gd name="T39" fmla="*/ 201 h 615"/>
                    <a:gd name="T40" fmla="*/ 419 w 709"/>
                    <a:gd name="T41" fmla="*/ 211 h 615"/>
                    <a:gd name="T42" fmla="*/ 421 w 709"/>
                    <a:gd name="T43" fmla="*/ 164 h 615"/>
                    <a:gd name="T44" fmla="*/ 431 w 709"/>
                    <a:gd name="T45" fmla="*/ 113 h 615"/>
                    <a:gd name="T46" fmla="*/ 408 w 709"/>
                    <a:gd name="T47" fmla="*/ 87 h 615"/>
                    <a:gd name="T48" fmla="*/ 367 w 709"/>
                    <a:gd name="T49" fmla="*/ 46 h 615"/>
                    <a:gd name="T50" fmla="*/ 336 w 709"/>
                    <a:gd name="T51" fmla="*/ 23 h 615"/>
                    <a:gd name="T52" fmla="*/ 306 w 709"/>
                    <a:gd name="T53" fmla="*/ 17 h 615"/>
                    <a:gd name="T54" fmla="*/ 279 w 709"/>
                    <a:gd name="T55" fmla="*/ 11 h 615"/>
                    <a:gd name="T56" fmla="*/ 250 w 709"/>
                    <a:gd name="T57" fmla="*/ 24 h 615"/>
                    <a:gd name="T58" fmla="*/ 224 w 709"/>
                    <a:gd name="T59" fmla="*/ 0 h 615"/>
                    <a:gd name="T60" fmla="*/ 192 w 709"/>
                    <a:gd name="T61" fmla="*/ 21 h 615"/>
                    <a:gd name="T62" fmla="*/ 159 w 709"/>
                    <a:gd name="T63" fmla="*/ 30 h 615"/>
                    <a:gd name="T64" fmla="*/ 143 w 709"/>
                    <a:gd name="T65" fmla="*/ 88 h 615"/>
                    <a:gd name="T66" fmla="*/ 123 w 709"/>
                    <a:gd name="T67" fmla="*/ 116 h 615"/>
                    <a:gd name="T68" fmla="*/ 110 w 709"/>
                    <a:gd name="T69" fmla="*/ 155 h 615"/>
                    <a:gd name="T70" fmla="*/ 96 w 709"/>
                    <a:gd name="T71" fmla="*/ 179 h 615"/>
                    <a:gd name="T72" fmla="*/ 90 w 709"/>
                    <a:gd name="T73" fmla="*/ 221 h 615"/>
                    <a:gd name="T74" fmla="*/ 71 w 709"/>
                    <a:gd name="T75" fmla="*/ 215 h 615"/>
                    <a:gd name="T76" fmla="*/ 65 w 709"/>
                    <a:gd name="T77" fmla="*/ 256 h 615"/>
                    <a:gd name="T78" fmla="*/ 54 w 709"/>
                    <a:gd name="T79" fmla="*/ 305 h 615"/>
                    <a:gd name="T80" fmla="*/ 36 w 709"/>
                    <a:gd name="T81" fmla="*/ 351 h 615"/>
                    <a:gd name="T82" fmla="*/ 8 w 709"/>
                    <a:gd name="T83" fmla="*/ 345 h 615"/>
                    <a:gd name="T84" fmla="*/ 3 w 709"/>
                    <a:gd name="T85" fmla="*/ 383 h 615"/>
                    <a:gd name="T86" fmla="*/ 55 w 709"/>
                    <a:gd name="T87" fmla="*/ 405 h 6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709" h="615">
                      <a:moveTo>
                        <a:pt x="60" y="425"/>
                      </a:moveTo>
                      <a:cubicBezTo>
                        <a:pt x="64" y="430"/>
                        <a:pt x="75" y="428"/>
                        <a:pt x="75" y="428"/>
                      </a:cubicBezTo>
                      <a:cubicBezTo>
                        <a:pt x="78" y="441"/>
                        <a:pt x="78" y="441"/>
                        <a:pt x="78" y="441"/>
                      </a:cubicBezTo>
                      <a:cubicBezTo>
                        <a:pt x="87" y="442"/>
                        <a:pt x="87" y="442"/>
                        <a:pt x="87" y="442"/>
                      </a:cubicBezTo>
                      <a:cubicBezTo>
                        <a:pt x="89" y="467"/>
                        <a:pt x="89" y="467"/>
                        <a:pt x="89" y="467"/>
                      </a:cubicBezTo>
                      <a:cubicBezTo>
                        <a:pt x="96" y="471"/>
                        <a:pt x="96" y="471"/>
                        <a:pt x="96" y="471"/>
                      </a:cubicBezTo>
                      <a:cubicBezTo>
                        <a:pt x="96" y="471"/>
                        <a:pt x="98" y="498"/>
                        <a:pt x="108" y="506"/>
                      </a:cubicBezTo>
                      <a:cubicBezTo>
                        <a:pt x="118" y="514"/>
                        <a:pt x="128" y="505"/>
                        <a:pt x="133" y="513"/>
                      </a:cubicBezTo>
                      <a:cubicBezTo>
                        <a:pt x="138" y="521"/>
                        <a:pt x="137" y="535"/>
                        <a:pt x="137" y="535"/>
                      </a:cubicBezTo>
                      <a:cubicBezTo>
                        <a:pt x="138" y="545"/>
                        <a:pt x="138" y="545"/>
                        <a:pt x="138" y="545"/>
                      </a:cubicBezTo>
                      <a:cubicBezTo>
                        <a:pt x="144" y="560"/>
                        <a:pt x="144" y="560"/>
                        <a:pt x="144" y="560"/>
                      </a:cubicBezTo>
                      <a:cubicBezTo>
                        <a:pt x="191" y="562"/>
                        <a:pt x="191" y="562"/>
                        <a:pt x="191" y="562"/>
                      </a:cubicBezTo>
                      <a:cubicBezTo>
                        <a:pt x="242" y="602"/>
                        <a:pt x="242" y="602"/>
                        <a:pt x="242" y="602"/>
                      </a:cubicBezTo>
                      <a:cubicBezTo>
                        <a:pt x="242" y="602"/>
                        <a:pt x="269" y="604"/>
                        <a:pt x="282" y="606"/>
                      </a:cubicBezTo>
                      <a:cubicBezTo>
                        <a:pt x="295" y="608"/>
                        <a:pt x="313" y="615"/>
                        <a:pt x="313" y="615"/>
                      </a:cubicBezTo>
                      <a:cubicBezTo>
                        <a:pt x="326" y="601"/>
                        <a:pt x="326" y="601"/>
                        <a:pt x="326" y="601"/>
                      </a:cubicBezTo>
                      <a:cubicBezTo>
                        <a:pt x="326" y="601"/>
                        <a:pt x="324" y="597"/>
                        <a:pt x="331" y="591"/>
                      </a:cubicBezTo>
                      <a:cubicBezTo>
                        <a:pt x="338" y="585"/>
                        <a:pt x="360" y="577"/>
                        <a:pt x="360" y="577"/>
                      </a:cubicBezTo>
                      <a:cubicBezTo>
                        <a:pt x="372" y="568"/>
                        <a:pt x="372" y="568"/>
                        <a:pt x="372" y="568"/>
                      </a:cubicBezTo>
                      <a:cubicBezTo>
                        <a:pt x="388" y="585"/>
                        <a:pt x="388" y="585"/>
                        <a:pt x="388" y="585"/>
                      </a:cubicBezTo>
                      <a:cubicBezTo>
                        <a:pt x="406" y="586"/>
                        <a:pt x="406" y="586"/>
                        <a:pt x="406" y="586"/>
                      </a:cubicBezTo>
                      <a:cubicBezTo>
                        <a:pt x="410" y="582"/>
                        <a:pt x="410" y="582"/>
                        <a:pt x="410" y="582"/>
                      </a:cubicBezTo>
                      <a:cubicBezTo>
                        <a:pt x="426" y="588"/>
                        <a:pt x="426" y="588"/>
                        <a:pt x="426" y="588"/>
                      </a:cubicBezTo>
                      <a:cubicBezTo>
                        <a:pt x="426" y="588"/>
                        <a:pt x="426" y="577"/>
                        <a:pt x="434" y="574"/>
                      </a:cubicBezTo>
                      <a:cubicBezTo>
                        <a:pt x="442" y="571"/>
                        <a:pt x="467" y="573"/>
                        <a:pt x="473" y="567"/>
                      </a:cubicBezTo>
                      <a:cubicBezTo>
                        <a:pt x="479" y="561"/>
                        <a:pt x="480" y="549"/>
                        <a:pt x="480" y="549"/>
                      </a:cubicBezTo>
                      <a:cubicBezTo>
                        <a:pt x="480" y="549"/>
                        <a:pt x="505" y="537"/>
                        <a:pt x="513" y="535"/>
                      </a:cubicBezTo>
                      <a:cubicBezTo>
                        <a:pt x="521" y="533"/>
                        <a:pt x="569" y="535"/>
                        <a:pt x="569" y="535"/>
                      </a:cubicBezTo>
                      <a:cubicBezTo>
                        <a:pt x="709" y="370"/>
                        <a:pt x="709" y="370"/>
                        <a:pt x="709" y="370"/>
                      </a:cubicBezTo>
                      <a:cubicBezTo>
                        <a:pt x="661" y="373"/>
                        <a:pt x="661" y="373"/>
                        <a:pt x="661" y="373"/>
                      </a:cubicBezTo>
                      <a:cubicBezTo>
                        <a:pt x="661" y="373"/>
                        <a:pt x="628" y="353"/>
                        <a:pt x="609" y="347"/>
                      </a:cubicBezTo>
                      <a:cubicBezTo>
                        <a:pt x="590" y="341"/>
                        <a:pt x="538" y="328"/>
                        <a:pt x="527" y="320"/>
                      </a:cubicBezTo>
                      <a:cubicBezTo>
                        <a:pt x="516" y="312"/>
                        <a:pt x="506" y="295"/>
                        <a:pt x="506" y="295"/>
                      </a:cubicBezTo>
                      <a:cubicBezTo>
                        <a:pt x="491" y="295"/>
                        <a:pt x="491" y="295"/>
                        <a:pt x="491" y="295"/>
                      </a:cubicBezTo>
                      <a:cubicBezTo>
                        <a:pt x="491" y="295"/>
                        <a:pt x="487" y="278"/>
                        <a:pt x="481" y="270"/>
                      </a:cubicBezTo>
                      <a:cubicBezTo>
                        <a:pt x="475" y="262"/>
                        <a:pt x="462" y="246"/>
                        <a:pt x="462" y="246"/>
                      </a:cubicBezTo>
                      <a:cubicBezTo>
                        <a:pt x="463" y="238"/>
                        <a:pt x="463" y="238"/>
                        <a:pt x="463" y="238"/>
                      </a:cubicBezTo>
                      <a:cubicBezTo>
                        <a:pt x="454" y="230"/>
                        <a:pt x="454" y="230"/>
                        <a:pt x="454" y="230"/>
                      </a:cubicBezTo>
                      <a:cubicBezTo>
                        <a:pt x="467" y="210"/>
                        <a:pt x="467" y="210"/>
                        <a:pt x="467" y="210"/>
                      </a:cubicBezTo>
                      <a:cubicBezTo>
                        <a:pt x="463" y="206"/>
                        <a:pt x="458" y="202"/>
                        <a:pt x="454" y="201"/>
                      </a:cubicBezTo>
                      <a:cubicBezTo>
                        <a:pt x="447" y="200"/>
                        <a:pt x="444" y="208"/>
                        <a:pt x="444" y="208"/>
                      </a:cubicBezTo>
                      <a:cubicBezTo>
                        <a:pt x="444" y="208"/>
                        <a:pt x="427" y="212"/>
                        <a:pt x="419" y="211"/>
                      </a:cubicBezTo>
                      <a:cubicBezTo>
                        <a:pt x="411" y="210"/>
                        <a:pt x="408" y="173"/>
                        <a:pt x="408" y="173"/>
                      </a:cubicBezTo>
                      <a:cubicBezTo>
                        <a:pt x="421" y="164"/>
                        <a:pt x="421" y="164"/>
                        <a:pt x="421" y="164"/>
                      </a:cubicBezTo>
                      <a:cubicBezTo>
                        <a:pt x="439" y="125"/>
                        <a:pt x="439" y="125"/>
                        <a:pt x="439" y="125"/>
                      </a:cubicBezTo>
                      <a:cubicBezTo>
                        <a:pt x="431" y="113"/>
                        <a:pt x="431" y="113"/>
                        <a:pt x="431" y="113"/>
                      </a:cubicBezTo>
                      <a:cubicBezTo>
                        <a:pt x="431" y="113"/>
                        <a:pt x="414" y="113"/>
                        <a:pt x="413" y="107"/>
                      </a:cubicBezTo>
                      <a:cubicBezTo>
                        <a:pt x="412" y="101"/>
                        <a:pt x="412" y="92"/>
                        <a:pt x="408" y="87"/>
                      </a:cubicBezTo>
                      <a:cubicBezTo>
                        <a:pt x="404" y="82"/>
                        <a:pt x="386" y="80"/>
                        <a:pt x="382" y="72"/>
                      </a:cubicBezTo>
                      <a:cubicBezTo>
                        <a:pt x="378" y="64"/>
                        <a:pt x="375" y="54"/>
                        <a:pt x="367" y="46"/>
                      </a:cubicBezTo>
                      <a:cubicBezTo>
                        <a:pt x="359" y="38"/>
                        <a:pt x="347" y="37"/>
                        <a:pt x="347" y="37"/>
                      </a:cubicBezTo>
                      <a:cubicBezTo>
                        <a:pt x="336" y="23"/>
                        <a:pt x="336" y="23"/>
                        <a:pt x="336" y="23"/>
                      </a:cubicBezTo>
                      <a:cubicBezTo>
                        <a:pt x="316" y="22"/>
                        <a:pt x="316" y="22"/>
                        <a:pt x="316" y="22"/>
                      </a:cubicBezTo>
                      <a:cubicBezTo>
                        <a:pt x="316" y="22"/>
                        <a:pt x="310" y="17"/>
                        <a:pt x="306" y="17"/>
                      </a:cubicBezTo>
                      <a:cubicBezTo>
                        <a:pt x="302" y="17"/>
                        <a:pt x="291" y="24"/>
                        <a:pt x="288" y="24"/>
                      </a:cubicBezTo>
                      <a:cubicBezTo>
                        <a:pt x="285" y="24"/>
                        <a:pt x="279" y="11"/>
                        <a:pt x="279" y="11"/>
                      </a:cubicBezTo>
                      <a:cubicBezTo>
                        <a:pt x="279" y="11"/>
                        <a:pt x="270" y="24"/>
                        <a:pt x="267" y="24"/>
                      </a:cubicBezTo>
                      <a:cubicBezTo>
                        <a:pt x="264" y="24"/>
                        <a:pt x="250" y="24"/>
                        <a:pt x="250" y="24"/>
                      </a:cubicBezTo>
                      <a:cubicBezTo>
                        <a:pt x="250" y="24"/>
                        <a:pt x="244" y="11"/>
                        <a:pt x="240" y="9"/>
                      </a:cubicBezTo>
                      <a:cubicBezTo>
                        <a:pt x="236" y="7"/>
                        <a:pt x="224" y="0"/>
                        <a:pt x="224" y="0"/>
                      </a:cubicBezTo>
                      <a:cubicBezTo>
                        <a:pt x="224" y="0"/>
                        <a:pt x="216" y="41"/>
                        <a:pt x="208" y="41"/>
                      </a:cubicBezTo>
                      <a:cubicBezTo>
                        <a:pt x="200" y="41"/>
                        <a:pt x="197" y="21"/>
                        <a:pt x="192" y="21"/>
                      </a:cubicBezTo>
                      <a:cubicBezTo>
                        <a:pt x="187" y="21"/>
                        <a:pt x="182" y="31"/>
                        <a:pt x="182" y="31"/>
                      </a:cubicBezTo>
                      <a:cubicBezTo>
                        <a:pt x="159" y="30"/>
                        <a:pt x="159" y="30"/>
                        <a:pt x="159" y="30"/>
                      </a:cubicBezTo>
                      <a:cubicBezTo>
                        <a:pt x="159" y="60"/>
                        <a:pt x="159" y="60"/>
                        <a:pt x="159" y="60"/>
                      </a:cubicBezTo>
                      <a:cubicBezTo>
                        <a:pt x="159" y="60"/>
                        <a:pt x="143" y="80"/>
                        <a:pt x="143" y="88"/>
                      </a:cubicBezTo>
                      <a:cubicBezTo>
                        <a:pt x="143" y="96"/>
                        <a:pt x="145" y="114"/>
                        <a:pt x="145" y="114"/>
                      </a:cubicBezTo>
                      <a:cubicBezTo>
                        <a:pt x="123" y="116"/>
                        <a:pt x="123" y="116"/>
                        <a:pt x="123" y="116"/>
                      </a:cubicBezTo>
                      <a:cubicBezTo>
                        <a:pt x="123" y="116"/>
                        <a:pt x="112" y="130"/>
                        <a:pt x="111" y="135"/>
                      </a:cubicBezTo>
                      <a:cubicBezTo>
                        <a:pt x="110" y="140"/>
                        <a:pt x="115" y="150"/>
                        <a:pt x="110" y="155"/>
                      </a:cubicBezTo>
                      <a:cubicBezTo>
                        <a:pt x="105" y="160"/>
                        <a:pt x="94" y="164"/>
                        <a:pt x="94" y="164"/>
                      </a:cubicBezTo>
                      <a:cubicBezTo>
                        <a:pt x="96" y="179"/>
                        <a:pt x="96" y="179"/>
                        <a:pt x="96" y="179"/>
                      </a:cubicBezTo>
                      <a:cubicBezTo>
                        <a:pt x="89" y="190"/>
                        <a:pt x="89" y="190"/>
                        <a:pt x="89" y="190"/>
                      </a:cubicBezTo>
                      <a:cubicBezTo>
                        <a:pt x="89" y="190"/>
                        <a:pt x="96" y="213"/>
                        <a:pt x="90" y="221"/>
                      </a:cubicBezTo>
                      <a:cubicBezTo>
                        <a:pt x="84" y="229"/>
                        <a:pt x="78" y="226"/>
                        <a:pt x="78" y="226"/>
                      </a:cubicBezTo>
                      <a:cubicBezTo>
                        <a:pt x="78" y="226"/>
                        <a:pt x="76" y="215"/>
                        <a:pt x="71" y="215"/>
                      </a:cubicBezTo>
                      <a:cubicBezTo>
                        <a:pt x="66" y="215"/>
                        <a:pt x="60" y="228"/>
                        <a:pt x="60" y="235"/>
                      </a:cubicBezTo>
                      <a:cubicBezTo>
                        <a:pt x="60" y="242"/>
                        <a:pt x="66" y="253"/>
                        <a:pt x="65" y="256"/>
                      </a:cubicBezTo>
                      <a:cubicBezTo>
                        <a:pt x="64" y="259"/>
                        <a:pt x="49" y="270"/>
                        <a:pt x="48" y="278"/>
                      </a:cubicBezTo>
                      <a:cubicBezTo>
                        <a:pt x="47" y="286"/>
                        <a:pt x="54" y="305"/>
                        <a:pt x="54" y="305"/>
                      </a:cubicBezTo>
                      <a:cubicBezTo>
                        <a:pt x="54" y="305"/>
                        <a:pt x="57" y="336"/>
                        <a:pt x="50" y="341"/>
                      </a:cubicBezTo>
                      <a:cubicBezTo>
                        <a:pt x="43" y="346"/>
                        <a:pt x="36" y="351"/>
                        <a:pt x="36" y="351"/>
                      </a:cubicBezTo>
                      <a:cubicBezTo>
                        <a:pt x="31" y="346"/>
                        <a:pt x="31" y="346"/>
                        <a:pt x="31" y="346"/>
                      </a:cubicBezTo>
                      <a:cubicBezTo>
                        <a:pt x="8" y="345"/>
                        <a:pt x="8" y="345"/>
                        <a:pt x="8" y="345"/>
                      </a:cubicBezTo>
                      <a:cubicBezTo>
                        <a:pt x="10" y="361"/>
                        <a:pt x="10" y="361"/>
                        <a:pt x="10" y="361"/>
                      </a:cubicBezTo>
                      <a:cubicBezTo>
                        <a:pt x="10" y="361"/>
                        <a:pt x="0" y="378"/>
                        <a:pt x="3" y="383"/>
                      </a:cubicBezTo>
                      <a:cubicBezTo>
                        <a:pt x="6" y="388"/>
                        <a:pt x="22" y="382"/>
                        <a:pt x="30" y="386"/>
                      </a:cubicBezTo>
                      <a:cubicBezTo>
                        <a:pt x="38" y="390"/>
                        <a:pt x="55" y="405"/>
                        <a:pt x="55" y="405"/>
                      </a:cubicBezTo>
                      <a:cubicBezTo>
                        <a:pt x="55" y="405"/>
                        <a:pt x="56" y="420"/>
                        <a:pt x="60" y="42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53" name="Equatorial Guinea">
                  <a:extLst>
                    <a:ext uri="{FF2B5EF4-FFF2-40B4-BE49-F238E27FC236}">
                      <a16:creationId xmlns:a16="http://schemas.microsoft.com/office/drawing/2014/main" id="{77A0F56A-7940-4346-62A7-D1E93821125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83867" y="3891749"/>
                  <a:ext cx="169354" cy="94006"/>
                </a:xfrm>
                <a:custGeom>
                  <a:avLst/>
                  <a:gdLst>
                    <a:gd name="T0" fmla="*/ 97 w 103"/>
                    <a:gd name="T1" fmla="*/ 29 h 71"/>
                    <a:gd name="T2" fmla="*/ 100 w 103"/>
                    <a:gd name="T3" fmla="*/ 6 h 71"/>
                    <a:gd name="T4" fmla="*/ 36 w 103"/>
                    <a:gd name="T5" fmla="*/ 6 h 71"/>
                    <a:gd name="T6" fmla="*/ 30 w 103"/>
                    <a:gd name="T7" fmla="*/ 0 h 71"/>
                    <a:gd name="T8" fmla="*/ 24 w 103"/>
                    <a:gd name="T9" fmla="*/ 3 h 71"/>
                    <a:gd name="T10" fmla="*/ 23 w 103"/>
                    <a:gd name="T11" fmla="*/ 29 h 71"/>
                    <a:gd name="T12" fmla="*/ 4 w 103"/>
                    <a:gd name="T13" fmla="*/ 57 h 71"/>
                    <a:gd name="T14" fmla="*/ 21 w 103"/>
                    <a:gd name="T15" fmla="*/ 67 h 71"/>
                    <a:gd name="T16" fmla="*/ 29 w 103"/>
                    <a:gd name="T17" fmla="*/ 65 h 71"/>
                    <a:gd name="T18" fmla="*/ 31 w 103"/>
                    <a:gd name="T19" fmla="*/ 71 h 71"/>
                    <a:gd name="T20" fmla="*/ 98 w 103"/>
                    <a:gd name="T21" fmla="*/ 69 h 71"/>
                    <a:gd name="T22" fmla="*/ 103 w 103"/>
                    <a:gd name="T23" fmla="*/ 33 h 71"/>
                    <a:gd name="T24" fmla="*/ 97 w 103"/>
                    <a:gd name="T25" fmla="*/ 29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3" h="71">
                      <a:moveTo>
                        <a:pt x="97" y="29"/>
                      </a:moveTo>
                      <a:cubicBezTo>
                        <a:pt x="100" y="6"/>
                        <a:pt x="100" y="6"/>
                        <a:pt x="100" y="6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4" y="3"/>
                        <a:pt x="28" y="21"/>
                        <a:pt x="23" y="29"/>
                      </a:cubicBezTo>
                      <a:cubicBezTo>
                        <a:pt x="18" y="37"/>
                        <a:pt x="0" y="50"/>
                        <a:pt x="4" y="57"/>
                      </a:cubicBezTo>
                      <a:cubicBezTo>
                        <a:pt x="7" y="63"/>
                        <a:pt x="17" y="66"/>
                        <a:pt x="21" y="67"/>
                      </a:cubicBezTo>
                      <a:cubicBezTo>
                        <a:pt x="29" y="65"/>
                        <a:pt x="29" y="65"/>
                        <a:pt x="29" y="65"/>
                      </a:cubicBezTo>
                      <a:cubicBezTo>
                        <a:pt x="31" y="71"/>
                        <a:pt x="31" y="71"/>
                        <a:pt x="31" y="71"/>
                      </a:cubicBezTo>
                      <a:cubicBezTo>
                        <a:pt x="31" y="71"/>
                        <a:pt x="93" y="70"/>
                        <a:pt x="98" y="69"/>
                      </a:cubicBezTo>
                      <a:cubicBezTo>
                        <a:pt x="103" y="68"/>
                        <a:pt x="103" y="33"/>
                        <a:pt x="103" y="33"/>
                      </a:cubicBezTo>
                      <a:lnTo>
                        <a:pt x="97" y="2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54" name="Eritrea">
                  <a:extLst>
                    <a:ext uri="{FF2B5EF4-FFF2-40B4-BE49-F238E27FC236}">
                      <a16:creationId xmlns:a16="http://schemas.microsoft.com/office/drawing/2014/main" id="{46F54103-C009-5AA1-3A44-F10B610E1D0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600792" y="2771217"/>
                  <a:ext cx="526878" cy="402339"/>
                </a:xfrm>
                <a:custGeom>
                  <a:avLst/>
                  <a:gdLst>
                    <a:gd name="T0" fmla="*/ 51 w 320"/>
                    <a:gd name="T1" fmla="*/ 35 h 305"/>
                    <a:gd name="T2" fmla="*/ 50 w 320"/>
                    <a:gd name="T3" fmla="*/ 50 h 305"/>
                    <a:gd name="T4" fmla="*/ 31 w 320"/>
                    <a:gd name="T5" fmla="*/ 57 h 305"/>
                    <a:gd name="T6" fmla="*/ 31 w 320"/>
                    <a:gd name="T7" fmla="*/ 67 h 305"/>
                    <a:gd name="T8" fmla="*/ 20 w 320"/>
                    <a:gd name="T9" fmla="*/ 75 h 305"/>
                    <a:gd name="T10" fmla="*/ 26 w 320"/>
                    <a:gd name="T11" fmla="*/ 106 h 305"/>
                    <a:gd name="T12" fmla="*/ 14 w 320"/>
                    <a:gd name="T13" fmla="*/ 126 h 305"/>
                    <a:gd name="T14" fmla="*/ 13 w 320"/>
                    <a:gd name="T15" fmla="*/ 143 h 305"/>
                    <a:gd name="T16" fmla="*/ 1 w 320"/>
                    <a:gd name="T17" fmla="*/ 157 h 305"/>
                    <a:gd name="T18" fmla="*/ 6 w 320"/>
                    <a:gd name="T19" fmla="*/ 167 h 305"/>
                    <a:gd name="T20" fmla="*/ 8 w 320"/>
                    <a:gd name="T21" fmla="*/ 200 h 305"/>
                    <a:gd name="T22" fmla="*/ 31 w 320"/>
                    <a:gd name="T23" fmla="*/ 201 h 305"/>
                    <a:gd name="T24" fmla="*/ 41 w 320"/>
                    <a:gd name="T25" fmla="*/ 191 h 305"/>
                    <a:gd name="T26" fmla="*/ 57 w 320"/>
                    <a:gd name="T27" fmla="*/ 211 h 305"/>
                    <a:gd name="T28" fmla="*/ 73 w 320"/>
                    <a:gd name="T29" fmla="*/ 170 h 305"/>
                    <a:gd name="T30" fmla="*/ 89 w 320"/>
                    <a:gd name="T31" fmla="*/ 179 h 305"/>
                    <a:gd name="T32" fmla="*/ 99 w 320"/>
                    <a:gd name="T33" fmla="*/ 194 h 305"/>
                    <a:gd name="T34" fmla="*/ 116 w 320"/>
                    <a:gd name="T35" fmla="*/ 194 h 305"/>
                    <a:gd name="T36" fmla="*/ 128 w 320"/>
                    <a:gd name="T37" fmla="*/ 181 h 305"/>
                    <a:gd name="T38" fmla="*/ 137 w 320"/>
                    <a:gd name="T39" fmla="*/ 194 h 305"/>
                    <a:gd name="T40" fmla="*/ 155 w 320"/>
                    <a:gd name="T41" fmla="*/ 187 h 305"/>
                    <a:gd name="T42" fmla="*/ 165 w 320"/>
                    <a:gd name="T43" fmla="*/ 192 h 305"/>
                    <a:gd name="T44" fmla="*/ 185 w 320"/>
                    <a:gd name="T45" fmla="*/ 193 h 305"/>
                    <a:gd name="T46" fmla="*/ 196 w 320"/>
                    <a:gd name="T47" fmla="*/ 207 h 305"/>
                    <a:gd name="T48" fmla="*/ 216 w 320"/>
                    <a:gd name="T49" fmla="*/ 216 h 305"/>
                    <a:gd name="T50" fmla="*/ 231 w 320"/>
                    <a:gd name="T51" fmla="*/ 242 h 305"/>
                    <a:gd name="T52" fmla="*/ 257 w 320"/>
                    <a:gd name="T53" fmla="*/ 257 h 305"/>
                    <a:gd name="T54" fmla="*/ 262 w 320"/>
                    <a:gd name="T55" fmla="*/ 277 h 305"/>
                    <a:gd name="T56" fmla="*/ 280 w 320"/>
                    <a:gd name="T57" fmla="*/ 283 h 305"/>
                    <a:gd name="T58" fmla="*/ 288 w 320"/>
                    <a:gd name="T59" fmla="*/ 295 h 305"/>
                    <a:gd name="T60" fmla="*/ 304 w 320"/>
                    <a:gd name="T61" fmla="*/ 305 h 305"/>
                    <a:gd name="T62" fmla="*/ 311 w 320"/>
                    <a:gd name="T63" fmla="*/ 293 h 305"/>
                    <a:gd name="T64" fmla="*/ 320 w 320"/>
                    <a:gd name="T65" fmla="*/ 287 h 305"/>
                    <a:gd name="T66" fmla="*/ 304 w 320"/>
                    <a:gd name="T67" fmla="*/ 268 h 305"/>
                    <a:gd name="T68" fmla="*/ 285 w 320"/>
                    <a:gd name="T69" fmla="*/ 264 h 305"/>
                    <a:gd name="T70" fmla="*/ 283 w 320"/>
                    <a:gd name="T71" fmla="*/ 239 h 305"/>
                    <a:gd name="T72" fmla="*/ 241 w 320"/>
                    <a:gd name="T73" fmla="*/ 216 h 305"/>
                    <a:gd name="T74" fmla="*/ 231 w 320"/>
                    <a:gd name="T75" fmla="*/ 181 h 305"/>
                    <a:gd name="T76" fmla="*/ 204 w 320"/>
                    <a:gd name="T77" fmla="*/ 177 h 305"/>
                    <a:gd name="T78" fmla="*/ 190 w 320"/>
                    <a:gd name="T79" fmla="*/ 159 h 305"/>
                    <a:gd name="T80" fmla="*/ 177 w 320"/>
                    <a:gd name="T81" fmla="*/ 165 h 305"/>
                    <a:gd name="T82" fmla="*/ 169 w 320"/>
                    <a:gd name="T83" fmla="*/ 152 h 305"/>
                    <a:gd name="T84" fmla="*/ 157 w 320"/>
                    <a:gd name="T85" fmla="*/ 149 h 305"/>
                    <a:gd name="T86" fmla="*/ 134 w 320"/>
                    <a:gd name="T87" fmla="*/ 117 h 305"/>
                    <a:gd name="T88" fmla="*/ 128 w 320"/>
                    <a:gd name="T89" fmla="*/ 62 h 305"/>
                    <a:gd name="T90" fmla="*/ 100 w 320"/>
                    <a:gd name="T91" fmla="*/ 1 h 305"/>
                    <a:gd name="T92" fmla="*/ 98 w 320"/>
                    <a:gd name="T93" fmla="*/ 0 h 305"/>
                    <a:gd name="T94" fmla="*/ 87 w 320"/>
                    <a:gd name="T95" fmla="*/ 25 h 305"/>
                    <a:gd name="T96" fmla="*/ 51 w 320"/>
                    <a:gd name="T97" fmla="*/ 35 h 3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20" h="305">
                      <a:moveTo>
                        <a:pt x="51" y="35"/>
                      </a:moveTo>
                      <a:cubicBezTo>
                        <a:pt x="51" y="35"/>
                        <a:pt x="51" y="43"/>
                        <a:pt x="50" y="50"/>
                      </a:cubicBezTo>
                      <a:cubicBezTo>
                        <a:pt x="49" y="57"/>
                        <a:pt x="31" y="57"/>
                        <a:pt x="31" y="57"/>
                      </a:cubicBezTo>
                      <a:cubicBezTo>
                        <a:pt x="31" y="67"/>
                        <a:pt x="31" y="67"/>
                        <a:pt x="31" y="67"/>
                      </a:cubicBezTo>
                      <a:cubicBezTo>
                        <a:pt x="31" y="67"/>
                        <a:pt x="20" y="72"/>
                        <a:pt x="20" y="75"/>
                      </a:cubicBezTo>
                      <a:cubicBezTo>
                        <a:pt x="20" y="78"/>
                        <a:pt x="26" y="88"/>
                        <a:pt x="26" y="106"/>
                      </a:cubicBezTo>
                      <a:cubicBezTo>
                        <a:pt x="26" y="124"/>
                        <a:pt x="14" y="126"/>
                        <a:pt x="14" y="126"/>
                      </a:cubicBezTo>
                      <a:cubicBezTo>
                        <a:pt x="14" y="126"/>
                        <a:pt x="13" y="136"/>
                        <a:pt x="13" y="143"/>
                      </a:cubicBezTo>
                      <a:cubicBezTo>
                        <a:pt x="13" y="150"/>
                        <a:pt x="2" y="149"/>
                        <a:pt x="1" y="157"/>
                      </a:cubicBezTo>
                      <a:cubicBezTo>
                        <a:pt x="0" y="165"/>
                        <a:pt x="6" y="167"/>
                        <a:pt x="6" y="167"/>
                      </a:cubicBezTo>
                      <a:cubicBezTo>
                        <a:pt x="8" y="200"/>
                        <a:pt x="8" y="200"/>
                        <a:pt x="8" y="200"/>
                      </a:cubicBezTo>
                      <a:cubicBezTo>
                        <a:pt x="31" y="201"/>
                        <a:pt x="31" y="201"/>
                        <a:pt x="31" y="201"/>
                      </a:cubicBezTo>
                      <a:cubicBezTo>
                        <a:pt x="31" y="201"/>
                        <a:pt x="36" y="191"/>
                        <a:pt x="41" y="191"/>
                      </a:cubicBezTo>
                      <a:cubicBezTo>
                        <a:pt x="46" y="191"/>
                        <a:pt x="49" y="211"/>
                        <a:pt x="57" y="211"/>
                      </a:cubicBezTo>
                      <a:cubicBezTo>
                        <a:pt x="65" y="211"/>
                        <a:pt x="73" y="170"/>
                        <a:pt x="73" y="170"/>
                      </a:cubicBezTo>
                      <a:cubicBezTo>
                        <a:pt x="73" y="170"/>
                        <a:pt x="85" y="177"/>
                        <a:pt x="89" y="179"/>
                      </a:cubicBezTo>
                      <a:cubicBezTo>
                        <a:pt x="93" y="181"/>
                        <a:pt x="99" y="194"/>
                        <a:pt x="99" y="194"/>
                      </a:cubicBezTo>
                      <a:cubicBezTo>
                        <a:pt x="99" y="194"/>
                        <a:pt x="113" y="194"/>
                        <a:pt x="116" y="194"/>
                      </a:cubicBezTo>
                      <a:cubicBezTo>
                        <a:pt x="119" y="194"/>
                        <a:pt x="128" y="181"/>
                        <a:pt x="128" y="181"/>
                      </a:cubicBezTo>
                      <a:cubicBezTo>
                        <a:pt x="128" y="181"/>
                        <a:pt x="134" y="194"/>
                        <a:pt x="137" y="194"/>
                      </a:cubicBezTo>
                      <a:cubicBezTo>
                        <a:pt x="140" y="194"/>
                        <a:pt x="151" y="187"/>
                        <a:pt x="155" y="187"/>
                      </a:cubicBezTo>
                      <a:cubicBezTo>
                        <a:pt x="159" y="187"/>
                        <a:pt x="165" y="192"/>
                        <a:pt x="165" y="192"/>
                      </a:cubicBezTo>
                      <a:cubicBezTo>
                        <a:pt x="185" y="193"/>
                        <a:pt x="185" y="193"/>
                        <a:pt x="185" y="193"/>
                      </a:cubicBezTo>
                      <a:cubicBezTo>
                        <a:pt x="196" y="207"/>
                        <a:pt x="196" y="207"/>
                        <a:pt x="196" y="207"/>
                      </a:cubicBezTo>
                      <a:cubicBezTo>
                        <a:pt x="196" y="207"/>
                        <a:pt x="208" y="208"/>
                        <a:pt x="216" y="216"/>
                      </a:cubicBezTo>
                      <a:cubicBezTo>
                        <a:pt x="224" y="224"/>
                        <a:pt x="227" y="234"/>
                        <a:pt x="231" y="242"/>
                      </a:cubicBezTo>
                      <a:cubicBezTo>
                        <a:pt x="235" y="250"/>
                        <a:pt x="253" y="252"/>
                        <a:pt x="257" y="257"/>
                      </a:cubicBezTo>
                      <a:cubicBezTo>
                        <a:pt x="261" y="262"/>
                        <a:pt x="261" y="271"/>
                        <a:pt x="262" y="277"/>
                      </a:cubicBezTo>
                      <a:cubicBezTo>
                        <a:pt x="263" y="283"/>
                        <a:pt x="280" y="283"/>
                        <a:pt x="280" y="283"/>
                      </a:cubicBezTo>
                      <a:cubicBezTo>
                        <a:pt x="288" y="295"/>
                        <a:pt x="288" y="295"/>
                        <a:pt x="288" y="295"/>
                      </a:cubicBezTo>
                      <a:cubicBezTo>
                        <a:pt x="304" y="305"/>
                        <a:pt x="304" y="305"/>
                        <a:pt x="304" y="305"/>
                      </a:cubicBezTo>
                      <a:cubicBezTo>
                        <a:pt x="311" y="293"/>
                        <a:pt x="311" y="293"/>
                        <a:pt x="311" y="293"/>
                      </a:cubicBezTo>
                      <a:cubicBezTo>
                        <a:pt x="320" y="287"/>
                        <a:pt x="320" y="287"/>
                        <a:pt x="320" y="287"/>
                      </a:cubicBezTo>
                      <a:cubicBezTo>
                        <a:pt x="312" y="277"/>
                        <a:pt x="304" y="268"/>
                        <a:pt x="304" y="268"/>
                      </a:cubicBezTo>
                      <a:cubicBezTo>
                        <a:pt x="304" y="268"/>
                        <a:pt x="287" y="271"/>
                        <a:pt x="285" y="264"/>
                      </a:cubicBezTo>
                      <a:cubicBezTo>
                        <a:pt x="283" y="257"/>
                        <a:pt x="283" y="239"/>
                        <a:pt x="283" y="239"/>
                      </a:cubicBezTo>
                      <a:cubicBezTo>
                        <a:pt x="283" y="239"/>
                        <a:pt x="244" y="225"/>
                        <a:pt x="241" y="216"/>
                      </a:cubicBezTo>
                      <a:cubicBezTo>
                        <a:pt x="238" y="207"/>
                        <a:pt x="238" y="185"/>
                        <a:pt x="231" y="181"/>
                      </a:cubicBezTo>
                      <a:cubicBezTo>
                        <a:pt x="224" y="177"/>
                        <a:pt x="207" y="181"/>
                        <a:pt x="204" y="177"/>
                      </a:cubicBezTo>
                      <a:cubicBezTo>
                        <a:pt x="201" y="173"/>
                        <a:pt x="190" y="159"/>
                        <a:pt x="190" y="159"/>
                      </a:cubicBezTo>
                      <a:cubicBezTo>
                        <a:pt x="177" y="165"/>
                        <a:pt x="177" y="165"/>
                        <a:pt x="177" y="165"/>
                      </a:cubicBezTo>
                      <a:cubicBezTo>
                        <a:pt x="169" y="152"/>
                        <a:pt x="169" y="152"/>
                        <a:pt x="169" y="152"/>
                      </a:cubicBezTo>
                      <a:cubicBezTo>
                        <a:pt x="157" y="149"/>
                        <a:pt x="157" y="149"/>
                        <a:pt x="157" y="149"/>
                      </a:cubicBezTo>
                      <a:cubicBezTo>
                        <a:pt x="157" y="149"/>
                        <a:pt x="137" y="129"/>
                        <a:pt x="134" y="117"/>
                      </a:cubicBezTo>
                      <a:cubicBezTo>
                        <a:pt x="131" y="105"/>
                        <a:pt x="135" y="85"/>
                        <a:pt x="128" y="62"/>
                      </a:cubicBezTo>
                      <a:cubicBezTo>
                        <a:pt x="121" y="39"/>
                        <a:pt x="100" y="1"/>
                        <a:pt x="100" y="1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6" y="9"/>
                        <a:pt x="92" y="21"/>
                        <a:pt x="87" y="25"/>
                      </a:cubicBezTo>
                      <a:cubicBezTo>
                        <a:pt x="78" y="33"/>
                        <a:pt x="51" y="35"/>
                        <a:pt x="51" y="35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55" name="Egypt">
                  <a:extLst>
                    <a:ext uri="{FF2B5EF4-FFF2-40B4-BE49-F238E27FC236}">
                      <a16:creationId xmlns:a16="http://schemas.microsoft.com/office/drawing/2014/main" id="{106E02D9-4A7C-017C-0F77-EBBE9000864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645830" y="1797334"/>
                  <a:ext cx="879700" cy="725715"/>
                </a:xfrm>
                <a:custGeom>
                  <a:avLst/>
                  <a:gdLst>
                    <a:gd name="T0" fmla="*/ 11 w 530"/>
                    <a:gd name="T1" fmla="*/ 13 h 546"/>
                    <a:gd name="T2" fmla="*/ 7 w 530"/>
                    <a:gd name="T3" fmla="*/ 34 h 546"/>
                    <a:gd name="T4" fmla="*/ 17 w 530"/>
                    <a:gd name="T5" fmla="*/ 54 h 546"/>
                    <a:gd name="T6" fmla="*/ 3 w 530"/>
                    <a:gd name="T7" fmla="*/ 82 h 546"/>
                    <a:gd name="T8" fmla="*/ 21 w 530"/>
                    <a:gd name="T9" fmla="*/ 120 h 546"/>
                    <a:gd name="T10" fmla="*/ 34 w 530"/>
                    <a:gd name="T11" fmla="*/ 518 h 546"/>
                    <a:gd name="T12" fmla="*/ 320 w 530"/>
                    <a:gd name="T13" fmla="*/ 522 h 546"/>
                    <a:gd name="T14" fmla="*/ 329 w 530"/>
                    <a:gd name="T15" fmla="*/ 510 h 546"/>
                    <a:gd name="T16" fmla="*/ 334 w 530"/>
                    <a:gd name="T17" fmla="*/ 518 h 546"/>
                    <a:gd name="T18" fmla="*/ 413 w 530"/>
                    <a:gd name="T19" fmla="*/ 521 h 546"/>
                    <a:gd name="T20" fmla="*/ 438 w 530"/>
                    <a:gd name="T21" fmla="*/ 539 h 546"/>
                    <a:gd name="T22" fmla="*/ 460 w 530"/>
                    <a:gd name="T23" fmla="*/ 508 h 546"/>
                    <a:gd name="T24" fmla="*/ 482 w 530"/>
                    <a:gd name="T25" fmla="*/ 505 h 546"/>
                    <a:gd name="T26" fmla="*/ 492 w 530"/>
                    <a:gd name="T27" fmla="*/ 478 h 546"/>
                    <a:gd name="T28" fmla="*/ 509 w 530"/>
                    <a:gd name="T29" fmla="*/ 477 h 546"/>
                    <a:gd name="T30" fmla="*/ 525 w 530"/>
                    <a:gd name="T31" fmla="*/ 462 h 546"/>
                    <a:gd name="T32" fmla="*/ 520 w 530"/>
                    <a:gd name="T33" fmla="*/ 445 h 546"/>
                    <a:gd name="T34" fmla="*/ 518 w 530"/>
                    <a:gd name="T35" fmla="*/ 416 h 546"/>
                    <a:gd name="T36" fmla="*/ 530 w 530"/>
                    <a:gd name="T37" fmla="*/ 415 h 546"/>
                    <a:gd name="T38" fmla="*/ 490 w 530"/>
                    <a:gd name="T39" fmla="*/ 369 h 546"/>
                    <a:gd name="T40" fmla="*/ 469 w 530"/>
                    <a:gd name="T41" fmla="*/ 315 h 546"/>
                    <a:gd name="T42" fmla="*/ 448 w 530"/>
                    <a:gd name="T43" fmla="*/ 288 h 546"/>
                    <a:gd name="T44" fmla="*/ 440 w 530"/>
                    <a:gd name="T45" fmla="*/ 252 h 546"/>
                    <a:gd name="T46" fmla="*/ 415 w 530"/>
                    <a:gd name="T47" fmla="*/ 225 h 546"/>
                    <a:gd name="T48" fmla="*/ 412 w 530"/>
                    <a:gd name="T49" fmla="*/ 204 h 546"/>
                    <a:gd name="T50" fmla="*/ 378 w 530"/>
                    <a:gd name="T51" fmla="*/ 161 h 546"/>
                    <a:gd name="T52" fmla="*/ 368 w 530"/>
                    <a:gd name="T53" fmla="*/ 147 h 546"/>
                    <a:gd name="T54" fmla="*/ 368 w 530"/>
                    <a:gd name="T55" fmla="*/ 126 h 546"/>
                    <a:gd name="T56" fmla="*/ 350 w 530"/>
                    <a:gd name="T57" fmla="*/ 112 h 546"/>
                    <a:gd name="T58" fmla="*/ 361 w 530"/>
                    <a:gd name="T59" fmla="*/ 99 h 546"/>
                    <a:gd name="T60" fmla="*/ 373 w 530"/>
                    <a:gd name="T61" fmla="*/ 107 h 546"/>
                    <a:gd name="T62" fmla="*/ 381 w 530"/>
                    <a:gd name="T63" fmla="*/ 130 h 546"/>
                    <a:gd name="T64" fmla="*/ 395 w 530"/>
                    <a:gd name="T65" fmla="*/ 145 h 546"/>
                    <a:gd name="T66" fmla="*/ 394 w 530"/>
                    <a:gd name="T67" fmla="*/ 162 h 546"/>
                    <a:gd name="T68" fmla="*/ 438 w 530"/>
                    <a:gd name="T69" fmla="*/ 207 h 546"/>
                    <a:gd name="T70" fmla="*/ 456 w 530"/>
                    <a:gd name="T71" fmla="*/ 195 h 546"/>
                    <a:gd name="T72" fmla="*/ 449 w 530"/>
                    <a:gd name="T73" fmla="*/ 183 h 546"/>
                    <a:gd name="T74" fmla="*/ 462 w 530"/>
                    <a:gd name="T75" fmla="*/ 143 h 546"/>
                    <a:gd name="T76" fmla="*/ 471 w 530"/>
                    <a:gd name="T77" fmla="*/ 112 h 546"/>
                    <a:gd name="T78" fmla="*/ 435 w 530"/>
                    <a:gd name="T79" fmla="*/ 19 h 546"/>
                    <a:gd name="T80" fmla="*/ 388 w 530"/>
                    <a:gd name="T81" fmla="*/ 30 h 546"/>
                    <a:gd name="T82" fmla="*/ 373 w 530"/>
                    <a:gd name="T83" fmla="*/ 22 h 546"/>
                    <a:gd name="T84" fmla="*/ 350 w 530"/>
                    <a:gd name="T85" fmla="*/ 26 h 546"/>
                    <a:gd name="T86" fmla="*/ 325 w 530"/>
                    <a:gd name="T87" fmla="*/ 7 h 546"/>
                    <a:gd name="T88" fmla="*/ 288 w 530"/>
                    <a:gd name="T89" fmla="*/ 14 h 546"/>
                    <a:gd name="T90" fmla="*/ 262 w 530"/>
                    <a:gd name="T91" fmla="*/ 11 h 546"/>
                    <a:gd name="T92" fmla="*/ 243 w 530"/>
                    <a:gd name="T93" fmla="*/ 30 h 546"/>
                    <a:gd name="T94" fmla="*/ 227 w 530"/>
                    <a:gd name="T95" fmla="*/ 30 h 546"/>
                    <a:gd name="T96" fmla="*/ 210 w 530"/>
                    <a:gd name="T97" fmla="*/ 43 h 546"/>
                    <a:gd name="T98" fmla="*/ 170 w 530"/>
                    <a:gd name="T99" fmla="*/ 29 h 546"/>
                    <a:gd name="T100" fmla="*/ 140 w 530"/>
                    <a:gd name="T101" fmla="*/ 29 h 546"/>
                    <a:gd name="T102" fmla="*/ 112 w 530"/>
                    <a:gd name="T103" fmla="*/ 13 h 546"/>
                    <a:gd name="T104" fmla="*/ 89 w 530"/>
                    <a:gd name="T105" fmla="*/ 12 h 546"/>
                    <a:gd name="T106" fmla="*/ 60 w 530"/>
                    <a:gd name="T107" fmla="*/ 1 h 546"/>
                    <a:gd name="T108" fmla="*/ 31 w 530"/>
                    <a:gd name="T109" fmla="*/ 6 h 546"/>
                    <a:gd name="T110" fmla="*/ 24 w 530"/>
                    <a:gd name="T111" fmla="*/ 0 h 546"/>
                    <a:gd name="T112" fmla="*/ 11 w 530"/>
                    <a:gd name="T113" fmla="*/ 13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530" h="546">
                      <a:moveTo>
                        <a:pt x="11" y="13"/>
                      </a:moveTo>
                      <a:cubicBezTo>
                        <a:pt x="6" y="16"/>
                        <a:pt x="6" y="30"/>
                        <a:pt x="7" y="34"/>
                      </a:cubicBezTo>
                      <a:cubicBezTo>
                        <a:pt x="8" y="38"/>
                        <a:pt x="20" y="45"/>
                        <a:pt x="17" y="54"/>
                      </a:cubicBezTo>
                      <a:cubicBezTo>
                        <a:pt x="14" y="63"/>
                        <a:pt x="0" y="75"/>
                        <a:pt x="3" y="82"/>
                      </a:cubicBezTo>
                      <a:cubicBezTo>
                        <a:pt x="6" y="89"/>
                        <a:pt x="21" y="107"/>
                        <a:pt x="21" y="120"/>
                      </a:cubicBezTo>
                      <a:cubicBezTo>
                        <a:pt x="21" y="133"/>
                        <a:pt x="34" y="518"/>
                        <a:pt x="34" y="518"/>
                      </a:cubicBezTo>
                      <a:cubicBezTo>
                        <a:pt x="320" y="522"/>
                        <a:pt x="320" y="522"/>
                        <a:pt x="320" y="522"/>
                      </a:cubicBezTo>
                      <a:cubicBezTo>
                        <a:pt x="320" y="522"/>
                        <a:pt x="322" y="512"/>
                        <a:pt x="329" y="510"/>
                      </a:cubicBezTo>
                      <a:cubicBezTo>
                        <a:pt x="336" y="508"/>
                        <a:pt x="334" y="518"/>
                        <a:pt x="334" y="518"/>
                      </a:cubicBezTo>
                      <a:cubicBezTo>
                        <a:pt x="413" y="521"/>
                        <a:pt x="413" y="521"/>
                        <a:pt x="413" y="521"/>
                      </a:cubicBezTo>
                      <a:cubicBezTo>
                        <a:pt x="413" y="521"/>
                        <a:pt x="425" y="546"/>
                        <a:pt x="438" y="539"/>
                      </a:cubicBezTo>
                      <a:cubicBezTo>
                        <a:pt x="451" y="532"/>
                        <a:pt x="450" y="511"/>
                        <a:pt x="460" y="508"/>
                      </a:cubicBezTo>
                      <a:cubicBezTo>
                        <a:pt x="470" y="505"/>
                        <a:pt x="472" y="509"/>
                        <a:pt x="482" y="505"/>
                      </a:cubicBezTo>
                      <a:cubicBezTo>
                        <a:pt x="492" y="501"/>
                        <a:pt x="492" y="478"/>
                        <a:pt x="492" y="478"/>
                      </a:cubicBezTo>
                      <a:cubicBezTo>
                        <a:pt x="509" y="477"/>
                        <a:pt x="509" y="477"/>
                        <a:pt x="509" y="477"/>
                      </a:cubicBezTo>
                      <a:cubicBezTo>
                        <a:pt x="525" y="462"/>
                        <a:pt x="525" y="462"/>
                        <a:pt x="525" y="462"/>
                      </a:cubicBezTo>
                      <a:cubicBezTo>
                        <a:pt x="522" y="456"/>
                        <a:pt x="520" y="450"/>
                        <a:pt x="520" y="445"/>
                      </a:cubicBezTo>
                      <a:cubicBezTo>
                        <a:pt x="519" y="430"/>
                        <a:pt x="518" y="416"/>
                        <a:pt x="518" y="416"/>
                      </a:cubicBezTo>
                      <a:cubicBezTo>
                        <a:pt x="530" y="415"/>
                        <a:pt x="530" y="415"/>
                        <a:pt x="530" y="415"/>
                      </a:cubicBezTo>
                      <a:cubicBezTo>
                        <a:pt x="530" y="415"/>
                        <a:pt x="503" y="397"/>
                        <a:pt x="490" y="369"/>
                      </a:cubicBezTo>
                      <a:cubicBezTo>
                        <a:pt x="477" y="341"/>
                        <a:pt x="478" y="326"/>
                        <a:pt x="469" y="315"/>
                      </a:cubicBezTo>
                      <a:cubicBezTo>
                        <a:pt x="460" y="304"/>
                        <a:pt x="456" y="302"/>
                        <a:pt x="448" y="288"/>
                      </a:cubicBezTo>
                      <a:cubicBezTo>
                        <a:pt x="440" y="274"/>
                        <a:pt x="440" y="252"/>
                        <a:pt x="440" y="252"/>
                      </a:cubicBezTo>
                      <a:cubicBezTo>
                        <a:pt x="415" y="225"/>
                        <a:pt x="415" y="225"/>
                        <a:pt x="415" y="225"/>
                      </a:cubicBezTo>
                      <a:cubicBezTo>
                        <a:pt x="415" y="225"/>
                        <a:pt x="418" y="216"/>
                        <a:pt x="412" y="204"/>
                      </a:cubicBezTo>
                      <a:cubicBezTo>
                        <a:pt x="406" y="192"/>
                        <a:pt x="380" y="170"/>
                        <a:pt x="378" y="161"/>
                      </a:cubicBezTo>
                      <a:cubicBezTo>
                        <a:pt x="376" y="152"/>
                        <a:pt x="368" y="147"/>
                        <a:pt x="368" y="147"/>
                      </a:cubicBezTo>
                      <a:cubicBezTo>
                        <a:pt x="368" y="147"/>
                        <a:pt x="376" y="137"/>
                        <a:pt x="368" y="126"/>
                      </a:cubicBezTo>
                      <a:cubicBezTo>
                        <a:pt x="360" y="115"/>
                        <a:pt x="350" y="112"/>
                        <a:pt x="350" y="112"/>
                      </a:cubicBezTo>
                      <a:cubicBezTo>
                        <a:pt x="361" y="99"/>
                        <a:pt x="361" y="99"/>
                        <a:pt x="361" y="99"/>
                      </a:cubicBezTo>
                      <a:cubicBezTo>
                        <a:pt x="373" y="107"/>
                        <a:pt x="373" y="107"/>
                        <a:pt x="373" y="107"/>
                      </a:cubicBezTo>
                      <a:cubicBezTo>
                        <a:pt x="373" y="107"/>
                        <a:pt x="372" y="124"/>
                        <a:pt x="381" y="130"/>
                      </a:cubicBezTo>
                      <a:cubicBezTo>
                        <a:pt x="390" y="136"/>
                        <a:pt x="395" y="145"/>
                        <a:pt x="395" y="145"/>
                      </a:cubicBezTo>
                      <a:cubicBezTo>
                        <a:pt x="394" y="162"/>
                        <a:pt x="394" y="162"/>
                        <a:pt x="394" y="162"/>
                      </a:cubicBezTo>
                      <a:cubicBezTo>
                        <a:pt x="394" y="162"/>
                        <a:pt x="426" y="214"/>
                        <a:pt x="438" y="207"/>
                      </a:cubicBezTo>
                      <a:cubicBezTo>
                        <a:pt x="450" y="200"/>
                        <a:pt x="456" y="195"/>
                        <a:pt x="456" y="195"/>
                      </a:cubicBezTo>
                      <a:cubicBezTo>
                        <a:pt x="449" y="183"/>
                        <a:pt x="449" y="183"/>
                        <a:pt x="449" y="183"/>
                      </a:cubicBezTo>
                      <a:cubicBezTo>
                        <a:pt x="449" y="183"/>
                        <a:pt x="462" y="157"/>
                        <a:pt x="462" y="143"/>
                      </a:cubicBezTo>
                      <a:cubicBezTo>
                        <a:pt x="462" y="129"/>
                        <a:pt x="471" y="112"/>
                        <a:pt x="471" y="112"/>
                      </a:cubicBezTo>
                      <a:cubicBezTo>
                        <a:pt x="435" y="19"/>
                        <a:pt x="435" y="19"/>
                        <a:pt x="435" y="19"/>
                      </a:cubicBezTo>
                      <a:cubicBezTo>
                        <a:pt x="435" y="19"/>
                        <a:pt x="397" y="34"/>
                        <a:pt x="388" y="30"/>
                      </a:cubicBezTo>
                      <a:cubicBezTo>
                        <a:pt x="379" y="26"/>
                        <a:pt x="373" y="22"/>
                        <a:pt x="373" y="22"/>
                      </a:cubicBezTo>
                      <a:cubicBezTo>
                        <a:pt x="373" y="22"/>
                        <a:pt x="364" y="33"/>
                        <a:pt x="350" y="26"/>
                      </a:cubicBezTo>
                      <a:cubicBezTo>
                        <a:pt x="336" y="19"/>
                        <a:pt x="341" y="10"/>
                        <a:pt x="325" y="7"/>
                      </a:cubicBezTo>
                      <a:cubicBezTo>
                        <a:pt x="309" y="4"/>
                        <a:pt x="288" y="14"/>
                        <a:pt x="288" y="14"/>
                      </a:cubicBezTo>
                      <a:cubicBezTo>
                        <a:pt x="288" y="14"/>
                        <a:pt x="273" y="7"/>
                        <a:pt x="262" y="11"/>
                      </a:cubicBezTo>
                      <a:cubicBezTo>
                        <a:pt x="251" y="15"/>
                        <a:pt x="243" y="30"/>
                        <a:pt x="243" y="30"/>
                      </a:cubicBezTo>
                      <a:cubicBezTo>
                        <a:pt x="243" y="30"/>
                        <a:pt x="231" y="28"/>
                        <a:pt x="227" y="30"/>
                      </a:cubicBezTo>
                      <a:cubicBezTo>
                        <a:pt x="223" y="32"/>
                        <a:pt x="210" y="43"/>
                        <a:pt x="210" y="43"/>
                      </a:cubicBezTo>
                      <a:cubicBezTo>
                        <a:pt x="210" y="43"/>
                        <a:pt x="176" y="29"/>
                        <a:pt x="170" y="29"/>
                      </a:cubicBezTo>
                      <a:cubicBezTo>
                        <a:pt x="164" y="29"/>
                        <a:pt x="153" y="32"/>
                        <a:pt x="140" y="29"/>
                      </a:cubicBezTo>
                      <a:cubicBezTo>
                        <a:pt x="127" y="26"/>
                        <a:pt x="125" y="14"/>
                        <a:pt x="112" y="13"/>
                      </a:cubicBezTo>
                      <a:cubicBezTo>
                        <a:pt x="99" y="12"/>
                        <a:pt x="89" y="12"/>
                        <a:pt x="89" y="12"/>
                      </a:cubicBezTo>
                      <a:cubicBezTo>
                        <a:pt x="89" y="12"/>
                        <a:pt x="69" y="1"/>
                        <a:pt x="60" y="1"/>
                      </a:cubicBezTo>
                      <a:cubicBezTo>
                        <a:pt x="51" y="1"/>
                        <a:pt x="46" y="15"/>
                        <a:pt x="31" y="6"/>
                      </a:cubicBezTo>
                      <a:cubicBezTo>
                        <a:pt x="28" y="4"/>
                        <a:pt x="26" y="2"/>
                        <a:pt x="24" y="0"/>
                      </a:cubicBezTo>
                      <a:cubicBezTo>
                        <a:pt x="21" y="4"/>
                        <a:pt x="15" y="11"/>
                        <a:pt x="11" y="13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56" name="DR Congo">
                  <a:extLst>
                    <a:ext uri="{FF2B5EF4-FFF2-40B4-BE49-F238E27FC236}">
                      <a16:creationId xmlns:a16="http://schemas.microsoft.com/office/drawing/2014/main" id="{8DC5AC42-4AB7-85C5-EEE3-9C6AAE90B54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23788" y="3669894"/>
                  <a:ext cx="1495957" cy="1346143"/>
                </a:xfrm>
                <a:custGeom>
                  <a:avLst/>
                  <a:gdLst>
                    <a:gd name="T0" fmla="*/ 838 w 902"/>
                    <a:gd name="T1" fmla="*/ 264 h 1016"/>
                    <a:gd name="T2" fmla="*/ 853 w 902"/>
                    <a:gd name="T3" fmla="*/ 230 h 1016"/>
                    <a:gd name="T4" fmla="*/ 890 w 902"/>
                    <a:gd name="T5" fmla="*/ 163 h 1016"/>
                    <a:gd name="T6" fmla="*/ 873 w 902"/>
                    <a:gd name="T7" fmla="*/ 127 h 1016"/>
                    <a:gd name="T8" fmla="*/ 869 w 902"/>
                    <a:gd name="T9" fmla="*/ 98 h 1016"/>
                    <a:gd name="T10" fmla="*/ 820 w 902"/>
                    <a:gd name="T11" fmla="*/ 39 h 1016"/>
                    <a:gd name="T12" fmla="*/ 765 w 902"/>
                    <a:gd name="T13" fmla="*/ 61 h 1016"/>
                    <a:gd name="T14" fmla="*/ 713 w 902"/>
                    <a:gd name="T15" fmla="*/ 13 h 1016"/>
                    <a:gd name="T16" fmla="*/ 659 w 902"/>
                    <a:gd name="T17" fmla="*/ 10 h 1016"/>
                    <a:gd name="T18" fmla="*/ 611 w 902"/>
                    <a:gd name="T19" fmla="*/ 23 h 1016"/>
                    <a:gd name="T20" fmla="*/ 560 w 902"/>
                    <a:gd name="T21" fmla="*/ 32 h 1016"/>
                    <a:gd name="T22" fmla="*/ 509 w 902"/>
                    <a:gd name="T23" fmla="*/ 30 h 1016"/>
                    <a:gd name="T24" fmla="*/ 462 w 902"/>
                    <a:gd name="T25" fmla="*/ 63 h 1016"/>
                    <a:gd name="T26" fmla="*/ 394 w 902"/>
                    <a:gd name="T27" fmla="*/ 53 h 1016"/>
                    <a:gd name="T28" fmla="*/ 346 w 902"/>
                    <a:gd name="T29" fmla="*/ 15 h 1016"/>
                    <a:gd name="T30" fmla="*/ 302 w 902"/>
                    <a:gd name="T31" fmla="*/ 72 h 1016"/>
                    <a:gd name="T32" fmla="*/ 301 w 902"/>
                    <a:gd name="T33" fmla="*/ 103 h 1016"/>
                    <a:gd name="T34" fmla="*/ 276 w 902"/>
                    <a:gd name="T35" fmla="*/ 217 h 1016"/>
                    <a:gd name="T36" fmla="*/ 262 w 902"/>
                    <a:gd name="T37" fmla="*/ 289 h 1016"/>
                    <a:gd name="T38" fmla="*/ 213 w 902"/>
                    <a:gd name="T39" fmla="*/ 359 h 1016"/>
                    <a:gd name="T40" fmla="*/ 187 w 902"/>
                    <a:gd name="T41" fmla="*/ 477 h 1016"/>
                    <a:gd name="T42" fmla="*/ 129 w 902"/>
                    <a:gd name="T43" fmla="*/ 540 h 1016"/>
                    <a:gd name="T44" fmla="*/ 83 w 902"/>
                    <a:gd name="T45" fmla="*/ 533 h 1016"/>
                    <a:gd name="T46" fmla="*/ 43 w 902"/>
                    <a:gd name="T47" fmla="*/ 537 h 1016"/>
                    <a:gd name="T48" fmla="*/ 9 w 902"/>
                    <a:gd name="T49" fmla="*/ 565 h 1016"/>
                    <a:gd name="T50" fmla="*/ 12 w 902"/>
                    <a:gd name="T51" fmla="*/ 617 h 1016"/>
                    <a:gd name="T52" fmla="*/ 57 w 902"/>
                    <a:gd name="T53" fmla="*/ 607 h 1016"/>
                    <a:gd name="T54" fmla="*/ 98 w 902"/>
                    <a:gd name="T55" fmla="*/ 611 h 1016"/>
                    <a:gd name="T56" fmla="*/ 153 w 902"/>
                    <a:gd name="T57" fmla="*/ 609 h 1016"/>
                    <a:gd name="T58" fmla="*/ 200 w 902"/>
                    <a:gd name="T59" fmla="*/ 608 h 1016"/>
                    <a:gd name="T60" fmla="*/ 223 w 902"/>
                    <a:gd name="T61" fmla="*/ 664 h 1016"/>
                    <a:gd name="T62" fmla="*/ 240 w 902"/>
                    <a:gd name="T63" fmla="*/ 709 h 1016"/>
                    <a:gd name="T64" fmla="*/ 270 w 902"/>
                    <a:gd name="T65" fmla="*/ 726 h 1016"/>
                    <a:gd name="T66" fmla="*/ 296 w 902"/>
                    <a:gd name="T67" fmla="*/ 724 h 1016"/>
                    <a:gd name="T68" fmla="*/ 337 w 902"/>
                    <a:gd name="T69" fmla="*/ 720 h 1016"/>
                    <a:gd name="T70" fmla="*/ 343 w 902"/>
                    <a:gd name="T71" fmla="*/ 672 h 1016"/>
                    <a:gd name="T72" fmla="*/ 391 w 902"/>
                    <a:gd name="T73" fmla="*/ 678 h 1016"/>
                    <a:gd name="T74" fmla="*/ 452 w 902"/>
                    <a:gd name="T75" fmla="*/ 703 h 1016"/>
                    <a:gd name="T76" fmla="*/ 461 w 902"/>
                    <a:gd name="T77" fmla="*/ 747 h 1016"/>
                    <a:gd name="T78" fmla="*/ 451 w 902"/>
                    <a:gd name="T79" fmla="*/ 799 h 1016"/>
                    <a:gd name="T80" fmla="*/ 471 w 902"/>
                    <a:gd name="T81" fmla="*/ 869 h 1016"/>
                    <a:gd name="T82" fmla="*/ 485 w 902"/>
                    <a:gd name="T83" fmla="*/ 886 h 1016"/>
                    <a:gd name="T84" fmla="*/ 526 w 902"/>
                    <a:gd name="T85" fmla="*/ 880 h 1016"/>
                    <a:gd name="T86" fmla="*/ 556 w 902"/>
                    <a:gd name="T87" fmla="*/ 875 h 1016"/>
                    <a:gd name="T88" fmla="*/ 580 w 902"/>
                    <a:gd name="T89" fmla="*/ 908 h 1016"/>
                    <a:gd name="T90" fmla="*/ 620 w 902"/>
                    <a:gd name="T91" fmla="*/ 919 h 1016"/>
                    <a:gd name="T92" fmla="*/ 708 w 902"/>
                    <a:gd name="T93" fmla="*/ 925 h 1016"/>
                    <a:gd name="T94" fmla="*/ 737 w 902"/>
                    <a:gd name="T95" fmla="*/ 947 h 1016"/>
                    <a:gd name="T96" fmla="*/ 768 w 902"/>
                    <a:gd name="T97" fmla="*/ 978 h 1016"/>
                    <a:gd name="T98" fmla="*/ 799 w 902"/>
                    <a:gd name="T99" fmla="*/ 1012 h 1016"/>
                    <a:gd name="T100" fmla="*/ 827 w 902"/>
                    <a:gd name="T101" fmla="*/ 945 h 1016"/>
                    <a:gd name="T102" fmla="*/ 806 w 902"/>
                    <a:gd name="T103" fmla="*/ 961 h 1016"/>
                    <a:gd name="T104" fmla="*/ 779 w 902"/>
                    <a:gd name="T105" fmla="*/ 866 h 1016"/>
                    <a:gd name="T106" fmla="*/ 761 w 902"/>
                    <a:gd name="T107" fmla="*/ 788 h 1016"/>
                    <a:gd name="T108" fmla="*/ 838 w 902"/>
                    <a:gd name="T109" fmla="*/ 738 h 1016"/>
                    <a:gd name="T110" fmla="*/ 850 w 902"/>
                    <a:gd name="T111" fmla="*/ 710 h 1016"/>
                    <a:gd name="T112" fmla="*/ 828 w 902"/>
                    <a:gd name="T113" fmla="*/ 658 h 1016"/>
                    <a:gd name="T114" fmla="*/ 810 w 902"/>
                    <a:gd name="T115" fmla="*/ 589 h 1016"/>
                    <a:gd name="T116" fmla="*/ 802 w 902"/>
                    <a:gd name="T117" fmla="*/ 502 h 1016"/>
                    <a:gd name="T118" fmla="*/ 816 w 902"/>
                    <a:gd name="T119" fmla="*/ 471 h 1016"/>
                    <a:gd name="T120" fmla="*/ 795 w 902"/>
                    <a:gd name="T121" fmla="*/ 434 h 1016"/>
                    <a:gd name="T122" fmla="*/ 799 w 902"/>
                    <a:gd name="T123" fmla="*/ 384 h 10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02" h="1016">
                      <a:moveTo>
                        <a:pt x="828" y="315"/>
                      </a:moveTo>
                      <a:cubicBezTo>
                        <a:pt x="828" y="295"/>
                        <a:pt x="828" y="295"/>
                        <a:pt x="828" y="295"/>
                      </a:cubicBezTo>
                      <a:cubicBezTo>
                        <a:pt x="838" y="264"/>
                        <a:pt x="838" y="264"/>
                        <a:pt x="838" y="264"/>
                      </a:cubicBezTo>
                      <a:cubicBezTo>
                        <a:pt x="840" y="247"/>
                        <a:pt x="840" y="247"/>
                        <a:pt x="840" y="247"/>
                      </a:cubicBezTo>
                      <a:cubicBezTo>
                        <a:pt x="853" y="239"/>
                        <a:pt x="853" y="239"/>
                        <a:pt x="853" y="239"/>
                      </a:cubicBezTo>
                      <a:cubicBezTo>
                        <a:pt x="853" y="230"/>
                        <a:pt x="853" y="230"/>
                        <a:pt x="853" y="230"/>
                      </a:cubicBezTo>
                      <a:cubicBezTo>
                        <a:pt x="869" y="222"/>
                        <a:pt x="869" y="222"/>
                        <a:pt x="869" y="222"/>
                      </a:cubicBezTo>
                      <a:cubicBezTo>
                        <a:pt x="869" y="222"/>
                        <a:pt x="902" y="182"/>
                        <a:pt x="902" y="174"/>
                      </a:cubicBezTo>
                      <a:cubicBezTo>
                        <a:pt x="902" y="166"/>
                        <a:pt x="890" y="163"/>
                        <a:pt x="890" y="163"/>
                      </a:cubicBezTo>
                      <a:cubicBezTo>
                        <a:pt x="890" y="163"/>
                        <a:pt x="879" y="164"/>
                        <a:pt x="876" y="158"/>
                      </a:cubicBezTo>
                      <a:cubicBezTo>
                        <a:pt x="873" y="153"/>
                        <a:pt x="882" y="142"/>
                        <a:pt x="883" y="137"/>
                      </a:cubicBezTo>
                      <a:cubicBezTo>
                        <a:pt x="884" y="131"/>
                        <a:pt x="873" y="127"/>
                        <a:pt x="873" y="127"/>
                      </a:cubicBezTo>
                      <a:cubicBezTo>
                        <a:pt x="886" y="113"/>
                        <a:pt x="886" y="113"/>
                        <a:pt x="886" y="113"/>
                      </a:cubicBezTo>
                      <a:cubicBezTo>
                        <a:pt x="880" y="100"/>
                        <a:pt x="880" y="100"/>
                        <a:pt x="880" y="100"/>
                      </a:cubicBezTo>
                      <a:cubicBezTo>
                        <a:pt x="869" y="98"/>
                        <a:pt x="869" y="98"/>
                        <a:pt x="869" y="98"/>
                      </a:cubicBezTo>
                      <a:cubicBezTo>
                        <a:pt x="866" y="84"/>
                        <a:pt x="866" y="84"/>
                        <a:pt x="866" y="84"/>
                      </a:cubicBezTo>
                      <a:cubicBezTo>
                        <a:pt x="866" y="84"/>
                        <a:pt x="847" y="80"/>
                        <a:pt x="839" y="68"/>
                      </a:cubicBezTo>
                      <a:cubicBezTo>
                        <a:pt x="831" y="56"/>
                        <a:pt x="827" y="39"/>
                        <a:pt x="820" y="39"/>
                      </a:cubicBezTo>
                      <a:cubicBezTo>
                        <a:pt x="813" y="39"/>
                        <a:pt x="814" y="57"/>
                        <a:pt x="803" y="57"/>
                      </a:cubicBezTo>
                      <a:cubicBezTo>
                        <a:pt x="792" y="57"/>
                        <a:pt x="791" y="45"/>
                        <a:pt x="782" y="45"/>
                      </a:cubicBezTo>
                      <a:cubicBezTo>
                        <a:pt x="773" y="45"/>
                        <a:pt x="765" y="61"/>
                        <a:pt x="765" y="61"/>
                      </a:cubicBezTo>
                      <a:cubicBezTo>
                        <a:pt x="734" y="46"/>
                        <a:pt x="734" y="46"/>
                        <a:pt x="734" y="46"/>
                      </a:cubicBezTo>
                      <a:cubicBezTo>
                        <a:pt x="734" y="32"/>
                        <a:pt x="734" y="32"/>
                        <a:pt x="734" y="32"/>
                      </a:cubicBezTo>
                      <a:cubicBezTo>
                        <a:pt x="713" y="13"/>
                        <a:pt x="713" y="13"/>
                        <a:pt x="713" y="13"/>
                      </a:cubicBezTo>
                      <a:cubicBezTo>
                        <a:pt x="709" y="5"/>
                        <a:pt x="709" y="5"/>
                        <a:pt x="709" y="5"/>
                      </a:cubicBezTo>
                      <a:cubicBezTo>
                        <a:pt x="709" y="5"/>
                        <a:pt x="705" y="16"/>
                        <a:pt x="685" y="21"/>
                      </a:cubicBezTo>
                      <a:cubicBezTo>
                        <a:pt x="665" y="26"/>
                        <a:pt x="659" y="10"/>
                        <a:pt x="659" y="10"/>
                      </a:cubicBezTo>
                      <a:cubicBezTo>
                        <a:pt x="638" y="13"/>
                        <a:pt x="638" y="13"/>
                        <a:pt x="638" y="13"/>
                      </a:cubicBezTo>
                      <a:cubicBezTo>
                        <a:pt x="638" y="13"/>
                        <a:pt x="630" y="0"/>
                        <a:pt x="623" y="1"/>
                      </a:cubicBezTo>
                      <a:cubicBezTo>
                        <a:pt x="616" y="2"/>
                        <a:pt x="611" y="23"/>
                        <a:pt x="611" y="23"/>
                      </a:cubicBezTo>
                      <a:cubicBezTo>
                        <a:pt x="611" y="23"/>
                        <a:pt x="593" y="28"/>
                        <a:pt x="589" y="28"/>
                      </a:cubicBezTo>
                      <a:cubicBezTo>
                        <a:pt x="585" y="28"/>
                        <a:pt x="576" y="18"/>
                        <a:pt x="576" y="18"/>
                      </a:cubicBezTo>
                      <a:cubicBezTo>
                        <a:pt x="560" y="32"/>
                        <a:pt x="560" y="32"/>
                        <a:pt x="560" y="32"/>
                      </a:cubicBezTo>
                      <a:cubicBezTo>
                        <a:pt x="548" y="32"/>
                        <a:pt x="548" y="32"/>
                        <a:pt x="548" y="32"/>
                      </a:cubicBezTo>
                      <a:cubicBezTo>
                        <a:pt x="548" y="32"/>
                        <a:pt x="535" y="41"/>
                        <a:pt x="529" y="46"/>
                      </a:cubicBezTo>
                      <a:cubicBezTo>
                        <a:pt x="523" y="51"/>
                        <a:pt x="509" y="30"/>
                        <a:pt x="509" y="30"/>
                      </a:cubicBezTo>
                      <a:cubicBezTo>
                        <a:pt x="509" y="30"/>
                        <a:pt x="502" y="43"/>
                        <a:pt x="495" y="46"/>
                      </a:cubicBezTo>
                      <a:cubicBezTo>
                        <a:pt x="488" y="49"/>
                        <a:pt x="493" y="63"/>
                        <a:pt x="484" y="70"/>
                      </a:cubicBezTo>
                      <a:cubicBezTo>
                        <a:pt x="475" y="77"/>
                        <a:pt x="462" y="63"/>
                        <a:pt x="462" y="63"/>
                      </a:cubicBezTo>
                      <a:cubicBezTo>
                        <a:pt x="462" y="63"/>
                        <a:pt x="444" y="63"/>
                        <a:pt x="434" y="64"/>
                      </a:cubicBezTo>
                      <a:cubicBezTo>
                        <a:pt x="424" y="65"/>
                        <a:pt x="418" y="53"/>
                        <a:pt x="418" y="53"/>
                      </a:cubicBezTo>
                      <a:cubicBezTo>
                        <a:pt x="418" y="53"/>
                        <a:pt x="409" y="53"/>
                        <a:pt x="394" y="53"/>
                      </a:cubicBezTo>
                      <a:cubicBezTo>
                        <a:pt x="379" y="53"/>
                        <a:pt x="391" y="38"/>
                        <a:pt x="388" y="34"/>
                      </a:cubicBezTo>
                      <a:cubicBezTo>
                        <a:pt x="385" y="30"/>
                        <a:pt x="372" y="32"/>
                        <a:pt x="372" y="32"/>
                      </a:cubicBezTo>
                      <a:cubicBezTo>
                        <a:pt x="372" y="32"/>
                        <a:pt x="375" y="17"/>
                        <a:pt x="346" y="15"/>
                      </a:cubicBezTo>
                      <a:cubicBezTo>
                        <a:pt x="317" y="13"/>
                        <a:pt x="327" y="32"/>
                        <a:pt x="317" y="46"/>
                      </a:cubicBezTo>
                      <a:cubicBezTo>
                        <a:pt x="307" y="60"/>
                        <a:pt x="308" y="49"/>
                        <a:pt x="300" y="59"/>
                      </a:cubicBezTo>
                      <a:cubicBezTo>
                        <a:pt x="292" y="69"/>
                        <a:pt x="302" y="72"/>
                        <a:pt x="302" y="72"/>
                      </a:cubicBezTo>
                      <a:cubicBezTo>
                        <a:pt x="302" y="82"/>
                        <a:pt x="302" y="82"/>
                        <a:pt x="302" y="82"/>
                      </a:cubicBezTo>
                      <a:cubicBezTo>
                        <a:pt x="292" y="96"/>
                        <a:pt x="292" y="96"/>
                        <a:pt x="292" y="96"/>
                      </a:cubicBezTo>
                      <a:cubicBezTo>
                        <a:pt x="301" y="103"/>
                        <a:pt x="301" y="103"/>
                        <a:pt x="301" y="103"/>
                      </a:cubicBezTo>
                      <a:cubicBezTo>
                        <a:pt x="301" y="103"/>
                        <a:pt x="301" y="114"/>
                        <a:pt x="301" y="122"/>
                      </a:cubicBezTo>
                      <a:cubicBezTo>
                        <a:pt x="301" y="130"/>
                        <a:pt x="286" y="159"/>
                        <a:pt x="277" y="169"/>
                      </a:cubicBezTo>
                      <a:cubicBezTo>
                        <a:pt x="268" y="179"/>
                        <a:pt x="275" y="206"/>
                        <a:pt x="276" y="217"/>
                      </a:cubicBezTo>
                      <a:cubicBezTo>
                        <a:pt x="277" y="228"/>
                        <a:pt x="267" y="236"/>
                        <a:pt x="265" y="244"/>
                      </a:cubicBezTo>
                      <a:cubicBezTo>
                        <a:pt x="263" y="252"/>
                        <a:pt x="272" y="259"/>
                        <a:pt x="272" y="270"/>
                      </a:cubicBezTo>
                      <a:cubicBezTo>
                        <a:pt x="272" y="281"/>
                        <a:pt x="262" y="289"/>
                        <a:pt x="262" y="289"/>
                      </a:cubicBezTo>
                      <a:cubicBezTo>
                        <a:pt x="259" y="321"/>
                        <a:pt x="259" y="321"/>
                        <a:pt x="259" y="321"/>
                      </a:cubicBezTo>
                      <a:cubicBezTo>
                        <a:pt x="259" y="321"/>
                        <a:pt x="253" y="336"/>
                        <a:pt x="243" y="343"/>
                      </a:cubicBezTo>
                      <a:cubicBezTo>
                        <a:pt x="233" y="350"/>
                        <a:pt x="220" y="356"/>
                        <a:pt x="213" y="359"/>
                      </a:cubicBezTo>
                      <a:cubicBezTo>
                        <a:pt x="206" y="362"/>
                        <a:pt x="206" y="385"/>
                        <a:pt x="205" y="394"/>
                      </a:cubicBezTo>
                      <a:cubicBezTo>
                        <a:pt x="204" y="403"/>
                        <a:pt x="186" y="410"/>
                        <a:pt x="186" y="410"/>
                      </a:cubicBezTo>
                      <a:cubicBezTo>
                        <a:pt x="187" y="477"/>
                        <a:pt x="187" y="477"/>
                        <a:pt x="187" y="477"/>
                      </a:cubicBezTo>
                      <a:cubicBezTo>
                        <a:pt x="170" y="507"/>
                        <a:pt x="170" y="507"/>
                        <a:pt x="170" y="507"/>
                      </a:cubicBezTo>
                      <a:cubicBezTo>
                        <a:pt x="170" y="507"/>
                        <a:pt x="160" y="510"/>
                        <a:pt x="154" y="510"/>
                      </a:cubicBezTo>
                      <a:cubicBezTo>
                        <a:pt x="148" y="510"/>
                        <a:pt x="136" y="531"/>
                        <a:pt x="129" y="540"/>
                      </a:cubicBezTo>
                      <a:cubicBezTo>
                        <a:pt x="122" y="549"/>
                        <a:pt x="119" y="554"/>
                        <a:pt x="104" y="554"/>
                      </a:cubicBezTo>
                      <a:cubicBezTo>
                        <a:pt x="89" y="554"/>
                        <a:pt x="107" y="531"/>
                        <a:pt x="100" y="524"/>
                      </a:cubicBezTo>
                      <a:cubicBezTo>
                        <a:pt x="93" y="517"/>
                        <a:pt x="83" y="533"/>
                        <a:pt x="83" y="533"/>
                      </a:cubicBezTo>
                      <a:cubicBezTo>
                        <a:pt x="70" y="532"/>
                        <a:pt x="70" y="532"/>
                        <a:pt x="70" y="532"/>
                      </a:cubicBezTo>
                      <a:cubicBezTo>
                        <a:pt x="70" y="532"/>
                        <a:pt x="71" y="548"/>
                        <a:pt x="59" y="553"/>
                      </a:cubicBezTo>
                      <a:cubicBezTo>
                        <a:pt x="47" y="558"/>
                        <a:pt x="43" y="537"/>
                        <a:pt x="43" y="537"/>
                      </a:cubicBezTo>
                      <a:cubicBezTo>
                        <a:pt x="36" y="540"/>
                        <a:pt x="36" y="540"/>
                        <a:pt x="36" y="540"/>
                      </a:cubicBezTo>
                      <a:cubicBezTo>
                        <a:pt x="33" y="548"/>
                        <a:pt x="33" y="548"/>
                        <a:pt x="33" y="548"/>
                      </a:cubicBezTo>
                      <a:cubicBezTo>
                        <a:pt x="9" y="565"/>
                        <a:pt x="9" y="565"/>
                        <a:pt x="9" y="565"/>
                      </a:cubicBezTo>
                      <a:cubicBezTo>
                        <a:pt x="9" y="565"/>
                        <a:pt x="21" y="591"/>
                        <a:pt x="13" y="595"/>
                      </a:cubicBezTo>
                      <a:cubicBezTo>
                        <a:pt x="10" y="597"/>
                        <a:pt x="5" y="599"/>
                        <a:pt x="0" y="602"/>
                      </a:cubicBezTo>
                      <a:cubicBezTo>
                        <a:pt x="4" y="605"/>
                        <a:pt x="11" y="612"/>
                        <a:pt x="12" y="617"/>
                      </a:cubicBezTo>
                      <a:cubicBezTo>
                        <a:pt x="35" y="607"/>
                        <a:pt x="35" y="607"/>
                        <a:pt x="35" y="607"/>
                      </a:cubicBezTo>
                      <a:cubicBezTo>
                        <a:pt x="52" y="609"/>
                        <a:pt x="52" y="609"/>
                        <a:pt x="52" y="609"/>
                      </a:cubicBezTo>
                      <a:cubicBezTo>
                        <a:pt x="57" y="607"/>
                        <a:pt x="57" y="607"/>
                        <a:pt x="57" y="607"/>
                      </a:cubicBezTo>
                      <a:cubicBezTo>
                        <a:pt x="65" y="609"/>
                        <a:pt x="65" y="609"/>
                        <a:pt x="65" y="609"/>
                      </a:cubicBezTo>
                      <a:cubicBezTo>
                        <a:pt x="80" y="605"/>
                        <a:pt x="80" y="605"/>
                        <a:pt x="80" y="605"/>
                      </a:cubicBezTo>
                      <a:cubicBezTo>
                        <a:pt x="80" y="605"/>
                        <a:pt x="91" y="612"/>
                        <a:pt x="98" y="611"/>
                      </a:cubicBezTo>
                      <a:cubicBezTo>
                        <a:pt x="105" y="610"/>
                        <a:pt x="123" y="607"/>
                        <a:pt x="123" y="607"/>
                      </a:cubicBezTo>
                      <a:cubicBezTo>
                        <a:pt x="123" y="607"/>
                        <a:pt x="136" y="609"/>
                        <a:pt x="141" y="609"/>
                      </a:cubicBezTo>
                      <a:cubicBezTo>
                        <a:pt x="146" y="609"/>
                        <a:pt x="153" y="609"/>
                        <a:pt x="153" y="609"/>
                      </a:cubicBezTo>
                      <a:cubicBezTo>
                        <a:pt x="163" y="606"/>
                        <a:pt x="163" y="606"/>
                        <a:pt x="163" y="606"/>
                      </a:cubicBezTo>
                      <a:cubicBezTo>
                        <a:pt x="177" y="607"/>
                        <a:pt x="177" y="607"/>
                        <a:pt x="177" y="607"/>
                      </a:cubicBezTo>
                      <a:cubicBezTo>
                        <a:pt x="177" y="607"/>
                        <a:pt x="195" y="599"/>
                        <a:pt x="200" y="608"/>
                      </a:cubicBezTo>
                      <a:cubicBezTo>
                        <a:pt x="205" y="617"/>
                        <a:pt x="211" y="621"/>
                        <a:pt x="211" y="621"/>
                      </a:cubicBezTo>
                      <a:cubicBezTo>
                        <a:pt x="212" y="651"/>
                        <a:pt x="212" y="651"/>
                        <a:pt x="212" y="651"/>
                      </a:cubicBezTo>
                      <a:cubicBezTo>
                        <a:pt x="212" y="651"/>
                        <a:pt x="222" y="658"/>
                        <a:pt x="223" y="664"/>
                      </a:cubicBezTo>
                      <a:cubicBezTo>
                        <a:pt x="224" y="670"/>
                        <a:pt x="222" y="686"/>
                        <a:pt x="222" y="686"/>
                      </a:cubicBezTo>
                      <a:cubicBezTo>
                        <a:pt x="222" y="686"/>
                        <a:pt x="228" y="689"/>
                        <a:pt x="233" y="695"/>
                      </a:cubicBezTo>
                      <a:cubicBezTo>
                        <a:pt x="238" y="701"/>
                        <a:pt x="240" y="709"/>
                        <a:pt x="240" y="709"/>
                      </a:cubicBezTo>
                      <a:cubicBezTo>
                        <a:pt x="246" y="717"/>
                        <a:pt x="246" y="717"/>
                        <a:pt x="246" y="717"/>
                      </a:cubicBezTo>
                      <a:cubicBezTo>
                        <a:pt x="249" y="727"/>
                        <a:pt x="249" y="727"/>
                        <a:pt x="249" y="727"/>
                      </a:cubicBezTo>
                      <a:cubicBezTo>
                        <a:pt x="270" y="726"/>
                        <a:pt x="270" y="726"/>
                        <a:pt x="270" y="726"/>
                      </a:cubicBezTo>
                      <a:cubicBezTo>
                        <a:pt x="277" y="731"/>
                        <a:pt x="277" y="731"/>
                        <a:pt x="277" y="731"/>
                      </a:cubicBezTo>
                      <a:cubicBezTo>
                        <a:pt x="281" y="724"/>
                        <a:pt x="281" y="724"/>
                        <a:pt x="281" y="724"/>
                      </a:cubicBezTo>
                      <a:cubicBezTo>
                        <a:pt x="296" y="724"/>
                        <a:pt x="296" y="724"/>
                        <a:pt x="296" y="724"/>
                      </a:cubicBezTo>
                      <a:cubicBezTo>
                        <a:pt x="303" y="718"/>
                        <a:pt x="303" y="718"/>
                        <a:pt x="303" y="718"/>
                      </a:cubicBezTo>
                      <a:cubicBezTo>
                        <a:pt x="307" y="723"/>
                        <a:pt x="307" y="723"/>
                        <a:pt x="307" y="723"/>
                      </a:cubicBezTo>
                      <a:cubicBezTo>
                        <a:pt x="337" y="720"/>
                        <a:pt x="337" y="720"/>
                        <a:pt x="337" y="720"/>
                      </a:cubicBezTo>
                      <a:cubicBezTo>
                        <a:pt x="337" y="720"/>
                        <a:pt x="336" y="706"/>
                        <a:pt x="339" y="702"/>
                      </a:cubicBezTo>
                      <a:cubicBezTo>
                        <a:pt x="342" y="698"/>
                        <a:pt x="349" y="698"/>
                        <a:pt x="349" y="693"/>
                      </a:cubicBezTo>
                      <a:cubicBezTo>
                        <a:pt x="349" y="688"/>
                        <a:pt x="338" y="676"/>
                        <a:pt x="343" y="672"/>
                      </a:cubicBezTo>
                      <a:cubicBezTo>
                        <a:pt x="348" y="668"/>
                        <a:pt x="377" y="671"/>
                        <a:pt x="377" y="671"/>
                      </a:cubicBezTo>
                      <a:cubicBezTo>
                        <a:pt x="377" y="671"/>
                        <a:pt x="377" y="663"/>
                        <a:pt x="386" y="666"/>
                      </a:cubicBezTo>
                      <a:cubicBezTo>
                        <a:pt x="395" y="669"/>
                        <a:pt x="391" y="678"/>
                        <a:pt x="391" y="678"/>
                      </a:cubicBezTo>
                      <a:cubicBezTo>
                        <a:pt x="392" y="686"/>
                        <a:pt x="392" y="686"/>
                        <a:pt x="392" y="686"/>
                      </a:cubicBezTo>
                      <a:cubicBezTo>
                        <a:pt x="452" y="685"/>
                        <a:pt x="452" y="685"/>
                        <a:pt x="452" y="685"/>
                      </a:cubicBezTo>
                      <a:cubicBezTo>
                        <a:pt x="452" y="703"/>
                        <a:pt x="452" y="703"/>
                        <a:pt x="452" y="703"/>
                      </a:cubicBezTo>
                      <a:cubicBezTo>
                        <a:pt x="445" y="713"/>
                        <a:pt x="445" y="713"/>
                        <a:pt x="445" y="713"/>
                      </a:cubicBezTo>
                      <a:cubicBezTo>
                        <a:pt x="448" y="727"/>
                        <a:pt x="448" y="727"/>
                        <a:pt x="448" y="727"/>
                      </a:cubicBezTo>
                      <a:cubicBezTo>
                        <a:pt x="448" y="727"/>
                        <a:pt x="461" y="740"/>
                        <a:pt x="461" y="747"/>
                      </a:cubicBezTo>
                      <a:cubicBezTo>
                        <a:pt x="461" y="754"/>
                        <a:pt x="453" y="763"/>
                        <a:pt x="453" y="763"/>
                      </a:cubicBezTo>
                      <a:cubicBezTo>
                        <a:pt x="456" y="779"/>
                        <a:pt x="456" y="779"/>
                        <a:pt x="456" y="779"/>
                      </a:cubicBezTo>
                      <a:cubicBezTo>
                        <a:pt x="456" y="779"/>
                        <a:pt x="451" y="791"/>
                        <a:pt x="451" y="799"/>
                      </a:cubicBezTo>
                      <a:cubicBezTo>
                        <a:pt x="451" y="807"/>
                        <a:pt x="457" y="815"/>
                        <a:pt x="464" y="822"/>
                      </a:cubicBezTo>
                      <a:cubicBezTo>
                        <a:pt x="471" y="829"/>
                        <a:pt x="475" y="847"/>
                        <a:pt x="475" y="847"/>
                      </a:cubicBezTo>
                      <a:cubicBezTo>
                        <a:pt x="475" y="847"/>
                        <a:pt x="474" y="862"/>
                        <a:pt x="471" y="869"/>
                      </a:cubicBezTo>
                      <a:cubicBezTo>
                        <a:pt x="468" y="876"/>
                        <a:pt x="465" y="888"/>
                        <a:pt x="468" y="892"/>
                      </a:cubicBezTo>
                      <a:cubicBezTo>
                        <a:pt x="471" y="896"/>
                        <a:pt x="479" y="898"/>
                        <a:pt x="479" y="898"/>
                      </a:cubicBezTo>
                      <a:cubicBezTo>
                        <a:pt x="485" y="886"/>
                        <a:pt x="485" y="886"/>
                        <a:pt x="485" y="886"/>
                      </a:cubicBezTo>
                      <a:cubicBezTo>
                        <a:pt x="503" y="890"/>
                        <a:pt x="503" y="890"/>
                        <a:pt x="503" y="890"/>
                      </a:cubicBezTo>
                      <a:cubicBezTo>
                        <a:pt x="519" y="885"/>
                        <a:pt x="519" y="885"/>
                        <a:pt x="519" y="885"/>
                      </a:cubicBezTo>
                      <a:cubicBezTo>
                        <a:pt x="519" y="885"/>
                        <a:pt x="519" y="880"/>
                        <a:pt x="526" y="880"/>
                      </a:cubicBezTo>
                      <a:cubicBezTo>
                        <a:pt x="533" y="880"/>
                        <a:pt x="537" y="887"/>
                        <a:pt x="537" y="887"/>
                      </a:cubicBezTo>
                      <a:cubicBezTo>
                        <a:pt x="551" y="885"/>
                        <a:pt x="551" y="885"/>
                        <a:pt x="551" y="885"/>
                      </a:cubicBezTo>
                      <a:cubicBezTo>
                        <a:pt x="556" y="875"/>
                        <a:pt x="556" y="875"/>
                        <a:pt x="556" y="875"/>
                      </a:cubicBezTo>
                      <a:cubicBezTo>
                        <a:pt x="561" y="884"/>
                        <a:pt x="561" y="884"/>
                        <a:pt x="561" y="884"/>
                      </a:cubicBezTo>
                      <a:cubicBezTo>
                        <a:pt x="572" y="882"/>
                        <a:pt x="572" y="882"/>
                        <a:pt x="572" y="882"/>
                      </a:cubicBezTo>
                      <a:cubicBezTo>
                        <a:pt x="572" y="882"/>
                        <a:pt x="563" y="907"/>
                        <a:pt x="580" y="908"/>
                      </a:cubicBezTo>
                      <a:cubicBezTo>
                        <a:pt x="597" y="909"/>
                        <a:pt x="583" y="899"/>
                        <a:pt x="583" y="899"/>
                      </a:cubicBezTo>
                      <a:cubicBezTo>
                        <a:pt x="614" y="893"/>
                        <a:pt x="614" y="893"/>
                        <a:pt x="614" y="893"/>
                      </a:cubicBezTo>
                      <a:cubicBezTo>
                        <a:pt x="614" y="893"/>
                        <a:pt x="610" y="912"/>
                        <a:pt x="620" y="919"/>
                      </a:cubicBezTo>
                      <a:cubicBezTo>
                        <a:pt x="630" y="926"/>
                        <a:pt x="682" y="939"/>
                        <a:pt x="687" y="935"/>
                      </a:cubicBezTo>
                      <a:cubicBezTo>
                        <a:pt x="692" y="931"/>
                        <a:pt x="689" y="905"/>
                        <a:pt x="701" y="910"/>
                      </a:cubicBezTo>
                      <a:cubicBezTo>
                        <a:pt x="713" y="915"/>
                        <a:pt x="704" y="920"/>
                        <a:pt x="708" y="925"/>
                      </a:cubicBezTo>
                      <a:cubicBezTo>
                        <a:pt x="712" y="930"/>
                        <a:pt x="722" y="930"/>
                        <a:pt x="722" y="934"/>
                      </a:cubicBezTo>
                      <a:cubicBezTo>
                        <a:pt x="722" y="938"/>
                        <a:pt x="714" y="947"/>
                        <a:pt x="722" y="948"/>
                      </a:cubicBezTo>
                      <a:cubicBezTo>
                        <a:pt x="730" y="949"/>
                        <a:pt x="732" y="943"/>
                        <a:pt x="737" y="947"/>
                      </a:cubicBezTo>
                      <a:cubicBezTo>
                        <a:pt x="742" y="951"/>
                        <a:pt x="741" y="959"/>
                        <a:pt x="745" y="959"/>
                      </a:cubicBezTo>
                      <a:cubicBezTo>
                        <a:pt x="749" y="959"/>
                        <a:pt x="754" y="951"/>
                        <a:pt x="760" y="959"/>
                      </a:cubicBezTo>
                      <a:cubicBezTo>
                        <a:pt x="766" y="967"/>
                        <a:pt x="768" y="978"/>
                        <a:pt x="768" y="978"/>
                      </a:cubicBezTo>
                      <a:cubicBezTo>
                        <a:pt x="768" y="978"/>
                        <a:pt x="774" y="975"/>
                        <a:pt x="779" y="982"/>
                      </a:cubicBezTo>
                      <a:cubicBezTo>
                        <a:pt x="784" y="989"/>
                        <a:pt x="787" y="1012"/>
                        <a:pt x="787" y="1012"/>
                      </a:cubicBezTo>
                      <a:cubicBezTo>
                        <a:pt x="799" y="1012"/>
                        <a:pt x="799" y="1012"/>
                        <a:pt x="799" y="1012"/>
                      </a:cubicBezTo>
                      <a:cubicBezTo>
                        <a:pt x="814" y="1002"/>
                        <a:pt x="814" y="1002"/>
                        <a:pt x="814" y="1002"/>
                      </a:cubicBezTo>
                      <a:cubicBezTo>
                        <a:pt x="814" y="1002"/>
                        <a:pt x="816" y="1016"/>
                        <a:pt x="822" y="1013"/>
                      </a:cubicBezTo>
                      <a:cubicBezTo>
                        <a:pt x="828" y="1010"/>
                        <a:pt x="827" y="945"/>
                        <a:pt x="827" y="945"/>
                      </a:cubicBezTo>
                      <a:cubicBezTo>
                        <a:pt x="819" y="945"/>
                        <a:pt x="819" y="945"/>
                        <a:pt x="819" y="945"/>
                      </a:cubicBezTo>
                      <a:cubicBezTo>
                        <a:pt x="813" y="948"/>
                        <a:pt x="813" y="948"/>
                        <a:pt x="813" y="948"/>
                      </a:cubicBezTo>
                      <a:cubicBezTo>
                        <a:pt x="813" y="948"/>
                        <a:pt x="816" y="961"/>
                        <a:pt x="806" y="961"/>
                      </a:cubicBezTo>
                      <a:cubicBezTo>
                        <a:pt x="796" y="961"/>
                        <a:pt x="784" y="947"/>
                        <a:pt x="778" y="940"/>
                      </a:cubicBezTo>
                      <a:cubicBezTo>
                        <a:pt x="772" y="933"/>
                        <a:pt x="761" y="938"/>
                        <a:pt x="759" y="920"/>
                      </a:cubicBezTo>
                      <a:cubicBezTo>
                        <a:pt x="757" y="902"/>
                        <a:pt x="779" y="880"/>
                        <a:pt x="779" y="866"/>
                      </a:cubicBezTo>
                      <a:cubicBezTo>
                        <a:pt x="779" y="852"/>
                        <a:pt x="775" y="818"/>
                        <a:pt x="775" y="818"/>
                      </a:cubicBezTo>
                      <a:cubicBezTo>
                        <a:pt x="775" y="818"/>
                        <a:pt x="773" y="799"/>
                        <a:pt x="770" y="797"/>
                      </a:cubicBezTo>
                      <a:cubicBezTo>
                        <a:pt x="767" y="795"/>
                        <a:pt x="761" y="788"/>
                        <a:pt x="761" y="788"/>
                      </a:cubicBezTo>
                      <a:cubicBezTo>
                        <a:pt x="761" y="788"/>
                        <a:pt x="788" y="773"/>
                        <a:pt x="788" y="766"/>
                      </a:cubicBezTo>
                      <a:cubicBezTo>
                        <a:pt x="788" y="759"/>
                        <a:pt x="788" y="746"/>
                        <a:pt x="788" y="746"/>
                      </a:cubicBezTo>
                      <a:cubicBezTo>
                        <a:pt x="788" y="746"/>
                        <a:pt x="825" y="741"/>
                        <a:pt x="838" y="738"/>
                      </a:cubicBezTo>
                      <a:cubicBezTo>
                        <a:pt x="842" y="737"/>
                        <a:pt x="849" y="735"/>
                        <a:pt x="857" y="731"/>
                      </a:cubicBezTo>
                      <a:cubicBezTo>
                        <a:pt x="860" y="728"/>
                        <a:pt x="862" y="726"/>
                        <a:pt x="862" y="726"/>
                      </a:cubicBezTo>
                      <a:cubicBezTo>
                        <a:pt x="862" y="726"/>
                        <a:pt x="855" y="714"/>
                        <a:pt x="850" y="710"/>
                      </a:cubicBezTo>
                      <a:cubicBezTo>
                        <a:pt x="846" y="706"/>
                        <a:pt x="849" y="688"/>
                        <a:pt x="849" y="681"/>
                      </a:cubicBezTo>
                      <a:cubicBezTo>
                        <a:pt x="849" y="674"/>
                        <a:pt x="837" y="678"/>
                        <a:pt x="834" y="677"/>
                      </a:cubicBezTo>
                      <a:cubicBezTo>
                        <a:pt x="831" y="676"/>
                        <a:pt x="828" y="666"/>
                        <a:pt x="828" y="658"/>
                      </a:cubicBezTo>
                      <a:cubicBezTo>
                        <a:pt x="828" y="650"/>
                        <a:pt x="819" y="649"/>
                        <a:pt x="812" y="642"/>
                      </a:cubicBezTo>
                      <a:cubicBezTo>
                        <a:pt x="805" y="635"/>
                        <a:pt x="803" y="618"/>
                        <a:pt x="804" y="612"/>
                      </a:cubicBezTo>
                      <a:cubicBezTo>
                        <a:pt x="805" y="606"/>
                        <a:pt x="810" y="596"/>
                        <a:pt x="810" y="589"/>
                      </a:cubicBezTo>
                      <a:cubicBezTo>
                        <a:pt x="810" y="582"/>
                        <a:pt x="800" y="582"/>
                        <a:pt x="796" y="572"/>
                      </a:cubicBezTo>
                      <a:cubicBezTo>
                        <a:pt x="792" y="562"/>
                        <a:pt x="796" y="550"/>
                        <a:pt x="797" y="538"/>
                      </a:cubicBezTo>
                      <a:cubicBezTo>
                        <a:pt x="798" y="526"/>
                        <a:pt x="799" y="515"/>
                        <a:pt x="802" y="502"/>
                      </a:cubicBezTo>
                      <a:cubicBezTo>
                        <a:pt x="804" y="494"/>
                        <a:pt x="810" y="495"/>
                        <a:pt x="814" y="498"/>
                      </a:cubicBezTo>
                      <a:cubicBezTo>
                        <a:pt x="814" y="496"/>
                        <a:pt x="814" y="494"/>
                        <a:pt x="814" y="494"/>
                      </a:cubicBezTo>
                      <a:cubicBezTo>
                        <a:pt x="814" y="494"/>
                        <a:pt x="816" y="480"/>
                        <a:pt x="816" y="471"/>
                      </a:cubicBezTo>
                      <a:cubicBezTo>
                        <a:pt x="816" y="462"/>
                        <a:pt x="801" y="454"/>
                        <a:pt x="801" y="454"/>
                      </a:cubicBezTo>
                      <a:cubicBezTo>
                        <a:pt x="795" y="434"/>
                        <a:pt x="795" y="434"/>
                        <a:pt x="795" y="434"/>
                      </a:cubicBezTo>
                      <a:cubicBezTo>
                        <a:pt x="795" y="434"/>
                        <a:pt x="795" y="434"/>
                        <a:pt x="795" y="434"/>
                      </a:cubicBezTo>
                      <a:cubicBezTo>
                        <a:pt x="791" y="433"/>
                        <a:pt x="787" y="432"/>
                        <a:pt x="786" y="428"/>
                      </a:cubicBezTo>
                      <a:cubicBezTo>
                        <a:pt x="782" y="420"/>
                        <a:pt x="804" y="410"/>
                        <a:pt x="806" y="406"/>
                      </a:cubicBezTo>
                      <a:cubicBezTo>
                        <a:pt x="807" y="403"/>
                        <a:pt x="797" y="392"/>
                        <a:pt x="799" y="384"/>
                      </a:cubicBezTo>
                      <a:cubicBezTo>
                        <a:pt x="800" y="376"/>
                        <a:pt x="824" y="365"/>
                        <a:pt x="824" y="365"/>
                      </a:cubicBezTo>
                      <a:lnTo>
                        <a:pt x="828" y="31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57" name="Côte d'lvoire">
                  <a:extLst>
                    <a:ext uri="{FF2B5EF4-FFF2-40B4-BE49-F238E27FC236}">
                      <a16:creationId xmlns:a16="http://schemas.microsoft.com/office/drawing/2014/main" id="{E5279AC4-F3AE-A514-E72C-FEFC6A2D4C8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77294" y="3290122"/>
                  <a:ext cx="484537" cy="454982"/>
                </a:xfrm>
                <a:custGeom>
                  <a:avLst/>
                  <a:gdLst>
                    <a:gd name="T0" fmla="*/ 266 w 291"/>
                    <a:gd name="T1" fmla="*/ 269 h 343"/>
                    <a:gd name="T2" fmla="*/ 253 w 291"/>
                    <a:gd name="T3" fmla="*/ 219 h 343"/>
                    <a:gd name="T4" fmla="*/ 273 w 291"/>
                    <a:gd name="T5" fmla="*/ 187 h 343"/>
                    <a:gd name="T6" fmla="*/ 274 w 291"/>
                    <a:gd name="T7" fmla="*/ 157 h 343"/>
                    <a:gd name="T8" fmla="*/ 291 w 291"/>
                    <a:gd name="T9" fmla="*/ 130 h 343"/>
                    <a:gd name="T10" fmla="*/ 279 w 291"/>
                    <a:gd name="T11" fmla="*/ 84 h 343"/>
                    <a:gd name="T12" fmla="*/ 287 w 291"/>
                    <a:gd name="T13" fmla="*/ 83 h 343"/>
                    <a:gd name="T14" fmla="*/ 283 w 291"/>
                    <a:gd name="T15" fmla="*/ 64 h 343"/>
                    <a:gd name="T16" fmla="*/ 271 w 291"/>
                    <a:gd name="T17" fmla="*/ 66 h 343"/>
                    <a:gd name="T18" fmla="*/ 247 w 291"/>
                    <a:gd name="T19" fmla="*/ 41 h 343"/>
                    <a:gd name="T20" fmla="*/ 206 w 291"/>
                    <a:gd name="T21" fmla="*/ 59 h 343"/>
                    <a:gd name="T22" fmla="*/ 186 w 291"/>
                    <a:gd name="T23" fmla="*/ 54 h 343"/>
                    <a:gd name="T24" fmla="*/ 166 w 291"/>
                    <a:gd name="T25" fmla="*/ 22 h 343"/>
                    <a:gd name="T26" fmla="*/ 153 w 291"/>
                    <a:gd name="T27" fmla="*/ 26 h 343"/>
                    <a:gd name="T28" fmla="*/ 150 w 291"/>
                    <a:gd name="T29" fmla="*/ 12 h 343"/>
                    <a:gd name="T30" fmla="*/ 131 w 291"/>
                    <a:gd name="T31" fmla="*/ 26 h 343"/>
                    <a:gd name="T32" fmla="*/ 116 w 291"/>
                    <a:gd name="T33" fmla="*/ 24 h 343"/>
                    <a:gd name="T34" fmla="*/ 116 w 291"/>
                    <a:gd name="T35" fmla="*/ 0 h 343"/>
                    <a:gd name="T36" fmla="*/ 108 w 291"/>
                    <a:gd name="T37" fmla="*/ 13 h 343"/>
                    <a:gd name="T38" fmla="*/ 99 w 291"/>
                    <a:gd name="T39" fmla="*/ 1 h 343"/>
                    <a:gd name="T40" fmla="*/ 95 w 291"/>
                    <a:gd name="T41" fmla="*/ 19 h 343"/>
                    <a:gd name="T42" fmla="*/ 85 w 291"/>
                    <a:gd name="T43" fmla="*/ 19 h 343"/>
                    <a:gd name="T44" fmla="*/ 81 w 291"/>
                    <a:gd name="T45" fmla="*/ 31 h 343"/>
                    <a:gd name="T46" fmla="*/ 55 w 291"/>
                    <a:gd name="T47" fmla="*/ 15 h 343"/>
                    <a:gd name="T48" fmla="*/ 42 w 291"/>
                    <a:gd name="T49" fmla="*/ 30 h 343"/>
                    <a:gd name="T50" fmla="*/ 36 w 291"/>
                    <a:gd name="T51" fmla="*/ 27 h 343"/>
                    <a:gd name="T52" fmla="*/ 23 w 291"/>
                    <a:gd name="T53" fmla="*/ 41 h 343"/>
                    <a:gd name="T54" fmla="*/ 28 w 291"/>
                    <a:gd name="T55" fmla="*/ 68 h 343"/>
                    <a:gd name="T56" fmla="*/ 40 w 291"/>
                    <a:gd name="T57" fmla="*/ 69 h 343"/>
                    <a:gd name="T58" fmla="*/ 33 w 291"/>
                    <a:gd name="T59" fmla="*/ 82 h 343"/>
                    <a:gd name="T60" fmla="*/ 43 w 291"/>
                    <a:gd name="T61" fmla="*/ 86 h 343"/>
                    <a:gd name="T62" fmla="*/ 34 w 291"/>
                    <a:gd name="T63" fmla="*/ 103 h 343"/>
                    <a:gd name="T64" fmla="*/ 50 w 291"/>
                    <a:gd name="T65" fmla="*/ 113 h 343"/>
                    <a:gd name="T66" fmla="*/ 49 w 291"/>
                    <a:gd name="T67" fmla="*/ 126 h 343"/>
                    <a:gd name="T68" fmla="*/ 19 w 291"/>
                    <a:gd name="T69" fmla="*/ 122 h 343"/>
                    <a:gd name="T70" fmla="*/ 37 w 291"/>
                    <a:gd name="T71" fmla="*/ 145 h 343"/>
                    <a:gd name="T72" fmla="*/ 25 w 291"/>
                    <a:gd name="T73" fmla="*/ 148 h 343"/>
                    <a:gd name="T74" fmla="*/ 25 w 291"/>
                    <a:gd name="T75" fmla="*/ 169 h 343"/>
                    <a:gd name="T76" fmla="*/ 2 w 291"/>
                    <a:gd name="T77" fmla="*/ 162 h 343"/>
                    <a:gd name="T78" fmla="*/ 15 w 291"/>
                    <a:gd name="T79" fmla="*/ 196 h 343"/>
                    <a:gd name="T80" fmla="*/ 1 w 291"/>
                    <a:gd name="T81" fmla="*/ 228 h 343"/>
                    <a:gd name="T82" fmla="*/ 14 w 291"/>
                    <a:gd name="T83" fmla="*/ 230 h 343"/>
                    <a:gd name="T84" fmla="*/ 14 w 291"/>
                    <a:gd name="T85" fmla="*/ 240 h 343"/>
                    <a:gd name="T86" fmla="*/ 38 w 291"/>
                    <a:gd name="T87" fmla="*/ 236 h 343"/>
                    <a:gd name="T88" fmla="*/ 39 w 291"/>
                    <a:gd name="T89" fmla="*/ 253 h 343"/>
                    <a:gd name="T90" fmla="*/ 60 w 291"/>
                    <a:gd name="T91" fmla="*/ 282 h 343"/>
                    <a:gd name="T92" fmla="*/ 50 w 291"/>
                    <a:gd name="T93" fmla="*/ 316 h 343"/>
                    <a:gd name="T94" fmla="*/ 51 w 291"/>
                    <a:gd name="T95" fmla="*/ 343 h 343"/>
                    <a:gd name="T96" fmla="*/ 66 w 291"/>
                    <a:gd name="T97" fmla="*/ 331 h 343"/>
                    <a:gd name="T98" fmla="*/ 75 w 291"/>
                    <a:gd name="T99" fmla="*/ 331 h 343"/>
                    <a:gd name="T100" fmla="*/ 85 w 291"/>
                    <a:gd name="T101" fmla="*/ 323 h 343"/>
                    <a:gd name="T102" fmla="*/ 151 w 291"/>
                    <a:gd name="T103" fmla="*/ 300 h 343"/>
                    <a:gd name="T104" fmla="*/ 178 w 291"/>
                    <a:gd name="T105" fmla="*/ 296 h 343"/>
                    <a:gd name="T106" fmla="*/ 218 w 291"/>
                    <a:gd name="T107" fmla="*/ 290 h 343"/>
                    <a:gd name="T108" fmla="*/ 236 w 291"/>
                    <a:gd name="T109" fmla="*/ 299 h 343"/>
                    <a:gd name="T110" fmla="*/ 256 w 291"/>
                    <a:gd name="T111" fmla="*/ 289 h 343"/>
                    <a:gd name="T112" fmla="*/ 273 w 291"/>
                    <a:gd name="T113" fmla="*/ 306 h 343"/>
                    <a:gd name="T114" fmla="*/ 285 w 291"/>
                    <a:gd name="T115" fmla="*/ 310 h 343"/>
                    <a:gd name="T116" fmla="*/ 284 w 291"/>
                    <a:gd name="T117" fmla="*/ 275 h 343"/>
                    <a:gd name="T118" fmla="*/ 266 w 291"/>
                    <a:gd name="T119" fmla="*/ 269 h 3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91" h="343">
                      <a:moveTo>
                        <a:pt x="266" y="269"/>
                      </a:moveTo>
                      <a:cubicBezTo>
                        <a:pt x="266" y="269"/>
                        <a:pt x="253" y="233"/>
                        <a:pt x="253" y="219"/>
                      </a:cubicBezTo>
                      <a:cubicBezTo>
                        <a:pt x="253" y="205"/>
                        <a:pt x="273" y="187"/>
                        <a:pt x="273" y="187"/>
                      </a:cubicBezTo>
                      <a:cubicBezTo>
                        <a:pt x="273" y="187"/>
                        <a:pt x="274" y="165"/>
                        <a:pt x="274" y="157"/>
                      </a:cubicBezTo>
                      <a:cubicBezTo>
                        <a:pt x="274" y="149"/>
                        <a:pt x="291" y="142"/>
                        <a:pt x="291" y="130"/>
                      </a:cubicBezTo>
                      <a:cubicBezTo>
                        <a:pt x="291" y="118"/>
                        <a:pt x="279" y="84"/>
                        <a:pt x="279" y="84"/>
                      </a:cubicBezTo>
                      <a:cubicBezTo>
                        <a:pt x="287" y="83"/>
                        <a:pt x="287" y="83"/>
                        <a:pt x="287" y="83"/>
                      </a:cubicBezTo>
                      <a:cubicBezTo>
                        <a:pt x="283" y="64"/>
                        <a:pt x="283" y="64"/>
                        <a:pt x="283" y="64"/>
                      </a:cubicBezTo>
                      <a:cubicBezTo>
                        <a:pt x="271" y="66"/>
                        <a:pt x="271" y="66"/>
                        <a:pt x="271" y="66"/>
                      </a:cubicBezTo>
                      <a:cubicBezTo>
                        <a:pt x="271" y="66"/>
                        <a:pt x="277" y="45"/>
                        <a:pt x="247" y="41"/>
                      </a:cubicBezTo>
                      <a:cubicBezTo>
                        <a:pt x="217" y="37"/>
                        <a:pt x="206" y="59"/>
                        <a:pt x="206" y="59"/>
                      </a:cubicBezTo>
                      <a:cubicBezTo>
                        <a:pt x="206" y="59"/>
                        <a:pt x="196" y="55"/>
                        <a:pt x="186" y="54"/>
                      </a:cubicBezTo>
                      <a:cubicBezTo>
                        <a:pt x="176" y="53"/>
                        <a:pt x="166" y="22"/>
                        <a:pt x="166" y="22"/>
                      </a:cubicBezTo>
                      <a:cubicBezTo>
                        <a:pt x="153" y="26"/>
                        <a:pt x="153" y="26"/>
                        <a:pt x="153" y="26"/>
                      </a:cubicBezTo>
                      <a:cubicBezTo>
                        <a:pt x="150" y="12"/>
                        <a:pt x="150" y="12"/>
                        <a:pt x="150" y="12"/>
                      </a:cubicBezTo>
                      <a:cubicBezTo>
                        <a:pt x="135" y="12"/>
                        <a:pt x="131" y="26"/>
                        <a:pt x="131" y="26"/>
                      </a:cubicBezTo>
                      <a:cubicBezTo>
                        <a:pt x="116" y="24"/>
                        <a:pt x="116" y="24"/>
                        <a:pt x="116" y="24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08" y="13"/>
                        <a:pt x="108" y="13"/>
                        <a:pt x="108" y="13"/>
                      </a:cubicBezTo>
                      <a:cubicBezTo>
                        <a:pt x="99" y="1"/>
                        <a:pt x="99" y="1"/>
                        <a:pt x="99" y="1"/>
                      </a:cubicBezTo>
                      <a:cubicBezTo>
                        <a:pt x="95" y="19"/>
                        <a:pt x="95" y="19"/>
                        <a:pt x="95" y="19"/>
                      </a:cubicBezTo>
                      <a:cubicBezTo>
                        <a:pt x="85" y="19"/>
                        <a:pt x="85" y="19"/>
                        <a:pt x="85" y="19"/>
                      </a:cubicBezTo>
                      <a:cubicBezTo>
                        <a:pt x="81" y="31"/>
                        <a:pt x="81" y="31"/>
                        <a:pt x="81" y="31"/>
                      </a:cubicBezTo>
                      <a:cubicBezTo>
                        <a:pt x="81" y="31"/>
                        <a:pt x="71" y="17"/>
                        <a:pt x="55" y="15"/>
                      </a:cubicBezTo>
                      <a:cubicBezTo>
                        <a:pt x="39" y="13"/>
                        <a:pt x="42" y="30"/>
                        <a:pt x="42" y="30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23" y="41"/>
                        <a:pt x="23" y="41"/>
                        <a:pt x="23" y="41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40" y="69"/>
                        <a:pt x="40" y="69"/>
                        <a:pt x="40" y="69"/>
                      </a:cubicBezTo>
                      <a:cubicBezTo>
                        <a:pt x="33" y="82"/>
                        <a:pt x="33" y="82"/>
                        <a:pt x="33" y="82"/>
                      </a:cubicBezTo>
                      <a:cubicBezTo>
                        <a:pt x="43" y="86"/>
                        <a:pt x="43" y="86"/>
                        <a:pt x="43" y="86"/>
                      </a:cubicBezTo>
                      <a:cubicBezTo>
                        <a:pt x="43" y="86"/>
                        <a:pt x="33" y="95"/>
                        <a:pt x="34" y="103"/>
                      </a:cubicBezTo>
                      <a:cubicBezTo>
                        <a:pt x="35" y="111"/>
                        <a:pt x="50" y="106"/>
                        <a:pt x="50" y="113"/>
                      </a:cubicBezTo>
                      <a:cubicBezTo>
                        <a:pt x="50" y="120"/>
                        <a:pt x="49" y="126"/>
                        <a:pt x="49" y="126"/>
                      </a:cubicBezTo>
                      <a:cubicBezTo>
                        <a:pt x="49" y="126"/>
                        <a:pt x="19" y="112"/>
                        <a:pt x="19" y="122"/>
                      </a:cubicBezTo>
                      <a:cubicBezTo>
                        <a:pt x="19" y="132"/>
                        <a:pt x="37" y="145"/>
                        <a:pt x="37" y="145"/>
                      </a:cubicBezTo>
                      <a:cubicBezTo>
                        <a:pt x="25" y="148"/>
                        <a:pt x="25" y="148"/>
                        <a:pt x="25" y="148"/>
                      </a:cubicBezTo>
                      <a:cubicBezTo>
                        <a:pt x="25" y="148"/>
                        <a:pt x="32" y="166"/>
                        <a:pt x="25" y="169"/>
                      </a:cubicBezTo>
                      <a:cubicBezTo>
                        <a:pt x="19" y="171"/>
                        <a:pt x="9" y="164"/>
                        <a:pt x="2" y="162"/>
                      </a:cubicBezTo>
                      <a:cubicBezTo>
                        <a:pt x="7" y="172"/>
                        <a:pt x="15" y="186"/>
                        <a:pt x="15" y="196"/>
                      </a:cubicBezTo>
                      <a:cubicBezTo>
                        <a:pt x="15" y="211"/>
                        <a:pt x="0" y="225"/>
                        <a:pt x="1" y="228"/>
                      </a:cubicBezTo>
                      <a:cubicBezTo>
                        <a:pt x="2" y="231"/>
                        <a:pt x="14" y="230"/>
                        <a:pt x="14" y="230"/>
                      </a:cubicBezTo>
                      <a:cubicBezTo>
                        <a:pt x="14" y="240"/>
                        <a:pt x="14" y="240"/>
                        <a:pt x="14" y="240"/>
                      </a:cubicBezTo>
                      <a:cubicBezTo>
                        <a:pt x="38" y="236"/>
                        <a:pt x="38" y="236"/>
                        <a:pt x="38" y="236"/>
                      </a:cubicBezTo>
                      <a:cubicBezTo>
                        <a:pt x="39" y="253"/>
                        <a:pt x="39" y="253"/>
                        <a:pt x="39" y="253"/>
                      </a:cubicBezTo>
                      <a:cubicBezTo>
                        <a:pt x="39" y="253"/>
                        <a:pt x="60" y="269"/>
                        <a:pt x="60" y="282"/>
                      </a:cubicBezTo>
                      <a:cubicBezTo>
                        <a:pt x="60" y="295"/>
                        <a:pt x="50" y="316"/>
                        <a:pt x="50" y="316"/>
                      </a:cubicBezTo>
                      <a:cubicBezTo>
                        <a:pt x="51" y="343"/>
                        <a:pt x="51" y="343"/>
                        <a:pt x="51" y="343"/>
                      </a:cubicBezTo>
                      <a:cubicBezTo>
                        <a:pt x="63" y="341"/>
                        <a:pt x="66" y="331"/>
                        <a:pt x="66" y="331"/>
                      </a:cubicBezTo>
                      <a:cubicBezTo>
                        <a:pt x="75" y="331"/>
                        <a:pt x="75" y="331"/>
                        <a:pt x="75" y="331"/>
                      </a:cubicBezTo>
                      <a:cubicBezTo>
                        <a:pt x="85" y="323"/>
                        <a:pt x="85" y="323"/>
                        <a:pt x="85" y="323"/>
                      </a:cubicBezTo>
                      <a:cubicBezTo>
                        <a:pt x="85" y="323"/>
                        <a:pt x="131" y="298"/>
                        <a:pt x="151" y="300"/>
                      </a:cubicBezTo>
                      <a:cubicBezTo>
                        <a:pt x="171" y="302"/>
                        <a:pt x="178" y="296"/>
                        <a:pt x="178" y="296"/>
                      </a:cubicBezTo>
                      <a:cubicBezTo>
                        <a:pt x="178" y="296"/>
                        <a:pt x="209" y="285"/>
                        <a:pt x="218" y="290"/>
                      </a:cubicBezTo>
                      <a:cubicBezTo>
                        <a:pt x="227" y="295"/>
                        <a:pt x="229" y="300"/>
                        <a:pt x="236" y="299"/>
                      </a:cubicBezTo>
                      <a:cubicBezTo>
                        <a:pt x="243" y="298"/>
                        <a:pt x="256" y="289"/>
                        <a:pt x="256" y="289"/>
                      </a:cubicBezTo>
                      <a:cubicBezTo>
                        <a:pt x="256" y="289"/>
                        <a:pt x="257" y="299"/>
                        <a:pt x="273" y="306"/>
                      </a:cubicBezTo>
                      <a:cubicBezTo>
                        <a:pt x="277" y="308"/>
                        <a:pt x="281" y="309"/>
                        <a:pt x="285" y="310"/>
                      </a:cubicBezTo>
                      <a:cubicBezTo>
                        <a:pt x="284" y="275"/>
                        <a:pt x="284" y="275"/>
                        <a:pt x="284" y="275"/>
                      </a:cubicBezTo>
                      <a:lnTo>
                        <a:pt x="266" y="26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58" name="Comoros">
                  <a:extLst>
                    <a:ext uri="{FF2B5EF4-FFF2-40B4-BE49-F238E27FC236}">
                      <a16:creationId xmlns:a16="http://schemas.microsoft.com/office/drawing/2014/main" id="{9A3CBEFD-D56D-0875-097D-4918845160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8123244" y="4857160"/>
                  <a:ext cx="81673" cy="77159"/>
                </a:xfrm>
                <a:custGeom>
                  <a:avLst/>
                  <a:gdLst/>
                  <a:ahLst/>
                  <a:cxnLst>
                    <a:cxn ang="0">
                      <a:pos x="5" y="9"/>
                    </a:cxn>
                    <a:cxn ang="0">
                      <a:pos x="5" y="4"/>
                    </a:cxn>
                    <a:cxn ang="0">
                      <a:pos x="5" y="0"/>
                    </a:cxn>
                    <a:cxn ang="0">
                      <a:pos x="0" y="4"/>
                    </a:cxn>
                    <a:cxn ang="0">
                      <a:pos x="0" y="9"/>
                    </a:cxn>
                    <a:cxn ang="0">
                      <a:pos x="5" y="9"/>
                    </a:cxn>
                    <a:cxn ang="0">
                      <a:pos x="18" y="13"/>
                    </a:cxn>
                    <a:cxn ang="0">
                      <a:pos x="18" y="17"/>
                    </a:cxn>
                    <a:cxn ang="0">
                      <a:pos x="18" y="13"/>
                    </a:cxn>
                    <a:cxn ang="0">
                      <a:pos x="18" y="13"/>
                    </a:cxn>
                  </a:cxnLst>
                  <a:rect l="0" t="0" r="r" b="b"/>
                  <a:pathLst>
                    <a:path w="18" h="17">
                      <a:moveTo>
                        <a:pt x="5" y="9"/>
                      </a:moveTo>
                      <a:lnTo>
                        <a:pt x="5" y="4"/>
                      </a:lnTo>
                      <a:lnTo>
                        <a:pt x="5" y="0"/>
                      </a:lnTo>
                      <a:lnTo>
                        <a:pt x="0" y="4"/>
                      </a:lnTo>
                      <a:lnTo>
                        <a:pt x="0" y="9"/>
                      </a:lnTo>
                      <a:lnTo>
                        <a:pt x="5" y="9"/>
                      </a:lnTo>
                      <a:close/>
                      <a:moveTo>
                        <a:pt x="18" y="13"/>
                      </a:moveTo>
                      <a:lnTo>
                        <a:pt x="18" y="17"/>
                      </a:lnTo>
                      <a:lnTo>
                        <a:pt x="18" y="13"/>
                      </a:lnTo>
                      <a:lnTo>
                        <a:pt x="18" y="1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 sz="1662"/>
                </a:p>
              </p:txBody>
            </p:sp>
            <p:sp>
              <p:nvSpPr>
                <p:cNvPr id="59" name="Chad">
                  <a:extLst>
                    <a:ext uri="{FF2B5EF4-FFF2-40B4-BE49-F238E27FC236}">
                      <a16:creationId xmlns:a16="http://schemas.microsoft.com/office/drawing/2014/main" id="{4290DACF-38A3-5493-6D8C-078F1C223A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13173" y="2380160"/>
                  <a:ext cx="818542" cy="1150611"/>
                </a:xfrm>
                <a:custGeom>
                  <a:avLst/>
                  <a:gdLst>
                    <a:gd name="T0" fmla="*/ 496 w 496"/>
                    <a:gd name="T1" fmla="*/ 420 h 866"/>
                    <a:gd name="T2" fmla="*/ 119 w 496"/>
                    <a:gd name="T3" fmla="*/ 0 h 866"/>
                    <a:gd name="T4" fmla="*/ 83 w 496"/>
                    <a:gd name="T5" fmla="*/ 72 h 866"/>
                    <a:gd name="T6" fmla="*/ 95 w 496"/>
                    <a:gd name="T7" fmla="*/ 129 h 866"/>
                    <a:gd name="T8" fmla="*/ 120 w 496"/>
                    <a:gd name="T9" fmla="*/ 169 h 866"/>
                    <a:gd name="T10" fmla="*/ 96 w 496"/>
                    <a:gd name="T11" fmla="*/ 356 h 866"/>
                    <a:gd name="T12" fmla="*/ 13 w 496"/>
                    <a:gd name="T13" fmla="*/ 479 h 866"/>
                    <a:gd name="T14" fmla="*/ 3 w 496"/>
                    <a:gd name="T15" fmla="*/ 526 h 866"/>
                    <a:gd name="T16" fmla="*/ 29 w 496"/>
                    <a:gd name="T17" fmla="*/ 558 h 866"/>
                    <a:gd name="T18" fmla="*/ 29 w 496"/>
                    <a:gd name="T19" fmla="*/ 561 h 866"/>
                    <a:gd name="T20" fmla="*/ 50 w 496"/>
                    <a:gd name="T21" fmla="*/ 576 h 866"/>
                    <a:gd name="T22" fmla="*/ 66 w 496"/>
                    <a:gd name="T23" fmla="*/ 611 h 866"/>
                    <a:gd name="T24" fmla="*/ 74 w 496"/>
                    <a:gd name="T25" fmla="*/ 650 h 866"/>
                    <a:gd name="T26" fmla="*/ 106 w 496"/>
                    <a:gd name="T27" fmla="*/ 724 h 866"/>
                    <a:gd name="T28" fmla="*/ 31 w 496"/>
                    <a:gd name="T29" fmla="*/ 733 h 866"/>
                    <a:gd name="T30" fmla="*/ 87 w 496"/>
                    <a:gd name="T31" fmla="*/ 802 h 866"/>
                    <a:gd name="T32" fmla="*/ 123 w 496"/>
                    <a:gd name="T33" fmla="*/ 860 h 866"/>
                    <a:gd name="T34" fmla="*/ 165 w 496"/>
                    <a:gd name="T35" fmla="*/ 858 h 866"/>
                    <a:gd name="T36" fmla="*/ 248 w 496"/>
                    <a:gd name="T37" fmla="*/ 833 h 866"/>
                    <a:gd name="T38" fmla="*/ 253 w 496"/>
                    <a:gd name="T39" fmla="*/ 788 h 866"/>
                    <a:gd name="T40" fmla="*/ 338 w 496"/>
                    <a:gd name="T41" fmla="*/ 765 h 866"/>
                    <a:gd name="T42" fmla="*/ 378 w 496"/>
                    <a:gd name="T43" fmla="*/ 723 h 866"/>
                    <a:gd name="T44" fmla="*/ 393 w 496"/>
                    <a:gd name="T45" fmla="*/ 691 h 866"/>
                    <a:gd name="T46" fmla="*/ 446 w 496"/>
                    <a:gd name="T47" fmla="*/ 674 h 866"/>
                    <a:gd name="T48" fmla="*/ 451 w 496"/>
                    <a:gd name="T49" fmla="*/ 656 h 866"/>
                    <a:gd name="T50" fmla="*/ 426 w 496"/>
                    <a:gd name="T51" fmla="*/ 625 h 866"/>
                    <a:gd name="T52" fmla="*/ 428 w 496"/>
                    <a:gd name="T53" fmla="*/ 612 h 866"/>
                    <a:gd name="T54" fmla="*/ 406 w 496"/>
                    <a:gd name="T55" fmla="*/ 587 h 866"/>
                    <a:gd name="T56" fmla="*/ 417 w 496"/>
                    <a:gd name="T57" fmla="*/ 549 h 866"/>
                    <a:gd name="T58" fmla="*/ 419 w 496"/>
                    <a:gd name="T59" fmla="*/ 508 h 866"/>
                    <a:gd name="T60" fmla="*/ 425 w 496"/>
                    <a:gd name="T61" fmla="*/ 490 h 866"/>
                    <a:gd name="T62" fmla="*/ 432 w 496"/>
                    <a:gd name="T63" fmla="*/ 474 h 866"/>
                    <a:gd name="T64" fmla="*/ 449 w 496"/>
                    <a:gd name="T65" fmla="*/ 442 h 8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96" h="866">
                      <a:moveTo>
                        <a:pt x="451" y="419"/>
                      </a:moveTo>
                      <a:cubicBezTo>
                        <a:pt x="464" y="415"/>
                        <a:pt x="496" y="420"/>
                        <a:pt x="496" y="420"/>
                      </a:cubicBezTo>
                      <a:cubicBezTo>
                        <a:pt x="492" y="216"/>
                        <a:pt x="492" y="216"/>
                        <a:pt x="492" y="216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94" y="15"/>
                        <a:pt x="71" y="28"/>
                      </a:cubicBezTo>
                      <a:cubicBezTo>
                        <a:pt x="83" y="72"/>
                        <a:pt x="83" y="72"/>
                        <a:pt x="83" y="72"/>
                      </a:cubicBezTo>
                      <a:cubicBezTo>
                        <a:pt x="76" y="105"/>
                        <a:pt x="76" y="105"/>
                        <a:pt x="76" y="105"/>
                      </a:cubicBezTo>
                      <a:cubicBezTo>
                        <a:pt x="95" y="129"/>
                        <a:pt x="95" y="129"/>
                        <a:pt x="95" y="129"/>
                      </a:cubicBezTo>
                      <a:cubicBezTo>
                        <a:pt x="100" y="145"/>
                        <a:pt x="100" y="145"/>
                        <a:pt x="100" y="145"/>
                      </a:cubicBezTo>
                      <a:cubicBezTo>
                        <a:pt x="120" y="169"/>
                        <a:pt x="120" y="169"/>
                        <a:pt x="120" y="169"/>
                      </a:cubicBezTo>
                      <a:cubicBezTo>
                        <a:pt x="106" y="194"/>
                        <a:pt x="106" y="194"/>
                        <a:pt x="106" y="194"/>
                      </a:cubicBezTo>
                      <a:cubicBezTo>
                        <a:pt x="96" y="356"/>
                        <a:pt x="96" y="356"/>
                        <a:pt x="96" y="356"/>
                      </a:cubicBezTo>
                      <a:cubicBezTo>
                        <a:pt x="96" y="356"/>
                        <a:pt x="46" y="409"/>
                        <a:pt x="35" y="426"/>
                      </a:cubicBezTo>
                      <a:cubicBezTo>
                        <a:pt x="23" y="442"/>
                        <a:pt x="13" y="479"/>
                        <a:pt x="13" y="479"/>
                      </a:cubicBezTo>
                      <a:cubicBezTo>
                        <a:pt x="0" y="484"/>
                        <a:pt x="0" y="484"/>
                        <a:pt x="0" y="484"/>
                      </a:cubicBezTo>
                      <a:cubicBezTo>
                        <a:pt x="3" y="526"/>
                        <a:pt x="3" y="526"/>
                        <a:pt x="3" y="526"/>
                      </a:cubicBezTo>
                      <a:cubicBezTo>
                        <a:pt x="7" y="526"/>
                        <a:pt x="10" y="526"/>
                        <a:pt x="10" y="526"/>
                      </a:cubicBezTo>
                      <a:cubicBezTo>
                        <a:pt x="29" y="558"/>
                        <a:pt x="29" y="558"/>
                        <a:pt x="29" y="558"/>
                      </a:cubicBezTo>
                      <a:cubicBezTo>
                        <a:pt x="29" y="558"/>
                        <a:pt x="29" y="560"/>
                        <a:pt x="29" y="563"/>
                      </a:cubicBezTo>
                      <a:cubicBezTo>
                        <a:pt x="29" y="562"/>
                        <a:pt x="29" y="561"/>
                        <a:pt x="29" y="561"/>
                      </a:cubicBezTo>
                      <a:cubicBezTo>
                        <a:pt x="45" y="559"/>
                        <a:pt x="45" y="559"/>
                        <a:pt x="45" y="559"/>
                      </a:cubicBezTo>
                      <a:cubicBezTo>
                        <a:pt x="45" y="559"/>
                        <a:pt x="46" y="571"/>
                        <a:pt x="50" y="576"/>
                      </a:cubicBezTo>
                      <a:cubicBezTo>
                        <a:pt x="54" y="581"/>
                        <a:pt x="70" y="584"/>
                        <a:pt x="70" y="584"/>
                      </a:cubicBezTo>
                      <a:cubicBezTo>
                        <a:pt x="66" y="611"/>
                        <a:pt x="66" y="611"/>
                        <a:pt x="66" y="611"/>
                      </a:cubicBezTo>
                      <a:cubicBezTo>
                        <a:pt x="66" y="611"/>
                        <a:pt x="80" y="618"/>
                        <a:pt x="80" y="629"/>
                      </a:cubicBezTo>
                      <a:cubicBezTo>
                        <a:pt x="80" y="640"/>
                        <a:pt x="74" y="650"/>
                        <a:pt x="74" y="650"/>
                      </a:cubicBezTo>
                      <a:cubicBezTo>
                        <a:pt x="74" y="650"/>
                        <a:pt x="75" y="678"/>
                        <a:pt x="80" y="692"/>
                      </a:cubicBezTo>
                      <a:cubicBezTo>
                        <a:pt x="85" y="706"/>
                        <a:pt x="106" y="724"/>
                        <a:pt x="106" y="724"/>
                      </a:cubicBezTo>
                      <a:cubicBezTo>
                        <a:pt x="106" y="724"/>
                        <a:pt x="92" y="725"/>
                        <a:pt x="84" y="726"/>
                      </a:cubicBezTo>
                      <a:cubicBezTo>
                        <a:pt x="76" y="727"/>
                        <a:pt x="36" y="720"/>
                        <a:pt x="31" y="733"/>
                      </a:cubicBezTo>
                      <a:cubicBezTo>
                        <a:pt x="26" y="746"/>
                        <a:pt x="41" y="767"/>
                        <a:pt x="49" y="775"/>
                      </a:cubicBezTo>
                      <a:cubicBezTo>
                        <a:pt x="57" y="783"/>
                        <a:pt x="78" y="792"/>
                        <a:pt x="87" y="802"/>
                      </a:cubicBezTo>
                      <a:cubicBezTo>
                        <a:pt x="96" y="812"/>
                        <a:pt x="101" y="859"/>
                        <a:pt x="101" y="859"/>
                      </a:cubicBezTo>
                      <a:cubicBezTo>
                        <a:pt x="101" y="859"/>
                        <a:pt x="113" y="866"/>
                        <a:pt x="123" y="860"/>
                      </a:cubicBezTo>
                      <a:cubicBezTo>
                        <a:pt x="133" y="853"/>
                        <a:pt x="153" y="838"/>
                        <a:pt x="153" y="838"/>
                      </a:cubicBezTo>
                      <a:cubicBezTo>
                        <a:pt x="153" y="838"/>
                        <a:pt x="146" y="863"/>
                        <a:pt x="165" y="858"/>
                      </a:cubicBezTo>
                      <a:cubicBezTo>
                        <a:pt x="183" y="853"/>
                        <a:pt x="178" y="833"/>
                        <a:pt x="196" y="833"/>
                      </a:cubicBezTo>
                      <a:cubicBezTo>
                        <a:pt x="215" y="833"/>
                        <a:pt x="248" y="833"/>
                        <a:pt x="248" y="833"/>
                      </a:cubicBezTo>
                      <a:cubicBezTo>
                        <a:pt x="248" y="833"/>
                        <a:pt x="263" y="811"/>
                        <a:pt x="268" y="805"/>
                      </a:cubicBezTo>
                      <a:cubicBezTo>
                        <a:pt x="273" y="798"/>
                        <a:pt x="253" y="788"/>
                        <a:pt x="253" y="788"/>
                      </a:cubicBezTo>
                      <a:cubicBezTo>
                        <a:pt x="267" y="780"/>
                        <a:pt x="267" y="780"/>
                        <a:pt x="267" y="780"/>
                      </a:cubicBezTo>
                      <a:cubicBezTo>
                        <a:pt x="267" y="780"/>
                        <a:pt x="307" y="780"/>
                        <a:pt x="338" y="765"/>
                      </a:cubicBezTo>
                      <a:cubicBezTo>
                        <a:pt x="370" y="750"/>
                        <a:pt x="365" y="728"/>
                        <a:pt x="365" y="728"/>
                      </a:cubicBezTo>
                      <a:cubicBezTo>
                        <a:pt x="378" y="723"/>
                        <a:pt x="378" y="723"/>
                        <a:pt x="378" y="723"/>
                      </a:cubicBezTo>
                      <a:cubicBezTo>
                        <a:pt x="390" y="711"/>
                        <a:pt x="390" y="711"/>
                        <a:pt x="390" y="711"/>
                      </a:cubicBezTo>
                      <a:cubicBezTo>
                        <a:pt x="393" y="691"/>
                        <a:pt x="393" y="691"/>
                        <a:pt x="393" y="691"/>
                      </a:cubicBezTo>
                      <a:cubicBezTo>
                        <a:pt x="430" y="673"/>
                        <a:pt x="430" y="673"/>
                        <a:pt x="430" y="673"/>
                      </a:cubicBezTo>
                      <a:cubicBezTo>
                        <a:pt x="446" y="674"/>
                        <a:pt x="446" y="674"/>
                        <a:pt x="446" y="674"/>
                      </a:cubicBezTo>
                      <a:cubicBezTo>
                        <a:pt x="445" y="665"/>
                        <a:pt x="445" y="665"/>
                        <a:pt x="445" y="665"/>
                      </a:cubicBezTo>
                      <a:cubicBezTo>
                        <a:pt x="445" y="665"/>
                        <a:pt x="463" y="669"/>
                        <a:pt x="451" y="656"/>
                      </a:cubicBezTo>
                      <a:cubicBezTo>
                        <a:pt x="439" y="643"/>
                        <a:pt x="430" y="642"/>
                        <a:pt x="430" y="642"/>
                      </a:cubicBezTo>
                      <a:cubicBezTo>
                        <a:pt x="426" y="625"/>
                        <a:pt x="426" y="625"/>
                        <a:pt x="426" y="625"/>
                      </a:cubicBezTo>
                      <a:cubicBezTo>
                        <a:pt x="437" y="620"/>
                        <a:pt x="437" y="620"/>
                        <a:pt x="437" y="620"/>
                      </a:cubicBezTo>
                      <a:cubicBezTo>
                        <a:pt x="428" y="612"/>
                        <a:pt x="428" y="612"/>
                        <a:pt x="428" y="612"/>
                      </a:cubicBezTo>
                      <a:cubicBezTo>
                        <a:pt x="428" y="612"/>
                        <a:pt x="430" y="585"/>
                        <a:pt x="423" y="582"/>
                      </a:cubicBezTo>
                      <a:cubicBezTo>
                        <a:pt x="416" y="579"/>
                        <a:pt x="411" y="589"/>
                        <a:pt x="406" y="587"/>
                      </a:cubicBezTo>
                      <a:cubicBezTo>
                        <a:pt x="401" y="585"/>
                        <a:pt x="395" y="580"/>
                        <a:pt x="398" y="569"/>
                      </a:cubicBezTo>
                      <a:cubicBezTo>
                        <a:pt x="401" y="558"/>
                        <a:pt x="415" y="558"/>
                        <a:pt x="417" y="549"/>
                      </a:cubicBezTo>
                      <a:cubicBezTo>
                        <a:pt x="419" y="540"/>
                        <a:pt x="416" y="536"/>
                        <a:pt x="410" y="526"/>
                      </a:cubicBezTo>
                      <a:cubicBezTo>
                        <a:pt x="404" y="516"/>
                        <a:pt x="419" y="508"/>
                        <a:pt x="419" y="508"/>
                      </a:cubicBezTo>
                      <a:cubicBezTo>
                        <a:pt x="430" y="501"/>
                        <a:pt x="430" y="501"/>
                        <a:pt x="430" y="501"/>
                      </a:cubicBezTo>
                      <a:cubicBezTo>
                        <a:pt x="425" y="490"/>
                        <a:pt x="425" y="490"/>
                        <a:pt x="425" y="490"/>
                      </a:cubicBezTo>
                      <a:cubicBezTo>
                        <a:pt x="422" y="474"/>
                        <a:pt x="422" y="474"/>
                        <a:pt x="422" y="474"/>
                      </a:cubicBezTo>
                      <a:cubicBezTo>
                        <a:pt x="432" y="474"/>
                        <a:pt x="432" y="474"/>
                        <a:pt x="432" y="474"/>
                      </a:cubicBezTo>
                      <a:cubicBezTo>
                        <a:pt x="432" y="474"/>
                        <a:pt x="430" y="462"/>
                        <a:pt x="436" y="456"/>
                      </a:cubicBezTo>
                      <a:cubicBezTo>
                        <a:pt x="442" y="450"/>
                        <a:pt x="451" y="450"/>
                        <a:pt x="449" y="442"/>
                      </a:cubicBezTo>
                      <a:cubicBezTo>
                        <a:pt x="447" y="434"/>
                        <a:pt x="438" y="423"/>
                        <a:pt x="451" y="419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60" name="Central African Republic">
                  <a:extLst>
                    <a:ext uri="{FF2B5EF4-FFF2-40B4-BE49-F238E27FC236}">
                      <a16:creationId xmlns:a16="http://schemas.microsoft.com/office/drawing/2014/main" id="{743353B7-AC08-69FA-A962-AA7B5E27F99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83729" y="3271321"/>
                  <a:ext cx="1020825" cy="620431"/>
                </a:xfrm>
                <a:custGeom>
                  <a:avLst/>
                  <a:gdLst>
                    <a:gd name="T0" fmla="*/ 589 w 614"/>
                    <a:gd name="T1" fmla="*/ 267 h 467"/>
                    <a:gd name="T2" fmla="*/ 575 w 614"/>
                    <a:gd name="T3" fmla="*/ 253 h 467"/>
                    <a:gd name="T4" fmla="*/ 573 w 614"/>
                    <a:gd name="T5" fmla="*/ 236 h 467"/>
                    <a:gd name="T6" fmla="*/ 542 w 614"/>
                    <a:gd name="T7" fmla="*/ 203 h 467"/>
                    <a:gd name="T8" fmla="*/ 521 w 614"/>
                    <a:gd name="T9" fmla="*/ 175 h 467"/>
                    <a:gd name="T10" fmla="*/ 502 w 614"/>
                    <a:gd name="T11" fmla="*/ 152 h 467"/>
                    <a:gd name="T12" fmla="*/ 467 w 614"/>
                    <a:gd name="T13" fmla="*/ 130 h 467"/>
                    <a:gd name="T14" fmla="*/ 433 w 614"/>
                    <a:gd name="T15" fmla="*/ 120 h 467"/>
                    <a:gd name="T16" fmla="*/ 431 w 614"/>
                    <a:gd name="T17" fmla="*/ 102 h 467"/>
                    <a:gd name="T18" fmla="*/ 402 w 614"/>
                    <a:gd name="T19" fmla="*/ 8 h 467"/>
                    <a:gd name="T20" fmla="*/ 385 w 614"/>
                    <a:gd name="T21" fmla="*/ 0 h 467"/>
                    <a:gd name="T22" fmla="*/ 345 w 614"/>
                    <a:gd name="T23" fmla="*/ 38 h 467"/>
                    <a:gd name="T24" fmla="*/ 320 w 614"/>
                    <a:gd name="T25" fmla="*/ 55 h 467"/>
                    <a:gd name="T26" fmla="*/ 222 w 614"/>
                    <a:gd name="T27" fmla="*/ 107 h 467"/>
                    <a:gd name="T28" fmla="*/ 223 w 614"/>
                    <a:gd name="T29" fmla="*/ 132 h 467"/>
                    <a:gd name="T30" fmla="*/ 151 w 614"/>
                    <a:gd name="T31" fmla="*/ 160 h 467"/>
                    <a:gd name="T32" fmla="*/ 108 w 614"/>
                    <a:gd name="T33" fmla="*/ 165 h 467"/>
                    <a:gd name="T34" fmla="*/ 56 w 614"/>
                    <a:gd name="T35" fmla="*/ 186 h 467"/>
                    <a:gd name="T36" fmla="*/ 35 w 614"/>
                    <a:gd name="T37" fmla="*/ 224 h 467"/>
                    <a:gd name="T38" fmla="*/ 24 w 614"/>
                    <a:gd name="T39" fmla="*/ 249 h 467"/>
                    <a:gd name="T40" fmla="*/ 15 w 614"/>
                    <a:gd name="T41" fmla="*/ 273 h 467"/>
                    <a:gd name="T42" fmla="*/ 7 w 614"/>
                    <a:gd name="T43" fmla="*/ 306 h 467"/>
                    <a:gd name="T44" fmla="*/ 19 w 614"/>
                    <a:gd name="T45" fmla="*/ 344 h 467"/>
                    <a:gd name="T46" fmla="*/ 36 w 614"/>
                    <a:gd name="T47" fmla="*/ 381 h 467"/>
                    <a:gd name="T48" fmla="*/ 79 w 614"/>
                    <a:gd name="T49" fmla="*/ 428 h 467"/>
                    <a:gd name="T50" fmla="*/ 83 w 614"/>
                    <a:gd name="T51" fmla="*/ 461 h 467"/>
                    <a:gd name="T52" fmla="*/ 106 w 614"/>
                    <a:gd name="T53" fmla="*/ 441 h 467"/>
                    <a:gd name="T54" fmla="*/ 108 w 614"/>
                    <a:gd name="T55" fmla="*/ 400 h 467"/>
                    <a:gd name="T56" fmla="*/ 147 w 614"/>
                    <a:gd name="T57" fmla="*/ 390 h 467"/>
                    <a:gd name="T58" fmla="*/ 193 w 614"/>
                    <a:gd name="T59" fmla="*/ 394 h 467"/>
                    <a:gd name="T60" fmla="*/ 203 w 614"/>
                    <a:gd name="T61" fmla="*/ 370 h 467"/>
                    <a:gd name="T62" fmla="*/ 218 w 614"/>
                    <a:gd name="T63" fmla="*/ 344 h 467"/>
                    <a:gd name="T64" fmla="*/ 273 w 614"/>
                    <a:gd name="T65" fmla="*/ 330 h 467"/>
                    <a:gd name="T66" fmla="*/ 295 w 614"/>
                    <a:gd name="T67" fmla="*/ 351 h 467"/>
                    <a:gd name="T68" fmla="*/ 335 w 614"/>
                    <a:gd name="T69" fmla="*/ 362 h 467"/>
                    <a:gd name="T70" fmla="*/ 385 w 614"/>
                    <a:gd name="T71" fmla="*/ 368 h 467"/>
                    <a:gd name="T72" fmla="*/ 410 w 614"/>
                    <a:gd name="T73" fmla="*/ 328 h 467"/>
                    <a:gd name="T74" fmla="*/ 449 w 614"/>
                    <a:gd name="T75" fmla="*/ 330 h 467"/>
                    <a:gd name="T76" fmla="*/ 477 w 614"/>
                    <a:gd name="T77" fmla="*/ 316 h 467"/>
                    <a:gd name="T78" fmla="*/ 512 w 614"/>
                    <a:gd name="T79" fmla="*/ 321 h 467"/>
                    <a:gd name="T80" fmla="*/ 539 w 614"/>
                    <a:gd name="T81" fmla="*/ 311 h 467"/>
                    <a:gd name="T82" fmla="*/ 586 w 614"/>
                    <a:gd name="T83" fmla="*/ 319 h 467"/>
                    <a:gd name="T84" fmla="*/ 606 w 614"/>
                    <a:gd name="T85" fmla="*/ 281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614" h="467">
                      <a:moveTo>
                        <a:pt x="606" y="281"/>
                      </a:moveTo>
                      <a:cubicBezTo>
                        <a:pt x="598" y="273"/>
                        <a:pt x="589" y="267"/>
                        <a:pt x="589" y="267"/>
                      </a:cubicBezTo>
                      <a:cubicBezTo>
                        <a:pt x="574" y="266"/>
                        <a:pt x="574" y="266"/>
                        <a:pt x="574" y="266"/>
                      </a:cubicBezTo>
                      <a:cubicBezTo>
                        <a:pt x="575" y="253"/>
                        <a:pt x="575" y="253"/>
                        <a:pt x="575" y="253"/>
                      </a:cubicBezTo>
                      <a:cubicBezTo>
                        <a:pt x="575" y="253"/>
                        <a:pt x="568" y="250"/>
                        <a:pt x="567" y="244"/>
                      </a:cubicBezTo>
                      <a:cubicBezTo>
                        <a:pt x="566" y="238"/>
                        <a:pt x="573" y="244"/>
                        <a:pt x="573" y="236"/>
                      </a:cubicBezTo>
                      <a:cubicBezTo>
                        <a:pt x="573" y="228"/>
                        <a:pt x="558" y="227"/>
                        <a:pt x="558" y="227"/>
                      </a:cubicBezTo>
                      <a:cubicBezTo>
                        <a:pt x="558" y="227"/>
                        <a:pt x="549" y="204"/>
                        <a:pt x="542" y="203"/>
                      </a:cubicBezTo>
                      <a:cubicBezTo>
                        <a:pt x="535" y="202"/>
                        <a:pt x="521" y="200"/>
                        <a:pt x="515" y="190"/>
                      </a:cubicBezTo>
                      <a:cubicBezTo>
                        <a:pt x="509" y="180"/>
                        <a:pt x="524" y="186"/>
                        <a:pt x="521" y="175"/>
                      </a:cubicBezTo>
                      <a:cubicBezTo>
                        <a:pt x="518" y="164"/>
                        <a:pt x="502" y="165"/>
                        <a:pt x="502" y="165"/>
                      </a:cubicBezTo>
                      <a:cubicBezTo>
                        <a:pt x="502" y="152"/>
                        <a:pt x="502" y="152"/>
                        <a:pt x="502" y="152"/>
                      </a:cubicBezTo>
                      <a:cubicBezTo>
                        <a:pt x="502" y="152"/>
                        <a:pt x="472" y="154"/>
                        <a:pt x="466" y="146"/>
                      </a:cubicBezTo>
                      <a:cubicBezTo>
                        <a:pt x="460" y="138"/>
                        <a:pt x="467" y="130"/>
                        <a:pt x="467" y="130"/>
                      </a:cubicBezTo>
                      <a:cubicBezTo>
                        <a:pt x="467" y="123"/>
                        <a:pt x="467" y="123"/>
                        <a:pt x="467" y="123"/>
                      </a:cubicBezTo>
                      <a:cubicBezTo>
                        <a:pt x="433" y="120"/>
                        <a:pt x="433" y="120"/>
                        <a:pt x="433" y="120"/>
                      </a:cubicBezTo>
                      <a:cubicBezTo>
                        <a:pt x="439" y="109"/>
                        <a:pt x="439" y="109"/>
                        <a:pt x="439" y="109"/>
                      </a:cubicBezTo>
                      <a:cubicBezTo>
                        <a:pt x="439" y="109"/>
                        <a:pt x="430" y="112"/>
                        <a:pt x="431" y="102"/>
                      </a:cubicBezTo>
                      <a:cubicBezTo>
                        <a:pt x="432" y="92"/>
                        <a:pt x="447" y="85"/>
                        <a:pt x="443" y="63"/>
                      </a:cubicBezTo>
                      <a:cubicBezTo>
                        <a:pt x="439" y="41"/>
                        <a:pt x="402" y="8"/>
                        <a:pt x="402" y="8"/>
                      </a:cubicBezTo>
                      <a:cubicBezTo>
                        <a:pt x="401" y="1"/>
                        <a:pt x="401" y="1"/>
                        <a:pt x="401" y="1"/>
                      </a:cubicBezTo>
                      <a:cubicBezTo>
                        <a:pt x="385" y="0"/>
                        <a:pt x="385" y="0"/>
                        <a:pt x="385" y="0"/>
                      </a:cubicBezTo>
                      <a:cubicBezTo>
                        <a:pt x="348" y="18"/>
                        <a:pt x="348" y="18"/>
                        <a:pt x="348" y="18"/>
                      </a:cubicBezTo>
                      <a:cubicBezTo>
                        <a:pt x="345" y="38"/>
                        <a:pt x="345" y="38"/>
                        <a:pt x="345" y="38"/>
                      </a:cubicBezTo>
                      <a:cubicBezTo>
                        <a:pt x="333" y="50"/>
                        <a:pt x="333" y="50"/>
                        <a:pt x="333" y="50"/>
                      </a:cubicBezTo>
                      <a:cubicBezTo>
                        <a:pt x="320" y="55"/>
                        <a:pt x="320" y="55"/>
                        <a:pt x="320" y="55"/>
                      </a:cubicBezTo>
                      <a:cubicBezTo>
                        <a:pt x="320" y="55"/>
                        <a:pt x="325" y="77"/>
                        <a:pt x="293" y="92"/>
                      </a:cubicBezTo>
                      <a:cubicBezTo>
                        <a:pt x="262" y="107"/>
                        <a:pt x="222" y="107"/>
                        <a:pt x="222" y="107"/>
                      </a:cubicBezTo>
                      <a:cubicBezTo>
                        <a:pt x="208" y="115"/>
                        <a:pt x="208" y="115"/>
                        <a:pt x="208" y="115"/>
                      </a:cubicBezTo>
                      <a:cubicBezTo>
                        <a:pt x="208" y="115"/>
                        <a:pt x="228" y="125"/>
                        <a:pt x="223" y="132"/>
                      </a:cubicBezTo>
                      <a:cubicBezTo>
                        <a:pt x="218" y="138"/>
                        <a:pt x="203" y="160"/>
                        <a:pt x="203" y="160"/>
                      </a:cubicBezTo>
                      <a:cubicBezTo>
                        <a:pt x="203" y="160"/>
                        <a:pt x="170" y="160"/>
                        <a:pt x="151" y="160"/>
                      </a:cubicBezTo>
                      <a:cubicBezTo>
                        <a:pt x="133" y="160"/>
                        <a:pt x="138" y="180"/>
                        <a:pt x="120" y="185"/>
                      </a:cubicBezTo>
                      <a:cubicBezTo>
                        <a:pt x="101" y="190"/>
                        <a:pt x="108" y="165"/>
                        <a:pt x="108" y="165"/>
                      </a:cubicBezTo>
                      <a:cubicBezTo>
                        <a:pt x="108" y="165"/>
                        <a:pt x="88" y="180"/>
                        <a:pt x="78" y="187"/>
                      </a:cubicBezTo>
                      <a:cubicBezTo>
                        <a:pt x="68" y="193"/>
                        <a:pt x="56" y="186"/>
                        <a:pt x="56" y="186"/>
                      </a:cubicBezTo>
                      <a:cubicBezTo>
                        <a:pt x="56" y="186"/>
                        <a:pt x="38" y="196"/>
                        <a:pt x="37" y="204"/>
                      </a:cubicBezTo>
                      <a:cubicBezTo>
                        <a:pt x="36" y="212"/>
                        <a:pt x="35" y="224"/>
                        <a:pt x="35" y="224"/>
                      </a:cubicBezTo>
                      <a:cubicBezTo>
                        <a:pt x="29" y="224"/>
                        <a:pt x="29" y="224"/>
                        <a:pt x="29" y="224"/>
                      </a:cubicBezTo>
                      <a:cubicBezTo>
                        <a:pt x="24" y="249"/>
                        <a:pt x="24" y="249"/>
                        <a:pt x="24" y="249"/>
                      </a:cubicBezTo>
                      <a:cubicBezTo>
                        <a:pt x="24" y="249"/>
                        <a:pt x="2" y="256"/>
                        <a:pt x="1" y="264"/>
                      </a:cubicBezTo>
                      <a:cubicBezTo>
                        <a:pt x="0" y="272"/>
                        <a:pt x="15" y="273"/>
                        <a:pt x="15" y="273"/>
                      </a:cubicBezTo>
                      <a:cubicBezTo>
                        <a:pt x="14" y="298"/>
                        <a:pt x="14" y="298"/>
                        <a:pt x="14" y="298"/>
                      </a:cubicBezTo>
                      <a:cubicBezTo>
                        <a:pt x="7" y="306"/>
                        <a:pt x="7" y="306"/>
                        <a:pt x="7" y="306"/>
                      </a:cubicBezTo>
                      <a:cubicBezTo>
                        <a:pt x="19" y="313"/>
                        <a:pt x="19" y="313"/>
                        <a:pt x="19" y="313"/>
                      </a:cubicBezTo>
                      <a:cubicBezTo>
                        <a:pt x="19" y="344"/>
                        <a:pt x="19" y="344"/>
                        <a:pt x="19" y="344"/>
                      </a:cubicBezTo>
                      <a:cubicBezTo>
                        <a:pt x="19" y="344"/>
                        <a:pt x="36" y="355"/>
                        <a:pt x="38" y="358"/>
                      </a:cubicBezTo>
                      <a:cubicBezTo>
                        <a:pt x="40" y="361"/>
                        <a:pt x="36" y="381"/>
                        <a:pt x="36" y="381"/>
                      </a:cubicBezTo>
                      <a:cubicBezTo>
                        <a:pt x="36" y="381"/>
                        <a:pt x="47" y="404"/>
                        <a:pt x="57" y="412"/>
                      </a:cubicBezTo>
                      <a:cubicBezTo>
                        <a:pt x="67" y="420"/>
                        <a:pt x="79" y="428"/>
                        <a:pt x="79" y="428"/>
                      </a:cubicBezTo>
                      <a:cubicBezTo>
                        <a:pt x="83" y="442"/>
                        <a:pt x="83" y="442"/>
                        <a:pt x="83" y="442"/>
                      </a:cubicBezTo>
                      <a:cubicBezTo>
                        <a:pt x="83" y="461"/>
                        <a:pt x="83" y="461"/>
                        <a:pt x="83" y="461"/>
                      </a:cubicBezTo>
                      <a:cubicBezTo>
                        <a:pt x="88" y="467"/>
                        <a:pt x="88" y="467"/>
                        <a:pt x="88" y="467"/>
                      </a:cubicBezTo>
                      <a:cubicBezTo>
                        <a:pt x="88" y="467"/>
                        <a:pt x="104" y="448"/>
                        <a:pt x="106" y="441"/>
                      </a:cubicBezTo>
                      <a:cubicBezTo>
                        <a:pt x="108" y="434"/>
                        <a:pt x="98" y="421"/>
                        <a:pt x="98" y="421"/>
                      </a:cubicBezTo>
                      <a:cubicBezTo>
                        <a:pt x="108" y="400"/>
                        <a:pt x="108" y="400"/>
                        <a:pt x="108" y="400"/>
                      </a:cubicBezTo>
                      <a:cubicBezTo>
                        <a:pt x="128" y="401"/>
                        <a:pt x="128" y="401"/>
                        <a:pt x="128" y="401"/>
                      </a:cubicBezTo>
                      <a:cubicBezTo>
                        <a:pt x="128" y="401"/>
                        <a:pt x="141" y="390"/>
                        <a:pt x="147" y="390"/>
                      </a:cubicBezTo>
                      <a:cubicBezTo>
                        <a:pt x="153" y="390"/>
                        <a:pt x="167" y="398"/>
                        <a:pt x="178" y="399"/>
                      </a:cubicBezTo>
                      <a:cubicBezTo>
                        <a:pt x="189" y="400"/>
                        <a:pt x="193" y="394"/>
                        <a:pt x="193" y="394"/>
                      </a:cubicBezTo>
                      <a:cubicBezTo>
                        <a:pt x="203" y="380"/>
                        <a:pt x="203" y="380"/>
                        <a:pt x="203" y="380"/>
                      </a:cubicBezTo>
                      <a:cubicBezTo>
                        <a:pt x="203" y="370"/>
                        <a:pt x="203" y="370"/>
                        <a:pt x="203" y="370"/>
                      </a:cubicBezTo>
                      <a:cubicBezTo>
                        <a:pt x="203" y="370"/>
                        <a:pt x="193" y="367"/>
                        <a:pt x="201" y="357"/>
                      </a:cubicBezTo>
                      <a:cubicBezTo>
                        <a:pt x="209" y="347"/>
                        <a:pt x="208" y="358"/>
                        <a:pt x="218" y="344"/>
                      </a:cubicBezTo>
                      <a:cubicBezTo>
                        <a:pt x="228" y="330"/>
                        <a:pt x="218" y="311"/>
                        <a:pt x="247" y="313"/>
                      </a:cubicBezTo>
                      <a:cubicBezTo>
                        <a:pt x="276" y="315"/>
                        <a:pt x="273" y="330"/>
                        <a:pt x="273" y="330"/>
                      </a:cubicBezTo>
                      <a:cubicBezTo>
                        <a:pt x="273" y="330"/>
                        <a:pt x="286" y="328"/>
                        <a:pt x="289" y="332"/>
                      </a:cubicBezTo>
                      <a:cubicBezTo>
                        <a:pt x="292" y="336"/>
                        <a:pt x="280" y="351"/>
                        <a:pt x="295" y="351"/>
                      </a:cubicBezTo>
                      <a:cubicBezTo>
                        <a:pt x="310" y="351"/>
                        <a:pt x="319" y="351"/>
                        <a:pt x="319" y="351"/>
                      </a:cubicBezTo>
                      <a:cubicBezTo>
                        <a:pt x="319" y="351"/>
                        <a:pt x="325" y="363"/>
                        <a:pt x="335" y="362"/>
                      </a:cubicBezTo>
                      <a:cubicBezTo>
                        <a:pt x="345" y="361"/>
                        <a:pt x="363" y="361"/>
                        <a:pt x="363" y="361"/>
                      </a:cubicBezTo>
                      <a:cubicBezTo>
                        <a:pt x="363" y="361"/>
                        <a:pt x="376" y="375"/>
                        <a:pt x="385" y="368"/>
                      </a:cubicBezTo>
                      <a:cubicBezTo>
                        <a:pt x="394" y="361"/>
                        <a:pt x="389" y="347"/>
                        <a:pt x="396" y="344"/>
                      </a:cubicBezTo>
                      <a:cubicBezTo>
                        <a:pt x="403" y="341"/>
                        <a:pt x="410" y="328"/>
                        <a:pt x="410" y="328"/>
                      </a:cubicBezTo>
                      <a:cubicBezTo>
                        <a:pt x="410" y="328"/>
                        <a:pt x="424" y="349"/>
                        <a:pt x="430" y="344"/>
                      </a:cubicBezTo>
                      <a:cubicBezTo>
                        <a:pt x="436" y="339"/>
                        <a:pt x="449" y="330"/>
                        <a:pt x="449" y="330"/>
                      </a:cubicBezTo>
                      <a:cubicBezTo>
                        <a:pt x="461" y="330"/>
                        <a:pt x="461" y="330"/>
                        <a:pt x="461" y="330"/>
                      </a:cubicBezTo>
                      <a:cubicBezTo>
                        <a:pt x="477" y="316"/>
                        <a:pt x="477" y="316"/>
                        <a:pt x="477" y="316"/>
                      </a:cubicBezTo>
                      <a:cubicBezTo>
                        <a:pt x="477" y="316"/>
                        <a:pt x="486" y="326"/>
                        <a:pt x="490" y="326"/>
                      </a:cubicBezTo>
                      <a:cubicBezTo>
                        <a:pt x="494" y="326"/>
                        <a:pt x="512" y="321"/>
                        <a:pt x="512" y="321"/>
                      </a:cubicBezTo>
                      <a:cubicBezTo>
                        <a:pt x="512" y="321"/>
                        <a:pt x="517" y="300"/>
                        <a:pt x="524" y="299"/>
                      </a:cubicBezTo>
                      <a:cubicBezTo>
                        <a:pt x="531" y="298"/>
                        <a:pt x="539" y="311"/>
                        <a:pt x="539" y="311"/>
                      </a:cubicBezTo>
                      <a:cubicBezTo>
                        <a:pt x="560" y="308"/>
                        <a:pt x="560" y="308"/>
                        <a:pt x="560" y="308"/>
                      </a:cubicBezTo>
                      <a:cubicBezTo>
                        <a:pt x="560" y="308"/>
                        <a:pt x="566" y="324"/>
                        <a:pt x="586" y="319"/>
                      </a:cubicBezTo>
                      <a:cubicBezTo>
                        <a:pt x="606" y="314"/>
                        <a:pt x="610" y="303"/>
                        <a:pt x="610" y="303"/>
                      </a:cubicBezTo>
                      <a:cubicBezTo>
                        <a:pt x="610" y="303"/>
                        <a:pt x="614" y="289"/>
                        <a:pt x="606" y="28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61" name="Cameroon">
                  <a:extLst>
                    <a:ext uri="{FF2B5EF4-FFF2-40B4-BE49-F238E27FC236}">
                      <a16:creationId xmlns:a16="http://schemas.microsoft.com/office/drawing/2014/main" id="{CFC54BAC-4D71-CF3B-77EF-3A66E1EAD2B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27419" y="3120913"/>
                  <a:ext cx="602145" cy="815960"/>
                </a:xfrm>
                <a:custGeom>
                  <a:avLst/>
                  <a:gdLst>
                    <a:gd name="T0" fmla="*/ 275 w 363"/>
                    <a:gd name="T1" fmla="*/ 0 h 614"/>
                    <a:gd name="T2" fmla="*/ 263 w 363"/>
                    <a:gd name="T3" fmla="*/ 43 h 614"/>
                    <a:gd name="T4" fmla="*/ 282 w 363"/>
                    <a:gd name="T5" fmla="*/ 70 h 614"/>
                    <a:gd name="T6" fmla="*/ 256 w 363"/>
                    <a:gd name="T7" fmla="*/ 100 h 614"/>
                    <a:gd name="T8" fmla="*/ 236 w 363"/>
                    <a:gd name="T9" fmla="*/ 136 h 614"/>
                    <a:gd name="T10" fmla="*/ 227 w 363"/>
                    <a:gd name="T11" fmla="*/ 159 h 614"/>
                    <a:gd name="T12" fmla="*/ 207 w 363"/>
                    <a:gd name="T13" fmla="*/ 198 h 614"/>
                    <a:gd name="T14" fmla="*/ 181 w 363"/>
                    <a:gd name="T15" fmla="*/ 250 h 614"/>
                    <a:gd name="T16" fmla="*/ 157 w 363"/>
                    <a:gd name="T17" fmla="*/ 302 h 614"/>
                    <a:gd name="T18" fmla="*/ 140 w 363"/>
                    <a:gd name="T19" fmla="*/ 337 h 614"/>
                    <a:gd name="T20" fmla="*/ 119 w 363"/>
                    <a:gd name="T21" fmla="*/ 342 h 614"/>
                    <a:gd name="T22" fmla="*/ 95 w 363"/>
                    <a:gd name="T23" fmla="*/ 334 h 614"/>
                    <a:gd name="T24" fmla="*/ 56 w 363"/>
                    <a:gd name="T25" fmla="*/ 353 h 614"/>
                    <a:gd name="T26" fmla="*/ 13 w 363"/>
                    <a:gd name="T27" fmla="*/ 428 h 614"/>
                    <a:gd name="T28" fmla="*/ 4 w 363"/>
                    <a:gd name="T29" fmla="*/ 449 h 614"/>
                    <a:gd name="T30" fmla="*/ 18 w 363"/>
                    <a:gd name="T31" fmla="*/ 455 h 614"/>
                    <a:gd name="T32" fmla="*/ 44 w 363"/>
                    <a:gd name="T33" fmla="*/ 497 h 614"/>
                    <a:gd name="T34" fmla="*/ 45 w 363"/>
                    <a:gd name="T35" fmla="*/ 504 h 614"/>
                    <a:gd name="T36" fmla="*/ 70 w 363"/>
                    <a:gd name="T37" fmla="*/ 527 h 614"/>
                    <a:gd name="T38" fmla="*/ 61 w 363"/>
                    <a:gd name="T39" fmla="*/ 559 h 614"/>
                    <a:gd name="T40" fmla="*/ 68 w 363"/>
                    <a:gd name="T41" fmla="*/ 586 h 614"/>
                    <a:gd name="T42" fmla="*/ 144 w 363"/>
                    <a:gd name="T43" fmla="*/ 576 h 614"/>
                    <a:gd name="T44" fmla="*/ 175 w 363"/>
                    <a:gd name="T45" fmla="*/ 585 h 614"/>
                    <a:gd name="T46" fmla="*/ 195 w 363"/>
                    <a:gd name="T47" fmla="*/ 581 h 614"/>
                    <a:gd name="T48" fmla="*/ 227 w 363"/>
                    <a:gd name="T49" fmla="*/ 590 h 614"/>
                    <a:gd name="T50" fmla="*/ 320 w 363"/>
                    <a:gd name="T51" fmla="*/ 600 h 614"/>
                    <a:gd name="T52" fmla="*/ 358 w 363"/>
                    <a:gd name="T53" fmla="*/ 614 h 614"/>
                    <a:gd name="T54" fmla="*/ 363 w 363"/>
                    <a:gd name="T55" fmla="*/ 581 h 614"/>
                    <a:gd name="T56" fmla="*/ 358 w 363"/>
                    <a:gd name="T57" fmla="*/ 556 h 614"/>
                    <a:gd name="T58" fmla="*/ 332 w 363"/>
                    <a:gd name="T59" fmla="*/ 526 h 614"/>
                    <a:gd name="T60" fmla="*/ 313 w 363"/>
                    <a:gd name="T61" fmla="*/ 472 h 614"/>
                    <a:gd name="T62" fmla="*/ 294 w 363"/>
                    <a:gd name="T63" fmla="*/ 427 h 614"/>
                    <a:gd name="T64" fmla="*/ 289 w 363"/>
                    <a:gd name="T65" fmla="*/ 412 h 614"/>
                    <a:gd name="T66" fmla="*/ 276 w 363"/>
                    <a:gd name="T67" fmla="*/ 378 h 614"/>
                    <a:gd name="T68" fmla="*/ 304 w 363"/>
                    <a:gd name="T69" fmla="*/ 338 h 614"/>
                    <a:gd name="T70" fmla="*/ 312 w 363"/>
                    <a:gd name="T71" fmla="*/ 318 h 614"/>
                    <a:gd name="T72" fmla="*/ 317 w 363"/>
                    <a:gd name="T73" fmla="*/ 243 h 614"/>
                    <a:gd name="T74" fmla="*/ 261 w 363"/>
                    <a:gd name="T75" fmla="*/ 174 h 614"/>
                    <a:gd name="T76" fmla="*/ 336 w 363"/>
                    <a:gd name="T77" fmla="*/ 165 h 614"/>
                    <a:gd name="T78" fmla="*/ 304 w 363"/>
                    <a:gd name="T79" fmla="*/ 91 h 614"/>
                    <a:gd name="T80" fmla="*/ 296 w 363"/>
                    <a:gd name="T81" fmla="*/ 52 h 614"/>
                    <a:gd name="T82" fmla="*/ 280 w 363"/>
                    <a:gd name="T83" fmla="*/ 17 h 6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63" h="614">
                      <a:moveTo>
                        <a:pt x="280" y="17"/>
                      </a:moveTo>
                      <a:cubicBezTo>
                        <a:pt x="276" y="12"/>
                        <a:pt x="275" y="0"/>
                        <a:pt x="275" y="0"/>
                      </a:cubicBezTo>
                      <a:cubicBezTo>
                        <a:pt x="259" y="2"/>
                        <a:pt x="259" y="2"/>
                        <a:pt x="259" y="2"/>
                      </a:cubicBezTo>
                      <a:cubicBezTo>
                        <a:pt x="260" y="11"/>
                        <a:pt x="261" y="40"/>
                        <a:pt x="263" y="43"/>
                      </a:cubicBezTo>
                      <a:cubicBezTo>
                        <a:pt x="265" y="46"/>
                        <a:pt x="284" y="35"/>
                        <a:pt x="285" y="46"/>
                      </a:cubicBezTo>
                      <a:cubicBezTo>
                        <a:pt x="286" y="57"/>
                        <a:pt x="282" y="70"/>
                        <a:pt x="282" y="70"/>
                      </a:cubicBezTo>
                      <a:cubicBezTo>
                        <a:pt x="282" y="70"/>
                        <a:pt x="290" y="79"/>
                        <a:pt x="280" y="88"/>
                      </a:cubicBezTo>
                      <a:cubicBezTo>
                        <a:pt x="270" y="97"/>
                        <a:pt x="256" y="100"/>
                        <a:pt x="256" y="100"/>
                      </a:cubicBezTo>
                      <a:cubicBezTo>
                        <a:pt x="256" y="100"/>
                        <a:pt x="248" y="117"/>
                        <a:pt x="247" y="120"/>
                      </a:cubicBezTo>
                      <a:cubicBezTo>
                        <a:pt x="246" y="123"/>
                        <a:pt x="236" y="136"/>
                        <a:pt x="236" y="136"/>
                      </a:cubicBezTo>
                      <a:cubicBezTo>
                        <a:pt x="234" y="155"/>
                        <a:pt x="234" y="155"/>
                        <a:pt x="234" y="155"/>
                      </a:cubicBezTo>
                      <a:cubicBezTo>
                        <a:pt x="227" y="159"/>
                        <a:pt x="227" y="159"/>
                        <a:pt x="227" y="159"/>
                      </a:cubicBezTo>
                      <a:cubicBezTo>
                        <a:pt x="227" y="159"/>
                        <a:pt x="229" y="180"/>
                        <a:pt x="224" y="189"/>
                      </a:cubicBezTo>
                      <a:cubicBezTo>
                        <a:pt x="219" y="198"/>
                        <a:pt x="209" y="191"/>
                        <a:pt x="207" y="198"/>
                      </a:cubicBezTo>
                      <a:cubicBezTo>
                        <a:pt x="205" y="205"/>
                        <a:pt x="210" y="223"/>
                        <a:pt x="205" y="233"/>
                      </a:cubicBezTo>
                      <a:cubicBezTo>
                        <a:pt x="200" y="243"/>
                        <a:pt x="181" y="250"/>
                        <a:pt x="181" y="250"/>
                      </a:cubicBezTo>
                      <a:cubicBezTo>
                        <a:pt x="173" y="282"/>
                        <a:pt x="173" y="282"/>
                        <a:pt x="173" y="282"/>
                      </a:cubicBezTo>
                      <a:cubicBezTo>
                        <a:pt x="157" y="302"/>
                        <a:pt x="157" y="302"/>
                        <a:pt x="157" y="302"/>
                      </a:cubicBezTo>
                      <a:cubicBezTo>
                        <a:pt x="157" y="302"/>
                        <a:pt x="161" y="316"/>
                        <a:pt x="156" y="322"/>
                      </a:cubicBezTo>
                      <a:cubicBezTo>
                        <a:pt x="151" y="328"/>
                        <a:pt x="140" y="337"/>
                        <a:pt x="140" y="337"/>
                      </a:cubicBezTo>
                      <a:cubicBezTo>
                        <a:pt x="140" y="337"/>
                        <a:pt x="140" y="358"/>
                        <a:pt x="128" y="358"/>
                      </a:cubicBezTo>
                      <a:cubicBezTo>
                        <a:pt x="116" y="358"/>
                        <a:pt x="119" y="342"/>
                        <a:pt x="119" y="342"/>
                      </a:cubicBezTo>
                      <a:cubicBezTo>
                        <a:pt x="119" y="342"/>
                        <a:pt x="105" y="318"/>
                        <a:pt x="98" y="318"/>
                      </a:cubicBezTo>
                      <a:cubicBezTo>
                        <a:pt x="91" y="318"/>
                        <a:pt x="104" y="332"/>
                        <a:pt x="95" y="334"/>
                      </a:cubicBezTo>
                      <a:cubicBezTo>
                        <a:pt x="86" y="336"/>
                        <a:pt x="78" y="323"/>
                        <a:pt x="72" y="328"/>
                      </a:cubicBezTo>
                      <a:cubicBezTo>
                        <a:pt x="66" y="333"/>
                        <a:pt x="56" y="353"/>
                        <a:pt x="56" y="353"/>
                      </a:cubicBezTo>
                      <a:cubicBezTo>
                        <a:pt x="13" y="390"/>
                        <a:pt x="13" y="390"/>
                        <a:pt x="13" y="390"/>
                      </a:cubicBezTo>
                      <a:cubicBezTo>
                        <a:pt x="13" y="390"/>
                        <a:pt x="15" y="422"/>
                        <a:pt x="13" y="428"/>
                      </a:cubicBezTo>
                      <a:cubicBezTo>
                        <a:pt x="11" y="434"/>
                        <a:pt x="4" y="449"/>
                        <a:pt x="4" y="449"/>
                      </a:cubicBezTo>
                      <a:cubicBezTo>
                        <a:pt x="4" y="449"/>
                        <a:pt x="4" y="449"/>
                        <a:pt x="4" y="449"/>
                      </a:cubicBezTo>
                      <a:cubicBezTo>
                        <a:pt x="0" y="458"/>
                        <a:pt x="0" y="458"/>
                        <a:pt x="0" y="458"/>
                      </a:cubicBezTo>
                      <a:cubicBezTo>
                        <a:pt x="18" y="455"/>
                        <a:pt x="18" y="455"/>
                        <a:pt x="18" y="455"/>
                      </a:cubicBezTo>
                      <a:cubicBezTo>
                        <a:pt x="18" y="455"/>
                        <a:pt x="17" y="477"/>
                        <a:pt x="27" y="486"/>
                      </a:cubicBezTo>
                      <a:cubicBezTo>
                        <a:pt x="37" y="495"/>
                        <a:pt x="44" y="497"/>
                        <a:pt x="44" y="497"/>
                      </a:cubicBezTo>
                      <a:cubicBezTo>
                        <a:pt x="58" y="484"/>
                        <a:pt x="58" y="484"/>
                        <a:pt x="58" y="484"/>
                      </a:cubicBezTo>
                      <a:cubicBezTo>
                        <a:pt x="45" y="504"/>
                        <a:pt x="45" y="504"/>
                        <a:pt x="45" y="504"/>
                      </a:cubicBezTo>
                      <a:cubicBezTo>
                        <a:pt x="57" y="522"/>
                        <a:pt x="57" y="522"/>
                        <a:pt x="57" y="522"/>
                      </a:cubicBezTo>
                      <a:cubicBezTo>
                        <a:pt x="70" y="527"/>
                        <a:pt x="70" y="527"/>
                        <a:pt x="70" y="527"/>
                      </a:cubicBezTo>
                      <a:cubicBezTo>
                        <a:pt x="68" y="557"/>
                        <a:pt x="68" y="557"/>
                        <a:pt x="68" y="557"/>
                      </a:cubicBezTo>
                      <a:cubicBezTo>
                        <a:pt x="61" y="559"/>
                        <a:pt x="61" y="559"/>
                        <a:pt x="61" y="559"/>
                      </a:cubicBezTo>
                      <a:cubicBezTo>
                        <a:pt x="62" y="580"/>
                        <a:pt x="62" y="580"/>
                        <a:pt x="62" y="580"/>
                      </a:cubicBezTo>
                      <a:cubicBezTo>
                        <a:pt x="68" y="586"/>
                        <a:pt x="68" y="586"/>
                        <a:pt x="68" y="586"/>
                      </a:cubicBezTo>
                      <a:cubicBezTo>
                        <a:pt x="132" y="586"/>
                        <a:pt x="132" y="586"/>
                        <a:pt x="132" y="586"/>
                      </a:cubicBezTo>
                      <a:cubicBezTo>
                        <a:pt x="144" y="576"/>
                        <a:pt x="144" y="576"/>
                        <a:pt x="144" y="576"/>
                      </a:cubicBezTo>
                      <a:cubicBezTo>
                        <a:pt x="154" y="585"/>
                        <a:pt x="154" y="585"/>
                        <a:pt x="154" y="585"/>
                      </a:cubicBezTo>
                      <a:cubicBezTo>
                        <a:pt x="175" y="585"/>
                        <a:pt x="175" y="585"/>
                        <a:pt x="175" y="585"/>
                      </a:cubicBezTo>
                      <a:cubicBezTo>
                        <a:pt x="175" y="585"/>
                        <a:pt x="180" y="577"/>
                        <a:pt x="184" y="577"/>
                      </a:cubicBezTo>
                      <a:cubicBezTo>
                        <a:pt x="188" y="577"/>
                        <a:pt x="195" y="581"/>
                        <a:pt x="195" y="581"/>
                      </a:cubicBezTo>
                      <a:cubicBezTo>
                        <a:pt x="227" y="580"/>
                        <a:pt x="227" y="580"/>
                        <a:pt x="227" y="580"/>
                      </a:cubicBezTo>
                      <a:cubicBezTo>
                        <a:pt x="227" y="590"/>
                        <a:pt x="227" y="590"/>
                        <a:pt x="227" y="590"/>
                      </a:cubicBezTo>
                      <a:cubicBezTo>
                        <a:pt x="227" y="590"/>
                        <a:pt x="282" y="587"/>
                        <a:pt x="287" y="587"/>
                      </a:cubicBezTo>
                      <a:cubicBezTo>
                        <a:pt x="292" y="587"/>
                        <a:pt x="320" y="600"/>
                        <a:pt x="320" y="600"/>
                      </a:cubicBezTo>
                      <a:cubicBezTo>
                        <a:pt x="340" y="599"/>
                        <a:pt x="340" y="599"/>
                        <a:pt x="340" y="599"/>
                      </a:cubicBezTo>
                      <a:cubicBezTo>
                        <a:pt x="358" y="614"/>
                        <a:pt x="358" y="614"/>
                        <a:pt x="358" y="614"/>
                      </a:cubicBezTo>
                      <a:cubicBezTo>
                        <a:pt x="359" y="587"/>
                        <a:pt x="359" y="587"/>
                        <a:pt x="359" y="587"/>
                      </a:cubicBezTo>
                      <a:cubicBezTo>
                        <a:pt x="363" y="581"/>
                        <a:pt x="363" y="581"/>
                        <a:pt x="363" y="581"/>
                      </a:cubicBezTo>
                      <a:cubicBezTo>
                        <a:pt x="358" y="575"/>
                        <a:pt x="358" y="575"/>
                        <a:pt x="358" y="575"/>
                      </a:cubicBezTo>
                      <a:cubicBezTo>
                        <a:pt x="358" y="556"/>
                        <a:pt x="358" y="556"/>
                        <a:pt x="358" y="556"/>
                      </a:cubicBezTo>
                      <a:cubicBezTo>
                        <a:pt x="354" y="542"/>
                        <a:pt x="354" y="542"/>
                        <a:pt x="354" y="542"/>
                      </a:cubicBezTo>
                      <a:cubicBezTo>
                        <a:pt x="354" y="542"/>
                        <a:pt x="342" y="534"/>
                        <a:pt x="332" y="526"/>
                      </a:cubicBezTo>
                      <a:cubicBezTo>
                        <a:pt x="322" y="518"/>
                        <a:pt x="311" y="495"/>
                        <a:pt x="311" y="495"/>
                      </a:cubicBezTo>
                      <a:cubicBezTo>
                        <a:pt x="311" y="495"/>
                        <a:pt x="315" y="475"/>
                        <a:pt x="313" y="472"/>
                      </a:cubicBezTo>
                      <a:cubicBezTo>
                        <a:pt x="311" y="469"/>
                        <a:pt x="294" y="458"/>
                        <a:pt x="294" y="458"/>
                      </a:cubicBezTo>
                      <a:cubicBezTo>
                        <a:pt x="294" y="427"/>
                        <a:pt x="294" y="427"/>
                        <a:pt x="294" y="427"/>
                      </a:cubicBezTo>
                      <a:cubicBezTo>
                        <a:pt x="282" y="420"/>
                        <a:pt x="282" y="420"/>
                        <a:pt x="282" y="420"/>
                      </a:cubicBezTo>
                      <a:cubicBezTo>
                        <a:pt x="289" y="412"/>
                        <a:pt x="289" y="412"/>
                        <a:pt x="289" y="412"/>
                      </a:cubicBezTo>
                      <a:cubicBezTo>
                        <a:pt x="290" y="387"/>
                        <a:pt x="290" y="387"/>
                        <a:pt x="290" y="387"/>
                      </a:cubicBezTo>
                      <a:cubicBezTo>
                        <a:pt x="290" y="387"/>
                        <a:pt x="275" y="386"/>
                        <a:pt x="276" y="378"/>
                      </a:cubicBezTo>
                      <a:cubicBezTo>
                        <a:pt x="277" y="370"/>
                        <a:pt x="299" y="363"/>
                        <a:pt x="299" y="363"/>
                      </a:cubicBezTo>
                      <a:cubicBezTo>
                        <a:pt x="304" y="338"/>
                        <a:pt x="304" y="338"/>
                        <a:pt x="304" y="338"/>
                      </a:cubicBezTo>
                      <a:cubicBezTo>
                        <a:pt x="310" y="338"/>
                        <a:pt x="310" y="338"/>
                        <a:pt x="310" y="338"/>
                      </a:cubicBezTo>
                      <a:cubicBezTo>
                        <a:pt x="310" y="338"/>
                        <a:pt x="311" y="326"/>
                        <a:pt x="312" y="318"/>
                      </a:cubicBezTo>
                      <a:cubicBezTo>
                        <a:pt x="313" y="310"/>
                        <a:pt x="331" y="300"/>
                        <a:pt x="331" y="300"/>
                      </a:cubicBezTo>
                      <a:cubicBezTo>
                        <a:pt x="331" y="300"/>
                        <a:pt x="326" y="253"/>
                        <a:pt x="317" y="243"/>
                      </a:cubicBezTo>
                      <a:cubicBezTo>
                        <a:pt x="308" y="233"/>
                        <a:pt x="287" y="224"/>
                        <a:pt x="279" y="216"/>
                      </a:cubicBezTo>
                      <a:cubicBezTo>
                        <a:pt x="271" y="208"/>
                        <a:pt x="256" y="187"/>
                        <a:pt x="261" y="174"/>
                      </a:cubicBezTo>
                      <a:cubicBezTo>
                        <a:pt x="266" y="161"/>
                        <a:pt x="306" y="168"/>
                        <a:pt x="314" y="167"/>
                      </a:cubicBezTo>
                      <a:cubicBezTo>
                        <a:pt x="322" y="166"/>
                        <a:pt x="336" y="165"/>
                        <a:pt x="336" y="165"/>
                      </a:cubicBezTo>
                      <a:cubicBezTo>
                        <a:pt x="336" y="165"/>
                        <a:pt x="315" y="147"/>
                        <a:pt x="310" y="133"/>
                      </a:cubicBezTo>
                      <a:cubicBezTo>
                        <a:pt x="305" y="119"/>
                        <a:pt x="304" y="91"/>
                        <a:pt x="304" y="91"/>
                      </a:cubicBezTo>
                      <a:cubicBezTo>
                        <a:pt x="304" y="91"/>
                        <a:pt x="310" y="81"/>
                        <a:pt x="310" y="70"/>
                      </a:cubicBezTo>
                      <a:cubicBezTo>
                        <a:pt x="310" y="59"/>
                        <a:pt x="296" y="52"/>
                        <a:pt x="296" y="52"/>
                      </a:cubicBezTo>
                      <a:cubicBezTo>
                        <a:pt x="300" y="25"/>
                        <a:pt x="300" y="25"/>
                        <a:pt x="300" y="25"/>
                      </a:cubicBezTo>
                      <a:cubicBezTo>
                        <a:pt x="300" y="25"/>
                        <a:pt x="284" y="22"/>
                        <a:pt x="280" y="17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62" name="Burundi">
                  <a:extLst>
                    <a:ext uri="{FF2B5EF4-FFF2-40B4-BE49-F238E27FC236}">
                      <a16:creationId xmlns:a16="http://schemas.microsoft.com/office/drawing/2014/main" id="{E4716ADF-66DC-51A7-1B87-DD04BF17A06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40961" y="4226400"/>
                  <a:ext cx="141127" cy="150408"/>
                </a:xfrm>
                <a:custGeom>
                  <a:avLst/>
                  <a:gdLst>
                    <a:gd name="T0" fmla="*/ 21 w 87"/>
                    <a:gd name="T1" fmla="*/ 49 h 112"/>
                    <a:gd name="T2" fmla="*/ 19 w 87"/>
                    <a:gd name="T3" fmla="*/ 72 h 112"/>
                    <a:gd name="T4" fmla="*/ 25 w 87"/>
                    <a:gd name="T5" fmla="*/ 112 h 112"/>
                    <a:gd name="T6" fmla="*/ 45 w 87"/>
                    <a:gd name="T7" fmla="*/ 103 h 112"/>
                    <a:gd name="T8" fmla="*/ 61 w 87"/>
                    <a:gd name="T9" fmla="*/ 68 h 112"/>
                    <a:gd name="T10" fmla="*/ 80 w 87"/>
                    <a:gd name="T11" fmla="*/ 56 h 112"/>
                    <a:gd name="T12" fmla="*/ 78 w 87"/>
                    <a:gd name="T13" fmla="*/ 47 h 112"/>
                    <a:gd name="T14" fmla="*/ 86 w 87"/>
                    <a:gd name="T15" fmla="*/ 44 h 112"/>
                    <a:gd name="T16" fmla="*/ 87 w 87"/>
                    <a:gd name="T17" fmla="*/ 33 h 112"/>
                    <a:gd name="T18" fmla="*/ 65 w 87"/>
                    <a:gd name="T19" fmla="*/ 23 h 112"/>
                    <a:gd name="T20" fmla="*/ 71 w 87"/>
                    <a:gd name="T21" fmla="*/ 0 h 112"/>
                    <a:gd name="T22" fmla="*/ 77 w 87"/>
                    <a:gd name="T23" fmla="*/ 0 h 112"/>
                    <a:gd name="T24" fmla="*/ 74 w 87"/>
                    <a:gd name="T25" fmla="*/ 0 h 112"/>
                    <a:gd name="T26" fmla="*/ 44 w 87"/>
                    <a:gd name="T27" fmla="*/ 0 h 112"/>
                    <a:gd name="T28" fmla="*/ 39 w 87"/>
                    <a:gd name="T29" fmla="*/ 17 h 112"/>
                    <a:gd name="T30" fmla="*/ 22 w 87"/>
                    <a:gd name="T31" fmla="*/ 24 h 112"/>
                    <a:gd name="T32" fmla="*/ 9 w 87"/>
                    <a:gd name="T33" fmla="*/ 11 h 112"/>
                    <a:gd name="T34" fmla="*/ 0 w 87"/>
                    <a:gd name="T35" fmla="*/ 12 h 112"/>
                    <a:gd name="T36" fmla="*/ 6 w 87"/>
                    <a:gd name="T37" fmla="*/ 32 h 112"/>
                    <a:gd name="T38" fmla="*/ 21 w 87"/>
                    <a:gd name="T39" fmla="*/ 49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7" h="112">
                      <a:moveTo>
                        <a:pt x="21" y="49"/>
                      </a:moveTo>
                      <a:cubicBezTo>
                        <a:pt x="21" y="58"/>
                        <a:pt x="19" y="72"/>
                        <a:pt x="19" y="72"/>
                      </a:cubicBezTo>
                      <a:cubicBezTo>
                        <a:pt x="19" y="72"/>
                        <a:pt x="19" y="99"/>
                        <a:pt x="25" y="112"/>
                      </a:cubicBezTo>
                      <a:cubicBezTo>
                        <a:pt x="29" y="112"/>
                        <a:pt x="35" y="110"/>
                        <a:pt x="45" y="103"/>
                      </a:cubicBezTo>
                      <a:cubicBezTo>
                        <a:pt x="61" y="91"/>
                        <a:pt x="54" y="81"/>
                        <a:pt x="61" y="68"/>
                      </a:cubicBezTo>
                      <a:cubicBezTo>
                        <a:pt x="68" y="55"/>
                        <a:pt x="80" y="56"/>
                        <a:pt x="80" y="56"/>
                      </a:cubicBezTo>
                      <a:cubicBezTo>
                        <a:pt x="78" y="47"/>
                        <a:pt x="78" y="47"/>
                        <a:pt x="78" y="47"/>
                      </a:cubicBezTo>
                      <a:cubicBezTo>
                        <a:pt x="86" y="44"/>
                        <a:pt x="86" y="44"/>
                        <a:pt x="86" y="44"/>
                      </a:cubicBezTo>
                      <a:cubicBezTo>
                        <a:pt x="87" y="33"/>
                        <a:pt x="87" y="33"/>
                        <a:pt x="87" y="33"/>
                      </a:cubicBezTo>
                      <a:cubicBezTo>
                        <a:pt x="87" y="33"/>
                        <a:pt x="63" y="32"/>
                        <a:pt x="65" y="23"/>
                      </a:cubicBezTo>
                      <a:cubicBezTo>
                        <a:pt x="67" y="14"/>
                        <a:pt x="71" y="0"/>
                        <a:pt x="71" y="0"/>
                      </a:cubicBezTo>
                      <a:cubicBezTo>
                        <a:pt x="71" y="0"/>
                        <a:pt x="74" y="0"/>
                        <a:pt x="77" y="0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39" y="17"/>
                        <a:pt x="26" y="24"/>
                        <a:pt x="22" y="24"/>
                      </a:cubicBezTo>
                      <a:cubicBezTo>
                        <a:pt x="18" y="24"/>
                        <a:pt x="9" y="11"/>
                        <a:pt x="9" y="11"/>
                      </a:cubicBezTo>
                      <a:cubicBezTo>
                        <a:pt x="9" y="11"/>
                        <a:pt x="5" y="12"/>
                        <a:pt x="0" y="12"/>
                      </a:cubicBezTo>
                      <a:cubicBezTo>
                        <a:pt x="6" y="32"/>
                        <a:pt x="6" y="32"/>
                        <a:pt x="6" y="32"/>
                      </a:cubicBezTo>
                      <a:cubicBezTo>
                        <a:pt x="6" y="32"/>
                        <a:pt x="21" y="40"/>
                        <a:pt x="21" y="49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63" name="Burkina Faso">
                  <a:extLst>
                    <a:ext uri="{FF2B5EF4-FFF2-40B4-BE49-F238E27FC236}">
                      <a16:creationId xmlns:a16="http://schemas.microsoft.com/office/drawing/2014/main" id="{59940A85-FB77-9099-B9B3-AF9933BA18B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21915" y="2981787"/>
                  <a:ext cx="635074" cy="398578"/>
                </a:xfrm>
                <a:custGeom>
                  <a:avLst/>
                  <a:gdLst>
                    <a:gd name="T0" fmla="*/ 3 w 382"/>
                    <a:gd name="T1" fmla="*/ 246 h 300"/>
                    <a:gd name="T2" fmla="*/ 19 w 382"/>
                    <a:gd name="T3" fmla="*/ 256 h 300"/>
                    <a:gd name="T4" fmla="*/ 59 w 382"/>
                    <a:gd name="T5" fmla="*/ 293 h 300"/>
                    <a:gd name="T6" fmla="*/ 124 w 382"/>
                    <a:gd name="T7" fmla="*/ 300 h 300"/>
                    <a:gd name="T8" fmla="*/ 132 w 382"/>
                    <a:gd name="T9" fmla="*/ 299 h 300"/>
                    <a:gd name="T10" fmla="*/ 130 w 382"/>
                    <a:gd name="T11" fmla="*/ 245 h 300"/>
                    <a:gd name="T12" fmla="*/ 132 w 382"/>
                    <a:gd name="T13" fmla="*/ 219 h 300"/>
                    <a:gd name="T14" fmla="*/ 192 w 382"/>
                    <a:gd name="T15" fmla="*/ 219 h 300"/>
                    <a:gd name="T16" fmla="*/ 215 w 382"/>
                    <a:gd name="T17" fmla="*/ 219 h 300"/>
                    <a:gd name="T18" fmla="*/ 251 w 382"/>
                    <a:gd name="T19" fmla="*/ 212 h 300"/>
                    <a:gd name="T20" fmla="*/ 276 w 382"/>
                    <a:gd name="T21" fmla="*/ 215 h 300"/>
                    <a:gd name="T22" fmla="*/ 305 w 382"/>
                    <a:gd name="T23" fmla="*/ 221 h 300"/>
                    <a:gd name="T24" fmla="*/ 318 w 382"/>
                    <a:gd name="T25" fmla="*/ 214 h 300"/>
                    <a:gd name="T26" fmla="*/ 357 w 382"/>
                    <a:gd name="T27" fmla="*/ 197 h 300"/>
                    <a:gd name="T28" fmla="*/ 373 w 382"/>
                    <a:gd name="T29" fmla="*/ 183 h 300"/>
                    <a:gd name="T30" fmla="*/ 382 w 382"/>
                    <a:gd name="T31" fmla="*/ 170 h 300"/>
                    <a:gd name="T32" fmla="*/ 360 w 382"/>
                    <a:gd name="T33" fmla="*/ 145 h 300"/>
                    <a:gd name="T34" fmla="*/ 364 w 382"/>
                    <a:gd name="T35" fmla="*/ 126 h 300"/>
                    <a:gd name="T36" fmla="*/ 310 w 382"/>
                    <a:gd name="T37" fmla="*/ 104 h 300"/>
                    <a:gd name="T38" fmla="*/ 312 w 382"/>
                    <a:gd name="T39" fmla="*/ 87 h 300"/>
                    <a:gd name="T40" fmla="*/ 289 w 382"/>
                    <a:gd name="T41" fmla="*/ 72 h 300"/>
                    <a:gd name="T42" fmla="*/ 277 w 382"/>
                    <a:gd name="T43" fmla="*/ 32 h 300"/>
                    <a:gd name="T44" fmla="*/ 260 w 382"/>
                    <a:gd name="T45" fmla="*/ 2 h 300"/>
                    <a:gd name="T46" fmla="*/ 215 w 382"/>
                    <a:gd name="T47" fmla="*/ 12 h 300"/>
                    <a:gd name="T48" fmla="*/ 190 w 382"/>
                    <a:gd name="T49" fmla="*/ 28 h 300"/>
                    <a:gd name="T50" fmla="*/ 169 w 382"/>
                    <a:gd name="T51" fmla="*/ 50 h 300"/>
                    <a:gd name="T52" fmla="*/ 125 w 382"/>
                    <a:gd name="T53" fmla="*/ 72 h 300"/>
                    <a:gd name="T54" fmla="*/ 112 w 382"/>
                    <a:gd name="T55" fmla="*/ 96 h 300"/>
                    <a:gd name="T56" fmla="*/ 76 w 382"/>
                    <a:gd name="T57" fmla="*/ 82 h 300"/>
                    <a:gd name="T58" fmla="*/ 69 w 382"/>
                    <a:gd name="T59" fmla="*/ 121 h 300"/>
                    <a:gd name="T60" fmla="*/ 57 w 382"/>
                    <a:gd name="T61" fmla="*/ 145 h 300"/>
                    <a:gd name="T62" fmla="*/ 48 w 382"/>
                    <a:gd name="T63" fmla="*/ 161 h 300"/>
                    <a:gd name="T64" fmla="*/ 8 w 382"/>
                    <a:gd name="T65" fmla="*/ 173 h 300"/>
                    <a:gd name="T66" fmla="*/ 15 w 382"/>
                    <a:gd name="T67" fmla="*/ 209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82" h="300">
                      <a:moveTo>
                        <a:pt x="0" y="209"/>
                      </a:moveTo>
                      <a:cubicBezTo>
                        <a:pt x="3" y="246"/>
                        <a:pt x="3" y="246"/>
                        <a:pt x="3" y="246"/>
                      </a:cubicBezTo>
                      <a:cubicBezTo>
                        <a:pt x="6" y="260"/>
                        <a:pt x="6" y="260"/>
                        <a:pt x="6" y="260"/>
                      </a:cubicBezTo>
                      <a:cubicBezTo>
                        <a:pt x="19" y="256"/>
                        <a:pt x="19" y="256"/>
                        <a:pt x="19" y="256"/>
                      </a:cubicBezTo>
                      <a:cubicBezTo>
                        <a:pt x="19" y="256"/>
                        <a:pt x="29" y="287"/>
                        <a:pt x="39" y="288"/>
                      </a:cubicBezTo>
                      <a:cubicBezTo>
                        <a:pt x="49" y="289"/>
                        <a:pt x="59" y="293"/>
                        <a:pt x="59" y="293"/>
                      </a:cubicBezTo>
                      <a:cubicBezTo>
                        <a:pt x="59" y="293"/>
                        <a:pt x="70" y="271"/>
                        <a:pt x="100" y="275"/>
                      </a:cubicBezTo>
                      <a:cubicBezTo>
                        <a:pt x="130" y="279"/>
                        <a:pt x="124" y="300"/>
                        <a:pt x="124" y="300"/>
                      </a:cubicBezTo>
                      <a:cubicBezTo>
                        <a:pt x="136" y="298"/>
                        <a:pt x="136" y="298"/>
                        <a:pt x="136" y="298"/>
                      </a:cubicBezTo>
                      <a:cubicBezTo>
                        <a:pt x="132" y="299"/>
                        <a:pt x="132" y="299"/>
                        <a:pt x="132" y="299"/>
                      </a:cubicBezTo>
                      <a:cubicBezTo>
                        <a:pt x="131" y="263"/>
                        <a:pt x="131" y="263"/>
                        <a:pt x="131" y="263"/>
                      </a:cubicBezTo>
                      <a:cubicBezTo>
                        <a:pt x="130" y="245"/>
                        <a:pt x="130" y="245"/>
                        <a:pt x="130" y="245"/>
                      </a:cubicBezTo>
                      <a:cubicBezTo>
                        <a:pt x="130" y="245"/>
                        <a:pt x="124" y="244"/>
                        <a:pt x="124" y="236"/>
                      </a:cubicBezTo>
                      <a:cubicBezTo>
                        <a:pt x="124" y="228"/>
                        <a:pt x="132" y="219"/>
                        <a:pt x="132" y="219"/>
                      </a:cubicBezTo>
                      <a:cubicBezTo>
                        <a:pt x="187" y="222"/>
                        <a:pt x="187" y="222"/>
                        <a:pt x="187" y="222"/>
                      </a:cubicBezTo>
                      <a:cubicBezTo>
                        <a:pt x="192" y="219"/>
                        <a:pt x="192" y="219"/>
                        <a:pt x="192" y="219"/>
                      </a:cubicBezTo>
                      <a:cubicBezTo>
                        <a:pt x="204" y="222"/>
                        <a:pt x="204" y="222"/>
                        <a:pt x="204" y="222"/>
                      </a:cubicBezTo>
                      <a:cubicBezTo>
                        <a:pt x="215" y="219"/>
                        <a:pt x="215" y="219"/>
                        <a:pt x="215" y="219"/>
                      </a:cubicBezTo>
                      <a:cubicBezTo>
                        <a:pt x="235" y="222"/>
                        <a:pt x="235" y="222"/>
                        <a:pt x="235" y="222"/>
                      </a:cubicBezTo>
                      <a:cubicBezTo>
                        <a:pt x="251" y="212"/>
                        <a:pt x="251" y="212"/>
                        <a:pt x="251" y="212"/>
                      </a:cubicBezTo>
                      <a:cubicBezTo>
                        <a:pt x="265" y="216"/>
                        <a:pt x="265" y="216"/>
                        <a:pt x="265" y="216"/>
                      </a:cubicBezTo>
                      <a:cubicBezTo>
                        <a:pt x="276" y="215"/>
                        <a:pt x="276" y="215"/>
                        <a:pt x="276" y="215"/>
                      </a:cubicBezTo>
                      <a:cubicBezTo>
                        <a:pt x="291" y="222"/>
                        <a:pt x="291" y="222"/>
                        <a:pt x="291" y="222"/>
                      </a:cubicBezTo>
                      <a:cubicBezTo>
                        <a:pt x="305" y="221"/>
                        <a:pt x="305" y="221"/>
                        <a:pt x="305" y="221"/>
                      </a:cubicBezTo>
                      <a:cubicBezTo>
                        <a:pt x="310" y="214"/>
                        <a:pt x="310" y="214"/>
                        <a:pt x="310" y="214"/>
                      </a:cubicBezTo>
                      <a:cubicBezTo>
                        <a:pt x="318" y="214"/>
                        <a:pt x="318" y="214"/>
                        <a:pt x="318" y="214"/>
                      </a:cubicBezTo>
                      <a:cubicBezTo>
                        <a:pt x="318" y="214"/>
                        <a:pt x="320" y="200"/>
                        <a:pt x="331" y="195"/>
                      </a:cubicBezTo>
                      <a:cubicBezTo>
                        <a:pt x="331" y="196"/>
                        <a:pt x="357" y="197"/>
                        <a:pt x="357" y="197"/>
                      </a:cubicBezTo>
                      <a:cubicBezTo>
                        <a:pt x="357" y="197"/>
                        <a:pt x="358" y="190"/>
                        <a:pt x="362" y="187"/>
                      </a:cubicBezTo>
                      <a:cubicBezTo>
                        <a:pt x="366" y="184"/>
                        <a:pt x="373" y="183"/>
                        <a:pt x="373" y="183"/>
                      </a:cubicBezTo>
                      <a:cubicBezTo>
                        <a:pt x="376" y="172"/>
                        <a:pt x="376" y="172"/>
                        <a:pt x="376" y="172"/>
                      </a:cubicBezTo>
                      <a:cubicBezTo>
                        <a:pt x="382" y="170"/>
                        <a:pt x="382" y="170"/>
                        <a:pt x="382" y="170"/>
                      </a:cubicBezTo>
                      <a:cubicBezTo>
                        <a:pt x="375" y="167"/>
                        <a:pt x="375" y="167"/>
                        <a:pt x="375" y="167"/>
                      </a:cubicBezTo>
                      <a:cubicBezTo>
                        <a:pt x="360" y="145"/>
                        <a:pt x="360" y="145"/>
                        <a:pt x="360" y="145"/>
                      </a:cubicBezTo>
                      <a:cubicBezTo>
                        <a:pt x="375" y="140"/>
                        <a:pt x="375" y="140"/>
                        <a:pt x="375" y="140"/>
                      </a:cubicBezTo>
                      <a:cubicBezTo>
                        <a:pt x="375" y="140"/>
                        <a:pt x="373" y="130"/>
                        <a:pt x="364" y="126"/>
                      </a:cubicBezTo>
                      <a:cubicBezTo>
                        <a:pt x="355" y="122"/>
                        <a:pt x="356" y="131"/>
                        <a:pt x="344" y="131"/>
                      </a:cubicBezTo>
                      <a:cubicBezTo>
                        <a:pt x="332" y="131"/>
                        <a:pt x="313" y="109"/>
                        <a:pt x="310" y="104"/>
                      </a:cubicBezTo>
                      <a:cubicBezTo>
                        <a:pt x="307" y="99"/>
                        <a:pt x="322" y="88"/>
                        <a:pt x="322" y="88"/>
                      </a:cubicBezTo>
                      <a:cubicBezTo>
                        <a:pt x="312" y="87"/>
                        <a:pt x="312" y="87"/>
                        <a:pt x="312" y="87"/>
                      </a:cubicBezTo>
                      <a:cubicBezTo>
                        <a:pt x="311" y="78"/>
                        <a:pt x="311" y="78"/>
                        <a:pt x="311" y="78"/>
                      </a:cubicBezTo>
                      <a:cubicBezTo>
                        <a:pt x="311" y="78"/>
                        <a:pt x="299" y="79"/>
                        <a:pt x="289" y="72"/>
                      </a:cubicBezTo>
                      <a:cubicBezTo>
                        <a:pt x="279" y="65"/>
                        <a:pt x="280" y="41"/>
                        <a:pt x="280" y="41"/>
                      </a:cubicBezTo>
                      <a:cubicBezTo>
                        <a:pt x="277" y="32"/>
                        <a:pt x="277" y="32"/>
                        <a:pt x="277" y="32"/>
                      </a:cubicBezTo>
                      <a:cubicBezTo>
                        <a:pt x="276" y="9"/>
                        <a:pt x="276" y="9"/>
                        <a:pt x="276" y="9"/>
                      </a:cubicBezTo>
                      <a:cubicBezTo>
                        <a:pt x="260" y="2"/>
                        <a:pt x="260" y="2"/>
                        <a:pt x="260" y="2"/>
                      </a:cubicBezTo>
                      <a:cubicBezTo>
                        <a:pt x="227" y="0"/>
                        <a:pt x="227" y="0"/>
                        <a:pt x="227" y="0"/>
                      </a:cubicBezTo>
                      <a:cubicBezTo>
                        <a:pt x="227" y="0"/>
                        <a:pt x="225" y="8"/>
                        <a:pt x="215" y="12"/>
                      </a:cubicBezTo>
                      <a:cubicBezTo>
                        <a:pt x="205" y="16"/>
                        <a:pt x="201" y="14"/>
                        <a:pt x="201" y="14"/>
                      </a:cubicBezTo>
                      <a:cubicBezTo>
                        <a:pt x="190" y="28"/>
                        <a:pt x="190" y="28"/>
                        <a:pt x="190" y="28"/>
                      </a:cubicBezTo>
                      <a:cubicBezTo>
                        <a:pt x="173" y="28"/>
                        <a:pt x="173" y="28"/>
                        <a:pt x="173" y="28"/>
                      </a:cubicBezTo>
                      <a:cubicBezTo>
                        <a:pt x="173" y="28"/>
                        <a:pt x="172" y="49"/>
                        <a:pt x="169" y="50"/>
                      </a:cubicBezTo>
                      <a:cubicBezTo>
                        <a:pt x="166" y="51"/>
                        <a:pt x="154" y="39"/>
                        <a:pt x="148" y="41"/>
                      </a:cubicBezTo>
                      <a:cubicBezTo>
                        <a:pt x="142" y="43"/>
                        <a:pt x="125" y="72"/>
                        <a:pt x="125" y="72"/>
                      </a:cubicBezTo>
                      <a:cubicBezTo>
                        <a:pt x="112" y="72"/>
                        <a:pt x="112" y="72"/>
                        <a:pt x="112" y="72"/>
                      </a:cubicBezTo>
                      <a:cubicBezTo>
                        <a:pt x="112" y="96"/>
                        <a:pt x="112" y="96"/>
                        <a:pt x="112" y="96"/>
                      </a:cubicBezTo>
                      <a:cubicBezTo>
                        <a:pt x="97" y="101"/>
                        <a:pt x="97" y="101"/>
                        <a:pt x="97" y="101"/>
                      </a:cubicBezTo>
                      <a:cubicBezTo>
                        <a:pt x="76" y="82"/>
                        <a:pt x="76" y="82"/>
                        <a:pt x="76" y="82"/>
                      </a:cubicBezTo>
                      <a:cubicBezTo>
                        <a:pt x="63" y="102"/>
                        <a:pt x="63" y="102"/>
                        <a:pt x="63" y="102"/>
                      </a:cubicBezTo>
                      <a:cubicBezTo>
                        <a:pt x="63" y="102"/>
                        <a:pt x="71" y="116"/>
                        <a:pt x="69" y="121"/>
                      </a:cubicBezTo>
                      <a:cubicBezTo>
                        <a:pt x="67" y="126"/>
                        <a:pt x="55" y="124"/>
                        <a:pt x="55" y="124"/>
                      </a:cubicBezTo>
                      <a:cubicBezTo>
                        <a:pt x="55" y="124"/>
                        <a:pt x="60" y="141"/>
                        <a:pt x="57" y="145"/>
                      </a:cubicBezTo>
                      <a:cubicBezTo>
                        <a:pt x="54" y="149"/>
                        <a:pt x="47" y="150"/>
                        <a:pt x="47" y="150"/>
                      </a:cubicBezTo>
                      <a:cubicBezTo>
                        <a:pt x="47" y="150"/>
                        <a:pt x="60" y="160"/>
                        <a:pt x="48" y="161"/>
                      </a:cubicBezTo>
                      <a:cubicBezTo>
                        <a:pt x="36" y="162"/>
                        <a:pt x="21" y="165"/>
                        <a:pt x="21" y="165"/>
                      </a:cubicBezTo>
                      <a:cubicBezTo>
                        <a:pt x="8" y="173"/>
                        <a:pt x="8" y="173"/>
                        <a:pt x="8" y="173"/>
                      </a:cubicBezTo>
                      <a:cubicBezTo>
                        <a:pt x="23" y="194"/>
                        <a:pt x="23" y="194"/>
                        <a:pt x="23" y="194"/>
                      </a:cubicBezTo>
                      <a:cubicBezTo>
                        <a:pt x="15" y="209"/>
                        <a:pt x="15" y="209"/>
                        <a:pt x="15" y="209"/>
                      </a:cubicBezTo>
                      <a:lnTo>
                        <a:pt x="0" y="20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64" name="Botswana">
                  <a:extLst>
                    <a:ext uri="{FF2B5EF4-FFF2-40B4-BE49-F238E27FC236}">
                      <a16:creationId xmlns:a16="http://schemas.microsoft.com/office/drawing/2014/main" id="{34F8EF4A-7A12-AF48-2F14-0D20562886E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307117" y="5324374"/>
                  <a:ext cx="719751" cy="646751"/>
                </a:xfrm>
                <a:custGeom>
                  <a:avLst/>
                  <a:gdLst>
                    <a:gd name="T0" fmla="*/ 0 w 433"/>
                    <a:gd name="T1" fmla="*/ 377 h 490"/>
                    <a:gd name="T2" fmla="*/ 22 w 433"/>
                    <a:gd name="T3" fmla="*/ 394 h 490"/>
                    <a:gd name="T4" fmla="*/ 30 w 433"/>
                    <a:gd name="T5" fmla="*/ 423 h 490"/>
                    <a:gd name="T6" fmla="*/ 37 w 433"/>
                    <a:gd name="T7" fmla="*/ 443 h 490"/>
                    <a:gd name="T8" fmla="*/ 27 w 433"/>
                    <a:gd name="T9" fmla="*/ 465 h 490"/>
                    <a:gd name="T10" fmla="*/ 27 w 433"/>
                    <a:gd name="T11" fmla="*/ 487 h 490"/>
                    <a:gd name="T12" fmla="*/ 78 w 433"/>
                    <a:gd name="T13" fmla="*/ 485 h 490"/>
                    <a:gd name="T14" fmla="*/ 83 w 433"/>
                    <a:gd name="T15" fmla="*/ 473 h 490"/>
                    <a:gd name="T16" fmla="*/ 97 w 433"/>
                    <a:gd name="T17" fmla="*/ 474 h 490"/>
                    <a:gd name="T18" fmla="*/ 106 w 433"/>
                    <a:gd name="T19" fmla="*/ 454 h 490"/>
                    <a:gd name="T20" fmla="*/ 124 w 433"/>
                    <a:gd name="T21" fmla="*/ 446 h 490"/>
                    <a:gd name="T22" fmla="*/ 142 w 433"/>
                    <a:gd name="T23" fmla="*/ 401 h 490"/>
                    <a:gd name="T24" fmla="*/ 171 w 433"/>
                    <a:gd name="T25" fmla="*/ 413 h 490"/>
                    <a:gd name="T26" fmla="*/ 181 w 433"/>
                    <a:gd name="T27" fmla="*/ 423 h 490"/>
                    <a:gd name="T28" fmla="*/ 198 w 433"/>
                    <a:gd name="T29" fmla="*/ 424 h 490"/>
                    <a:gd name="T30" fmla="*/ 223 w 433"/>
                    <a:gd name="T31" fmla="*/ 433 h 490"/>
                    <a:gd name="T32" fmla="*/ 236 w 433"/>
                    <a:gd name="T33" fmla="*/ 426 h 490"/>
                    <a:gd name="T34" fmla="*/ 255 w 433"/>
                    <a:gd name="T35" fmla="*/ 426 h 490"/>
                    <a:gd name="T36" fmla="*/ 270 w 433"/>
                    <a:gd name="T37" fmla="*/ 386 h 490"/>
                    <a:gd name="T38" fmla="*/ 284 w 433"/>
                    <a:gd name="T39" fmla="*/ 374 h 490"/>
                    <a:gd name="T40" fmla="*/ 295 w 433"/>
                    <a:gd name="T41" fmla="*/ 371 h 490"/>
                    <a:gd name="T42" fmla="*/ 318 w 433"/>
                    <a:gd name="T43" fmla="*/ 347 h 490"/>
                    <a:gd name="T44" fmla="*/ 329 w 433"/>
                    <a:gd name="T45" fmla="*/ 311 h 490"/>
                    <a:gd name="T46" fmla="*/ 353 w 433"/>
                    <a:gd name="T47" fmla="*/ 298 h 490"/>
                    <a:gd name="T48" fmla="*/ 383 w 433"/>
                    <a:gd name="T49" fmla="*/ 259 h 490"/>
                    <a:gd name="T50" fmla="*/ 412 w 433"/>
                    <a:gd name="T51" fmla="*/ 252 h 490"/>
                    <a:gd name="T52" fmla="*/ 420 w 433"/>
                    <a:gd name="T53" fmla="*/ 236 h 490"/>
                    <a:gd name="T54" fmla="*/ 433 w 433"/>
                    <a:gd name="T55" fmla="*/ 235 h 490"/>
                    <a:gd name="T56" fmla="*/ 414 w 433"/>
                    <a:gd name="T57" fmla="*/ 210 h 490"/>
                    <a:gd name="T58" fmla="*/ 375 w 433"/>
                    <a:gd name="T59" fmla="*/ 202 h 490"/>
                    <a:gd name="T60" fmla="*/ 375 w 433"/>
                    <a:gd name="T61" fmla="*/ 187 h 490"/>
                    <a:gd name="T62" fmla="*/ 363 w 433"/>
                    <a:gd name="T63" fmla="*/ 182 h 490"/>
                    <a:gd name="T64" fmla="*/ 363 w 433"/>
                    <a:gd name="T65" fmla="*/ 164 h 490"/>
                    <a:gd name="T66" fmla="*/ 367 w 433"/>
                    <a:gd name="T67" fmla="*/ 159 h 490"/>
                    <a:gd name="T68" fmla="*/ 365 w 433"/>
                    <a:gd name="T69" fmla="*/ 144 h 490"/>
                    <a:gd name="T70" fmla="*/ 344 w 433"/>
                    <a:gd name="T71" fmla="*/ 143 h 490"/>
                    <a:gd name="T72" fmla="*/ 343 w 433"/>
                    <a:gd name="T73" fmla="*/ 121 h 490"/>
                    <a:gd name="T74" fmla="*/ 323 w 433"/>
                    <a:gd name="T75" fmla="*/ 117 h 490"/>
                    <a:gd name="T76" fmla="*/ 295 w 433"/>
                    <a:gd name="T77" fmla="*/ 96 h 490"/>
                    <a:gd name="T78" fmla="*/ 286 w 433"/>
                    <a:gd name="T79" fmla="*/ 64 h 490"/>
                    <a:gd name="T80" fmla="*/ 276 w 433"/>
                    <a:gd name="T81" fmla="*/ 43 h 490"/>
                    <a:gd name="T82" fmla="*/ 264 w 433"/>
                    <a:gd name="T83" fmla="*/ 39 h 490"/>
                    <a:gd name="T84" fmla="*/ 264 w 433"/>
                    <a:gd name="T85" fmla="*/ 19 h 490"/>
                    <a:gd name="T86" fmla="*/ 255 w 433"/>
                    <a:gd name="T87" fmla="*/ 10 h 490"/>
                    <a:gd name="T88" fmla="*/ 253 w 433"/>
                    <a:gd name="T89" fmla="*/ 0 h 490"/>
                    <a:gd name="T90" fmla="*/ 230 w 433"/>
                    <a:gd name="T91" fmla="*/ 2 h 490"/>
                    <a:gd name="T92" fmla="*/ 219 w 433"/>
                    <a:gd name="T93" fmla="*/ 10 h 490"/>
                    <a:gd name="T94" fmla="*/ 211 w 433"/>
                    <a:gd name="T95" fmla="*/ 10 h 490"/>
                    <a:gd name="T96" fmla="*/ 195 w 433"/>
                    <a:gd name="T97" fmla="*/ 18 h 490"/>
                    <a:gd name="T98" fmla="*/ 177 w 433"/>
                    <a:gd name="T99" fmla="*/ 37 h 490"/>
                    <a:gd name="T100" fmla="*/ 172 w 433"/>
                    <a:gd name="T101" fmla="*/ 24 h 490"/>
                    <a:gd name="T102" fmla="*/ 166 w 433"/>
                    <a:gd name="T103" fmla="*/ 24 h 490"/>
                    <a:gd name="T104" fmla="*/ 159 w 433"/>
                    <a:gd name="T105" fmla="*/ 10 h 490"/>
                    <a:gd name="T106" fmla="*/ 114 w 433"/>
                    <a:gd name="T107" fmla="*/ 20 h 490"/>
                    <a:gd name="T108" fmla="*/ 53 w 433"/>
                    <a:gd name="T109" fmla="*/ 26 h 490"/>
                    <a:gd name="T110" fmla="*/ 53 w 433"/>
                    <a:gd name="T111" fmla="*/ 143 h 490"/>
                    <a:gd name="T112" fmla="*/ 49 w 433"/>
                    <a:gd name="T113" fmla="*/ 147 h 490"/>
                    <a:gd name="T114" fmla="*/ 50 w 433"/>
                    <a:gd name="T115" fmla="*/ 228 h 490"/>
                    <a:gd name="T116" fmla="*/ 2 w 433"/>
                    <a:gd name="T117" fmla="*/ 228 h 490"/>
                    <a:gd name="T118" fmla="*/ 0 w 433"/>
                    <a:gd name="T119" fmla="*/ 377 h 4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433" h="490">
                      <a:moveTo>
                        <a:pt x="0" y="377"/>
                      </a:moveTo>
                      <a:cubicBezTo>
                        <a:pt x="9" y="381"/>
                        <a:pt x="18" y="386"/>
                        <a:pt x="22" y="394"/>
                      </a:cubicBezTo>
                      <a:cubicBezTo>
                        <a:pt x="31" y="413"/>
                        <a:pt x="30" y="423"/>
                        <a:pt x="30" y="423"/>
                      </a:cubicBezTo>
                      <a:cubicBezTo>
                        <a:pt x="30" y="423"/>
                        <a:pt x="39" y="434"/>
                        <a:pt x="37" y="443"/>
                      </a:cubicBezTo>
                      <a:cubicBezTo>
                        <a:pt x="35" y="452"/>
                        <a:pt x="27" y="465"/>
                        <a:pt x="27" y="465"/>
                      </a:cubicBezTo>
                      <a:cubicBezTo>
                        <a:pt x="27" y="465"/>
                        <a:pt x="22" y="484"/>
                        <a:pt x="27" y="487"/>
                      </a:cubicBezTo>
                      <a:cubicBezTo>
                        <a:pt x="32" y="490"/>
                        <a:pt x="78" y="485"/>
                        <a:pt x="78" y="485"/>
                      </a:cubicBezTo>
                      <a:cubicBezTo>
                        <a:pt x="78" y="485"/>
                        <a:pt x="79" y="474"/>
                        <a:pt x="83" y="473"/>
                      </a:cubicBezTo>
                      <a:cubicBezTo>
                        <a:pt x="87" y="472"/>
                        <a:pt x="97" y="474"/>
                        <a:pt x="97" y="474"/>
                      </a:cubicBezTo>
                      <a:cubicBezTo>
                        <a:pt x="97" y="474"/>
                        <a:pt x="99" y="457"/>
                        <a:pt x="106" y="454"/>
                      </a:cubicBezTo>
                      <a:cubicBezTo>
                        <a:pt x="113" y="451"/>
                        <a:pt x="124" y="453"/>
                        <a:pt x="124" y="446"/>
                      </a:cubicBezTo>
                      <a:cubicBezTo>
                        <a:pt x="124" y="439"/>
                        <a:pt x="129" y="401"/>
                        <a:pt x="142" y="401"/>
                      </a:cubicBezTo>
                      <a:cubicBezTo>
                        <a:pt x="155" y="401"/>
                        <a:pt x="171" y="413"/>
                        <a:pt x="171" y="413"/>
                      </a:cubicBezTo>
                      <a:cubicBezTo>
                        <a:pt x="181" y="423"/>
                        <a:pt x="181" y="423"/>
                        <a:pt x="181" y="423"/>
                      </a:cubicBezTo>
                      <a:cubicBezTo>
                        <a:pt x="198" y="424"/>
                        <a:pt x="198" y="424"/>
                        <a:pt x="198" y="424"/>
                      </a:cubicBezTo>
                      <a:cubicBezTo>
                        <a:pt x="198" y="424"/>
                        <a:pt x="213" y="435"/>
                        <a:pt x="223" y="433"/>
                      </a:cubicBezTo>
                      <a:cubicBezTo>
                        <a:pt x="233" y="431"/>
                        <a:pt x="236" y="426"/>
                        <a:pt x="236" y="426"/>
                      </a:cubicBezTo>
                      <a:cubicBezTo>
                        <a:pt x="236" y="426"/>
                        <a:pt x="244" y="433"/>
                        <a:pt x="255" y="426"/>
                      </a:cubicBezTo>
                      <a:cubicBezTo>
                        <a:pt x="266" y="419"/>
                        <a:pt x="270" y="386"/>
                        <a:pt x="270" y="386"/>
                      </a:cubicBezTo>
                      <a:cubicBezTo>
                        <a:pt x="284" y="374"/>
                        <a:pt x="284" y="374"/>
                        <a:pt x="284" y="374"/>
                      </a:cubicBezTo>
                      <a:cubicBezTo>
                        <a:pt x="295" y="371"/>
                        <a:pt x="295" y="371"/>
                        <a:pt x="295" y="371"/>
                      </a:cubicBezTo>
                      <a:cubicBezTo>
                        <a:pt x="295" y="371"/>
                        <a:pt x="318" y="353"/>
                        <a:pt x="318" y="347"/>
                      </a:cubicBezTo>
                      <a:cubicBezTo>
                        <a:pt x="318" y="341"/>
                        <a:pt x="319" y="318"/>
                        <a:pt x="329" y="311"/>
                      </a:cubicBezTo>
                      <a:cubicBezTo>
                        <a:pt x="339" y="304"/>
                        <a:pt x="342" y="305"/>
                        <a:pt x="353" y="298"/>
                      </a:cubicBezTo>
                      <a:cubicBezTo>
                        <a:pt x="364" y="291"/>
                        <a:pt x="378" y="265"/>
                        <a:pt x="383" y="259"/>
                      </a:cubicBezTo>
                      <a:cubicBezTo>
                        <a:pt x="388" y="253"/>
                        <a:pt x="412" y="252"/>
                        <a:pt x="412" y="252"/>
                      </a:cubicBezTo>
                      <a:cubicBezTo>
                        <a:pt x="420" y="236"/>
                        <a:pt x="420" y="236"/>
                        <a:pt x="420" y="236"/>
                      </a:cubicBezTo>
                      <a:cubicBezTo>
                        <a:pt x="433" y="235"/>
                        <a:pt x="433" y="235"/>
                        <a:pt x="433" y="235"/>
                      </a:cubicBezTo>
                      <a:cubicBezTo>
                        <a:pt x="430" y="228"/>
                        <a:pt x="424" y="214"/>
                        <a:pt x="414" y="210"/>
                      </a:cubicBezTo>
                      <a:cubicBezTo>
                        <a:pt x="401" y="205"/>
                        <a:pt x="375" y="202"/>
                        <a:pt x="375" y="202"/>
                      </a:cubicBezTo>
                      <a:cubicBezTo>
                        <a:pt x="375" y="202"/>
                        <a:pt x="375" y="194"/>
                        <a:pt x="375" y="187"/>
                      </a:cubicBezTo>
                      <a:cubicBezTo>
                        <a:pt x="375" y="180"/>
                        <a:pt x="363" y="182"/>
                        <a:pt x="363" y="182"/>
                      </a:cubicBezTo>
                      <a:cubicBezTo>
                        <a:pt x="363" y="164"/>
                        <a:pt x="363" y="164"/>
                        <a:pt x="363" y="164"/>
                      </a:cubicBezTo>
                      <a:cubicBezTo>
                        <a:pt x="367" y="159"/>
                        <a:pt x="367" y="159"/>
                        <a:pt x="367" y="159"/>
                      </a:cubicBezTo>
                      <a:cubicBezTo>
                        <a:pt x="365" y="144"/>
                        <a:pt x="365" y="144"/>
                        <a:pt x="365" y="144"/>
                      </a:cubicBezTo>
                      <a:cubicBezTo>
                        <a:pt x="344" y="143"/>
                        <a:pt x="344" y="143"/>
                        <a:pt x="344" y="143"/>
                      </a:cubicBezTo>
                      <a:cubicBezTo>
                        <a:pt x="344" y="143"/>
                        <a:pt x="345" y="128"/>
                        <a:pt x="343" y="121"/>
                      </a:cubicBezTo>
                      <a:cubicBezTo>
                        <a:pt x="341" y="114"/>
                        <a:pt x="323" y="117"/>
                        <a:pt x="323" y="117"/>
                      </a:cubicBezTo>
                      <a:cubicBezTo>
                        <a:pt x="323" y="117"/>
                        <a:pt x="302" y="105"/>
                        <a:pt x="295" y="96"/>
                      </a:cubicBezTo>
                      <a:cubicBezTo>
                        <a:pt x="288" y="87"/>
                        <a:pt x="286" y="64"/>
                        <a:pt x="286" y="64"/>
                      </a:cubicBezTo>
                      <a:cubicBezTo>
                        <a:pt x="286" y="64"/>
                        <a:pt x="280" y="53"/>
                        <a:pt x="276" y="43"/>
                      </a:cubicBezTo>
                      <a:cubicBezTo>
                        <a:pt x="272" y="33"/>
                        <a:pt x="264" y="39"/>
                        <a:pt x="264" y="39"/>
                      </a:cubicBezTo>
                      <a:cubicBezTo>
                        <a:pt x="264" y="19"/>
                        <a:pt x="264" y="19"/>
                        <a:pt x="264" y="19"/>
                      </a:cubicBezTo>
                      <a:cubicBezTo>
                        <a:pt x="255" y="10"/>
                        <a:pt x="255" y="10"/>
                        <a:pt x="255" y="10"/>
                      </a:cubicBezTo>
                      <a:cubicBezTo>
                        <a:pt x="253" y="0"/>
                        <a:pt x="253" y="0"/>
                        <a:pt x="253" y="0"/>
                      </a:cubicBezTo>
                      <a:cubicBezTo>
                        <a:pt x="230" y="2"/>
                        <a:pt x="230" y="2"/>
                        <a:pt x="230" y="2"/>
                      </a:cubicBezTo>
                      <a:cubicBezTo>
                        <a:pt x="219" y="10"/>
                        <a:pt x="219" y="10"/>
                        <a:pt x="219" y="10"/>
                      </a:cubicBezTo>
                      <a:cubicBezTo>
                        <a:pt x="211" y="10"/>
                        <a:pt x="211" y="10"/>
                        <a:pt x="211" y="10"/>
                      </a:cubicBezTo>
                      <a:cubicBezTo>
                        <a:pt x="211" y="10"/>
                        <a:pt x="201" y="12"/>
                        <a:pt x="195" y="18"/>
                      </a:cubicBezTo>
                      <a:cubicBezTo>
                        <a:pt x="190" y="23"/>
                        <a:pt x="180" y="36"/>
                        <a:pt x="177" y="37"/>
                      </a:cubicBezTo>
                      <a:cubicBezTo>
                        <a:pt x="174" y="38"/>
                        <a:pt x="172" y="24"/>
                        <a:pt x="172" y="24"/>
                      </a:cubicBezTo>
                      <a:cubicBezTo>
                        <a:pt x="166" y="24"/>
                        <a:pt x="166" y="24"/>
                        <a:pt x="166" y="24"/>
                      </a:cubicBezTo>
                      <a:cubicBezTo>
                        <a:pt x="166" y="24"/>
                        <a:pt x="168" y="10"/>
                        <a:pt x="159" y="10"/>
                      </a:cubicBezTo>
                      <a:cubicBezTo>
                        <a:pt x="151" y="10"/>
                        <a:pt x="135" y="18"/>
                        <a:pt x="114" y="20"/>
                      </a:cubicBezTo>
                      <a:cubicBezTo>
                        <a:pt x="92" y="23"/>
                        <a:pt x="53" y="26"/>
                        <a:pt x="53" y="26"/>
                      </a:cubicBezTo>
                      <a:cubicBezTo>
                        <a:pt x="53" y="143"/>
                        <a:pt x="53" y="143"/>
                        <a:pt x="53" y="143"/>
                      </a:cubicBezTo>
                      <a:cubicBezTo>
                        <a:pt x="49" y="147"/>
                        <a:pt x="49" y="147"/>
                        <a:pt x="49" y="147"/>
                      </a:cubicBezTo>
                      <a:cubicBezTo>
                        <a:pt x="50" y="228"/>
                        <a:pt x="50" y="228"/>
                        <a:pt x="50" y="228"/>
                      </a:cubicBezTo>
                      <a:cubicBezTo>
                        <a:pt x="2" y="228"/>
                        <a:pt x="2" y="228"/>
                        <a:pt x="2" y="228"/>
                      </a:cubicBezTo>
                      <a:lnTo>
                        <a:pt x="0" y="37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65" name="Benin">
                  <a:extLst>
                    <a:ext uri="{FF2B5EF4-FFF2-40B4-BE49-F238E27FC236}">
                      <a16:creationId xmlns:a16="http://schemas.microsoft.com/office/drawing/2014/main" id="{349B6B1B-893B-7F8F-0375-BAAF6DFB29A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20572" y="3173556"/>
                  <a:ext cx="249326" cy="439942"/>
                </a:xfrm>
                <a:custGeom>
                  <a:avLst/>
                  <a:gdLst>
                    <a:gd name="T0" fmla="*/ 94 w 150"/>
                    <a:gd name="T1" fmla="*/ 247 h 332"/>
                    <a:gd name="T2" fmla="*/ 97 w 150"/>
                    <a:gd name="T3" fmla="*/ 228 h 332"/>
                    <a:gd name="T4" fmla="*/ 94 w 150"/>
                    <a:gd name="T5" fmla="*/ 206 h 332"/>
                    <a:gd name="T6" fmla="*/ 96 w 150"/>
                    <a:gd name="T7" fmla="*/ 183 h 332"/>
                    <a:gd name="T8" fmla="*/ 112 w 150"/>
                    <a:gd name="T9" fmla="*/ 177 h 332"/>
                    <a:gd name="T10" fmla="*/ 118 w 150"/>
                    <a:gd name="T11" fmla="*/ 148 h 332"/>
                    <a:gd name="T12" fmla="*/ 133 w 150"/>
                    <a:gd name="T13" fmla="*/ 132 h 332"/>
                    <a:gd name="T14" fmla="*/ 135 w 150"/>
                    <a:gd name="T15" fmla="*/ 105 h 332"/>
                    <a:gd name="T16" fmla="*/ 148 w 150"/>
                    <a:gd name="T17" fmla="*/ 95 h 332"/>
                    <a:gd name="T18" fmla="*/ 144 w 150"/>
                    <a:gd name="T19" fmla="*/ 85 h 332"/>
                    <a:gd name="T20" fmla="*/ 145 w 150"/>
                    <a:gd name="T21" fmla="*/ 76 h 332"/>
                    <a:gd name="T22" fmla="*/ 131 w 150"/>
                    <a:gd name="T23" fmla="*/ 51 h 332"/>
                    <a:gd name="T24" fmla="*/ 139 w 150"/>
                    <a:gd name="T25" fmla="*/ 31 h 332"/>
                    <a:gd name="T26" fmla="*/ 118 w 150"/>
                    <a:gd name="T27" fmla="*/ 22 h 332"/>
                    <a:gd name="T28" fmla="*/ 96 w 150"/>
                    <a:gd name="T29" fmla="*/ 0 h 332"/>
                    <a:gd name="T30" fmla="*/ 79 w 150"/>
                    <a:gd name="T31" fmla="*/ 7 h 332"/>
                    <a:gd name="T32" fmla="*/ 76 w 150"/>
                    <a:gd name="T33" fmla="*/ 23 h 332"/>
                    <a:gd name="T34" fmla="*/ 83 w 150"/>
                    <a:gd name="T35" fmla="*/ 26 h 332"/>
                    <a:gd name="T36" fmla="*/ 77 w 150"/>
                    <a:gd name="T37" fmla="*/ 28 h 332"/>
                    <a:gd name="T38" fmla="*/ 74 w 150"/>
                    <a:gd name="T39" fmla="*/ 39 h 332"/>
                    <a:gd name="T40" fmla="*/ 63 w 150"/>
                    <a:gd name="T41" fmla="*/ 43 h 332"/>
                    <a:gd name="T42" fmla="*/ 58 w 150"/>
                    <a:gd name="T43" fmla="*/ 53 h 332"/>
                    <a:gd name="T44" fmla="*/ 32 w 150"/>
                    <a:gd name="T45" fmla="*/ 51 h 332"/>
                    <a:gd name="T46" fmla="*/ 19 w 150"/>
                    <a:gd name="T47" fmla="*/ 70 h 332"/>
                    <a:gd name="T48" fmla="*/ 11 w 150"/>
                    <a:gd name="T49" fmla="*/ 70 h 332"/>
                    <a:gd name="T50" fmla="*/ 6 w 150"/>
                    <a:gd name="T51" fmla="*/ 77 h 332"/>
                    <a:gd name="T52" fmla="*/ 0 w 150"/>
                    <a:gd name="T53" fmla="*/ 89 h 332"/>
                    <a:gd name="T54" fmla="*/ 1 w 150"/>
                    <a:gd name="T55" fmla="*/ 108 h 332"/>
                    <a:gd name="T56" fmla="*/ 28 w 150"/>
                    <a:gd name="T57" fmla="*/ 131 h 332"/>
                    <a:gd name="T58" fmla="*/ 28 w 150"/>
                    <a:gd name="T59" fmla="*/ 162 h 332"/>
                    <a:gd name="T60" fmla="*/ 40 w 150"/>
                    <a:gd name="T61" fmla="*/ 179 h 332"/>
                    <a:gd name="T62" fmla="*/ 44 w 150"/>
                    <a:gd name="T63" fmla="*/ 206 h 332"/>
                    <a:gd name="T64" fmla="*/ 39 w 150"/>
                    <a:gd name="T65" fmla="*/ 214 h 332"/>
                    <a:gd name="T66" fmla="*/ 38 w 150"/>
                    <a:gd name="T67" fmla="*/ 253 h 332"/>
                    <a:gd name="T68" fmla="*/ 44 w 150"/>
                    <a:gd name="T69" fmla="*/ 259 h 332"/>
                    <a:gd name="T70" fmla="*/ 39 w 150"/>
                    <a:gd name="T71" fmla="*/ 266 h 332"/>
                    <a:gd name="T72" fmla="*/ 41 w 150"/>
                    <a:gd name="T73" fmla="*/ 310 h 332"/>
                    <a:gd name="T74" fmla="*/ 50 w 150"/>
                    <a:gd name="T75" fmla="*/ 329 h 332"/>
                    <a:gd name="T76" fmla="*/ 50 w 150"/>
                    <a:gd name="T77" fmla="*/ 329 h 332"/>
                    <a:gd name="T78" fmla="*/ 73 w 150"/>
                    <a:gd name="T79" fmla="*/ 332 h 332"/>
                    <a:gd name="T80" fmla="*/ 81 w 150"/>
                    <a:gd name="T81" fmla="*/ 318 h 332"/>
                    <a:gd name="T82" fmla="*/ 91 w 150"/>
                    <a:gd name="T83" fmla="*/ 323 h 332"/>
                    <a:gd name="T84" fmla="*/ 95 w 150"/>
                    <a:gd name="T85" fmla="*/ 306 h 332"/>
                    <a:gd name="T86" fmla="*/ 94 w 150"/>
                    <a:gd name="T87" fmla="*/ 247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0" h="332">
                      <a:moveTo>
                        <a:pt x="94" y="247"/>
                      </a:moveTo>
                      <a:cubicBezTo>
                        <a:pt x="97" y="228"/>
                        <a:pt x="97" y="228"/>
                        <a:pt x="97" y="228"/>
                      </a:cubicBezTo>
                      <a:cubicBezTo>
                        <a:pt x="94" y="206"/>
                        <a:pt x="94" y="206"/>
                        <a:pt x="94" y="206"/>
                      </a:cubicBezTo>
                      <a:cubicBezTo>
                        <a:pt x="96" y="183"/>
                        <a:pt x="96" y="183"/>
                        <a:pt x="96" y="183"/>
                      </a:cubicBezTo>
                      <a:cubicBezTo>
                        <a:pt x="96" y="183"/>
                        <a:pt x="104" y="187"/>
                        <a:pt x="112" y="177"/>
                      </a:cubicBezTo>
                      <a:cubicBezTo>
                        <a:pt x="120" y="167"/>
                        <a:pt x="115" y="155"/>
                        <a:pt x="118" y="148"/>
                      </a:cubicBezTo>
                      <a:cubicBezTo>
                        <a:pt x="121" y="141"/>
                        <a:pt x="133" y="132"/>
                        <a:pt x="133" y="132"/>
                      </a:cubicBezTo>
                      <a:cubicBezTo>
                        <a:pt x="135" y="105"/>
                        <a:pt x="135" y="105"/>
                        <a:pt x="135" y="105"/>
                      </a:cubicBezTo>
                      <a:cubicBezTo>
                        <a:pt x="135" y="105"/>
                        <a:pt x="146" y="102"/>
                        <a:pt x="148" y="95"/>
                      </a:cubicBezTo>
                      <a:cubicBezTo>
                        <a:pt x="150" y="88"/>
                        <a:pt x="144" y="85"/>
                        <a:pt x="144" y="85"/>
                      </a:cubicBezTo>
                      <a:cubicBezTo>
                        <a:pt x="144" y="85"/>
                        <a:pt x="145" y="82"/>
                        <a:pt x="145" y="76"/>
                      </a:cubicBezTo>
                      <a:cubicBezTo>
                        <a:pt x="145" y="70"/>
                        <a:pt x="130" y="58"/>
                        <a:pt x="131" y="51"/>
                      </a:cubicBezTo>
                      <a:cubicBezTo>
                        <a:pt x="132" y="44"/>
                        <a:pt x="139" y="31"/>
                        <a:pt x="139" y="31"/>
                      </a:cubicBezTo>
                      <a:cubicBezTo>
                        <a:pt x="139" y="31"/>
                        <a:pt x="123" y="25"/>
                        <a:pt x="118" y="22"/>
                      </a:cubicBezTo>
                      <a:cubicBezTo>
                        <a:pt x="113" y="19"/>
                        <a:pt x="96" y="0"/>
                        <a:pt x="96" y="0"/>
                      </a:cubicBezTo>
                      <a:cubicBezTo>
                        <a:pt x="79" y="7"/>
                        <a:pt x="79" y="7"/>
                        <a:pt x="79" y="7"/>
                      </a:cubicBezTo>
                      <a:cubicBezTo>
                        <a:pt x="76" y="23"/>
                        <a:pt x="76" y="23"/>
                        <a:pt x="76" y="23"/>
                      </a:cubicBezTo>
                      <a:cubicBezTo>
                        <a:pt x="83" y="26"/>
                        <a:pt x="83" y="26"/>
                        <a:pt x="83" y="26"/>
                      </a:cubicBezTo>
                      <a:cubicBezTo>
                        <a:pt x="77" y="28"/>
                        <a:pt x="77" y="28"/>
                        <a:pt x="77" y="28"/>
                      </a:cubicBezTo>
                      <a:cubicBezTo>
                        <a:pt x="74" y="39"/>
                        <a:pt x="74" y="39"/>
                        <a:pt x="74" y="39"/>
                      </a:cubicBezTo>
                      <a:cubicBezTo>
                        <a:pt x="74" y="39"/>
                        <a:pt x="67" y="40"/>
                        <a:pt x="63" y="43"/>
                      </a:cubicBezTo>
                      <a:cubicBezTo>
                        <a:pt x="59" y="46"/>
                        <a:pt x="58" y="53"/>
                        <a:pt x="58" y="53"/>
                      </a:cubicBezTo>
                      <a:cubicBezTo>
                        <a:pt x="58" y="53"/>
                        <a:pt x="32" y="52"/>
                        <a:pt x="32" y="51"/>
                      </a:cubicBezTo>
                      <a:cubicBezTo>
                        <a:pt x="21" y="56"/>
                        <a:pt x="19" y="70"/>
                        <a:pt x="19" y="70"/>
                      </a:cubicBezTo>
                      <a:cubicBezTo>
                        <a:pt x="11" y="70"/>
                        <a:pt x="11" y="70"/>
                        <a:pt x="11" y="70"/>
                      </a:cubicBezTo>
                      <a:cubicBezTo>
                        <a:pt x="6" y="77"/>
                        <a:pt x="6" y="77"/>
                        <a:pt x="6" y="77"/>
                      </a:cubicBezTo>
                      <a:cubicBezTo>
                        <a:pt x="0" y="89"/>
                        <a:pt x="0" y="89"/>
                        <a:pt x="0" y="89"/>
                      </a:cubicBezTo>
                      <a:cubicBezTo>
                        <a:pt x="1" y="108"/>
                        <a:pt x="1" y="108"/>
                        <a:pt x="1" y="108"/>
                      </a:cubicBezTo>
                      <a:cubicBezTo>
                        <a:pt x="1" y="108"/>
                        <a:pt x="26" y="123"/>
                        <a:pt x="28" y="131"/>
                      </a:cubicBezTo>
                      <a:cubicBezTo>
                        <a:pt x="30" y="139"/>
                        <a:pt x="28" y="162"/>
                        <a:pt x="28" y="162"/>
                      </a:cubicBezTo>
                      <a:cubicBezTo>
                        <a:pt x="28" y="162"/>
                        <a:pt x="41" y="171"/>
                        <a:pt x="40" y="179"/>
                      </a:cubicBezTo>
                      <a:cubicBezTo>
                        <a:pt x="39" y="187"/>
                        <a:pt x="44" y="206"/>
                        <a:pt x="44" y="206"/>
                      </a:cubicBezTo>
                      <a:cubicBezTo>
                        <a:pt x="39" y="214"/>
                        <a:pt x="39" y="214"/>
                        <a:pt x="39" y="214"/>
                      </a:cubicBezTo>
                      <a:cubicBezTo>
                        <a:pt x="38" y="253"/>
                        <a:pt x="38" y="253"/>
                        <a:pt x="38" y="253"/>
                      </a:cubicBezTo>
                      <a:cubicBezTo>
                        <a:pt x="44" y="259"/>
                        <a:pt x="44" y="259"/>
                        <a:pt x="44" y="259"/>
                      </a:cubicBezTo>
                      <a:cubicBezTo>
                        <a:pt x="39" y="266"/>
                        <a:pt x="39" y="266"/>
                        <a:pt x="39" y="266"/>
                      </a:cubicBezTo>
                      <a:cubicBezTo>
                        <a:pt x="41" y="310"/>
                        <a:pt x="41" y="310"/>
                        <a:pt x="41" y="310"/>
                      </a:cubicBezTo>
                      <a:cubicBezTo>
                        <a:pt x="41" y="310"/>
                        <a:pt x="50" y="319"/>
                        <a:pt x="50" y="329"/>
                      </a:cubicBezTo>
                      <a:cubicBezTo>
                        <a:pt x="50" y="329"/>
                        <a:pt x="50" y="329"/>
                        <a:pt x="50" y="329"/>
                      </a:cubicBezTo>
                      <a:cubicBezTo>
                        <a:pt x="61" y="330"/>
                        <a:pt x="73" y="332"/>
                        <a:pt x="73" y="332"/>
                      </a:cubicBezTo>
                      <a:cubicBezTo>
                        <a:pt x="81" y="318"/>
                        <a:pt x="81" y="318"/>
                        <a:pt x="81" y="318"/>
                      </a:cubicBezTo>
                      <a:cubicBezTo>
                        <a:pt x="81" y="318"/>
                        <a:pt x="85" y="320"/>
                        <a:pt x="91" y="323"/>
                      </a:cubicBezTo>
                      <a:cubicBezTo>
                        <a:pt x="95" y="306"/>
                        <a:pt x="95" y="306"/>
                        <a:pt x="95" y="306"/>
                      </a:cubicBezTo>
                      <a:lnTo>
                        <a:pt x="94" y="24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66" name="Angola">
                  <a:extLst>
                    <a:ext uri="{FF2B5EF4-FFF2-40B4-BE49-F238E27FC236}">
                      <a16:creationId xmlns:a16="http://schemas.microsoft.com/office/drawing/2014/main" id="{BBCEDC67-2FC6-F23F-A089-F3D998872EDC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667332" y="4361767"/>
                  <a:ext cx="992601" cy="973885"/>
                </a:xfrm>
                <a:custGeom>
                  <a:avLst/>
                  <a:gdLst>
                    <a:gd name="T0" fmla="*/ 32 w 597"/>
                    <a:gd name="T1" fmla="*/ 79 h 735"/>
                    <a:gd name="T2" fmla="*/ 41 w 597"/>
                    <a:gd name="T3" fmla="*/ 42 h 735"/>
                    <a:gd name="T4" fmla="*/ 68 w 597"/>
                    <a:gd name="T5" fmla="*/ 17 h 735"/>
                    <a:gd name="T6" fmla="*/ 38 w 597"/>
                    <a:gd name="T7" fmla="*/ 15 h 735"/>
                    <a:gd name="T8" fmla="*/ 27 w 597"/>
                    <a:gd name="T9" fmla="*/ 29 h 735"/>
                    <a:gd name="T10" fmla="*/ 26 w 597"/>
                    <a:gd name="T11" fmla="*/ 39 h 735"/>
                    <a:gd name="T12" fmla="*/ 583 w 597"/>
                    <a:gd name="T13" fmla="*/ 362 h 735"/>
                    <a:gd name="T14" fmla="*/ 558 w 597"/>
                    <a:gd name="T15" fmla="*/ 357 h 735"/>
                    <a:gd name="T16" fmla="*/ 535 w 597"/>
                    <a:gd name="T17" fmla="*/ 367 h 735"/>
                    <a:gd name="T18" fmla="*/ 511 w 597"/>
                    <a:gd name="T19" fmla="*/ 375 h 735"/>
                    <a:gd name="T20" fmla="*/ 503 w 597"/>
                    <a:gd name="T21" fmla="*/ 346 h 735"/>
                    <a:gd name="T22" fmla="*/ 496 w 597"/>
                    <a:gd name="T23" fmla="*/ 299 h 735"/>
                    <a:gd name="T24" fmla="*/ 488 w 597"/>
                    <a:gd name="T25" fmla="*/ 256 h 735"/>
                    <a:gd name="T26" fmla="*/ 493 w 597"/>
                    <a:gd name="T27" fmla="*/ 224 h 735"/>
                    <a:gd name="T28" fmla="*/ 477 w 597"/>
                    <a:gd name="T29" fmla="*/ 190 h 735"/>
                    <a:gd name="T30" fmla="*/ 484 w 597"/>
                    <a:gd name="T31" fmla="*/ 162 h 735"/>
                    <a:gd name="T32" fmla="*/ 423 w 597"/>
                    <a:gd name="T33" fmla="*/ 155 h 735"/>
                    <a:gd name="T34" fmla="*/ 409 w 597"/>
                    <a:gd name="T35" fmla="*/ 148 h 735"/>
                    <a:gd name="T36" fmla="*/ 381 w 597"/>
                    <a:gd name="T37" fmla="*/ 170 h 735"/>
                    <a:gd name="T38" fmla="*/ 369 w 597"/>
                    <a:gd name="T39" fmla="*/ 197 h 735"/>
                    <a:gd name="T40" fmla="*/ 335 w 597"/>
                    <a:gd name="T41" fmla="*/ 195 h 735"/>
                    <a:gd name="T42" fmla="*/ 313 w 597"/>
                    <a:gd name="T43" fmla="*/ 201 h 735"/>
                    <a:gd name="T44" fmla="*/ 302 w 597"/>
                    <a:gd name="T45" fmla="*/ 203 h 735"/>
                    <a:gd name="T46" fmla="*/ 278 w 597"/>
                    <a:gd name="T47" fmla="*/ 194 h 735"/>
                    <a:gd name="T48" fmla="*/ 265 w 597"/>
                    <a:gd name="T49" fmla="*/ 172 h 735"/>
                    <a:gd name="T50" fmla="*/ 255 w 597"/>
                    <a:gd name="T51" fmla="*/ 141 h 735"/>
                    <a:gd name="T52" fmla="*/ 243 w 597"/>
                    <a:gd name="T53" fmla="*/ 98 h 735"/>
                    <a:gd name="T54" fmla="*/ 209 w 597"/>
                    <a:gd name="T55" fmla="*/ 84 h 735"/>
                    <a:gd name="T56" fmla="*/ 185 w 597"/>
                    <a:gd name="T57" fmla="*/ 86 h 735"/>
                    <a:gd name="T58" fmla="*/ 155 w 597"/>
                    <a:gd name="T59" fmla="*/ 84 h 735"/>
                    <a:gd name="T60" fmla="*/ 112 w 597"/>
                    <a:gd name="T61" fmla="*/ 82 h 735"/>
                    <a:gd name="T62" fmla="*/ 89 w 597"/>
                    <a:gd name="T63" fmla="*/ 84 h 735"/>
                    <a:gd name="T64" fmla="*/ 67 w 597"/>
                    <a:gd name="T65" fmla="*/ 84 h 735"/>
                    <a:gd name="T66" fmla="*/ 43 w 597"/>
                    <a:gd name="T67" fmla="*/ 97 h 735"/>
                    <a:gd name="T68" fmla="*/ 48 w 597"/>
                    <a:gd name="T69" fmla="*/ 128 h 735"/>
                    <a:gd name="T70" fmla="*/ 56 w 597"/>
                    <a:gd name="T71" fmla="*/ 157 h 735"/>
                    <a:gd name="T72" fmla="*/ 69 w 597"/>
                    <a:gd name="T73" fmla="*/ 254 h 735"/>
                    <a:gd name="T74" fmla="*/ 75 w 597"/>
                    <a:gd name="T75" fmla="*/ 270 h 735"/>
                    <a:gd name="T76" fmla="*/ 108 w 597"/>
                    <a:gd name="T77" fmla="*/ 388 h 735"/>
                    <a:gd name="T78" fmla="*/ 93 w 597"/>
                    <a:gd name="T79" fmla="*/ 442 h 735"/>
                    <a:gd name="T80" fmla="*/ 66 w 597"/>
                    <a:gd name="T81" fmla="*/ 460 h 735"/>
                    <a:gd name="T82" fmla="*/ 44 w 597"/>
                    <a:gd name="T83" fmla="*/ 484 h 735"/>
                    <a:gd name="T84" fmla="*/ 34 w 597"/>
                    <a:gd name="T85" fmla="*/ 524 h 735"/>
                    <a:gd name="T86" fmla="*/ 21 w 597"/>
                    <a:gd name="T87" fmla="*/ 579 h 735"/>
                    <a:gd name="T88" fmla="*/ 6 w 597"/>
                    <a:gd name="T89" fmla="*/ 618 h 735"/>
                    <a:gd name="T90" fmla="*/ 13 w 597"/>
                    <a:gd name="T91" fmla="*/ 654 h 735"/>
                    <a:gd name="T92" fmla="*/ 3 w 597"/>
                    <a:gd name="T93" fmla="*/ 696 h 735"/>
                    <a:gd name="T94" fmla="*/ 24 w 597"/>
                    <a:gd name="T95" fmla="*/ 691 h 735"/>
                    <a:gd name="T96" fmla="*/ 50 w 597"/>
                    <a:gd name="T97" fmla="*/ 695 h 735"/>
                    <a:gd name="T98" fmla="*/ 81 w 597"/>
                    <a:gd name="T99" fmla="*/ 681 h 735"/>
                    <a:gd name="T100" fmla="*/ 322 w 597"/>
                    <a:gd name="T101" fmla="*/ 703 h 735"/>
                    <a:gd name="T102" fmla="*/ 361 w 597"/>
                    <a:gd name="T103" fmla="*/ 724 h 735"/>
                    <a:gd name="T104" fmla="*/ 411 w 597"/>
                    <a:gd name="T105" fmla="*/ 729 h 735"/>
                    <a:gd name="T106" fmla="*/ 463 w 597"/>
                    <a:gd name="T107" fmla="*/ 735 h 735"/>
                    <a:gd name="T108" fmla="*/ 493 w 597"/>
                    <a:gd name="T109" fmla="*/ 657 h 735"/>
                    <a:gd name="T110" fmla="*/ 487 w 597"/>
                    <a:gd name="T111" fmla="*/ 635 h 735"/>
                    <a:gd name="T112" fmla="*/ 571 w 597"/>
                    <a:gd name="T113" fmla="*/ 470 h 735"/>
                    <a:gd name="T114" fmla="*/ 580 w 597"/>
                    <a:gd name="T115" fmla="*/ 440 h 735"/>
                    <a:gd name="T116" fmla="*/ 585 w 597"/>
                    <a:gd name="T117" fmla="*/ 426 h 735"/>
                    <a:gd name="T118" fmla="*/ 594 w 597"/>
                    <a:gd name="T119" fmla="*/ 386 h 7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97" h="735">
                      <a:moveTo>
                        <a:pt x="30" y="77"/>
                      </a:moveTo>
                      <a:cubicBezTo>
                        <a:pt x="30" y="77"/>
                        <a:pt x="31" y="78"/>
                        <a:pt x="32" y="79"/>
                      </a:cubicBezTo>
                      <a:cubicBezTo>
                        <a:pt x="37" y="76"/>
                        <a:pt x="42" y="74"/>
                        <a:pt x="45" y="72"/>
                      </a:cubicBezTo>
                      <a:cubicBezTo>
                        <a:pt x="53" y="68"/>
                        <a:pt x="41" y="42"/>
                        <a:pt x="41" y="42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8" y="17"/>
                        <a:pt x="68" y="17"/>
                        <a:pt x="68" y="17"/>
                      </a:cubicBezTo>
                      <a:cubicBezTo>
                        <a:pt x="68" y="17"/>
                        <a:pt x="66" y="0"/>
                        <a:pt x="59" y="1"/>
                      </a:cubicBezTo>
                      <a:cubicBezTo>
                        <a:pt x="52" y="2"/>
                        <a:pt x="38" y="15"/>
                        <a:pt x="38" y="15"/>
                      </a:cubicBezTo>
                      <a:cubicBezTo>
                        <a:pt x="38" y="29"/>
                        <a:pt x="38" y="29"/>
                        <a:pt x="38" y="29"/>
                      </a:cubicBezTo>
                      <a:cubicBezTo>
                        <a:pt x="27" y="29"/>
                        <a:pt x="27" y="29"/>
                        <a:pt x="27" y="29"/>
                      </a:cubicBezTo>
                      <a:cubicBezTo>
                        <a:pt x="23" y="35"/>
                        <a:pt x="23" y="35"/>
                        <a:pt x="23" y="35"/>
                      </a:cubicBezTo>
                      <a:cubicBezTo>
                        <a:pt x="26" y="39"/>
                        <a:pt x="26" y="39"/>
                        <a:pt x="26" y="39"/>
                      </a:cubicBezTo>
                      <a:lnTo>
                        <a:pt x="30" y="77"/>
                      </a:lnTo>
                      <a:close/>
                      <a:moveTo>
                        <a:pt x="583" y="362"/>
                      </a:moveTo>
                      <a:cubicBezTo>
                        <a:pt x="569" y="364"/>
                        <a:pt x="569" y="364"/>
                        <a:pt x="569" y="364"/>
                      </a:cubicBezTo>
                      <a:cubicBezTo>
                        <a:pt x="569" y="364"/>
                        <a:pt x="565" y="357"/>
                        <a:pt x="558" y="357"/>
                      </a:cubicBezTo>
                      <a:cubicBezTo>
                        <a:pt x="551" y="357"/>
                        <a:pt x="551" y="362"/>
                        <a:pt x="551" y="362"/>
                      </a:cubicBezTo>
                      <a:cubicBezTo>
                        <a:pt x="535" y="367"/>
                        <a:pt x="535" y="367"/>
                        <a:pt x="535" y="367"/>
                      </a:cubicBezTo>
                      <a:cubicBezTo>
                        <a:pt x="517" y="363"/>
                        <a:pt x="517" y="363"/>
                        <a:pt x="517" y="363"/>
                      </a:cubicBezTo>
                      <a:cubicBezTo>
                        <a:pt x="511" y="375"/>
                        <a:pt x="511" y="375"/>
                        <a:pt x="511" y="375"/>
                      </a:cubicBezTo>
                      <a:cubicBezTo>
                        <a:pt x="511" y="375"/>
                        <a:pt x="503" y="373"/>
                        <a:pt x="500" y="369"/>
                      </a:cubicBezTo>
                      <a:cubicBezTo>
                        <a:pt x="497" y="365"/>
                        <a:pt x="500" y="353"/>
                        <a:pt x="503" y="346"/>
                      </a:cubicBezTo>
                      <a:cubicBezTo>
                        <a:pt x="506" y="339"/>
                        <a:pt x="507" y="324"/>
                        <a:pt x="507" y="324"/>
                      </a:cubicBezTo>
                      <a:cubicBezTo>
                        <a:pt x="507" y="324"/>
                        <a:pt x="503" y="306"/>
                        <a:pt x="496" y="299"/>
                      </a:cubicBezTo>
                      <a:cubicBezTo>
                        <a:pt x="489" y="292"/>
                        <a:pt x="483" y="284"/>
                        <a:pt x="483" y="276"/>
                      </a:cubicBezTo>
                      <a:cubicBezTo>
                        <a:pt x="483" y="268"/>
                        <a:pt x="488" y="256"/>
                        <a:pt x="488" y="256"/>
                      </a:cubicBezTo>
                      <a:cubicBezTo>
                        <a:pt x="485" y="240"/>
                        <a:pt x="485" y="240"/>
                        <a:pt x="485" y="240"/>
                      </a:cubicBezTo>
                      <a:cubicBezTo>
                        <a:pt x="485" y="240"/>
                        <a:pt x="493" y="231"/>
                        <a:pt x="493" y="224"/>
                      </a:cubicBezTo>
                      <a:cubicBezTo>
                        <a:pt x="493" y="217"/>
                        <a:pt x="480" y="204"/>
                        <a:pt x="480" y="204"/>
                      </a:cubicBezTo>
                      <a:cubicBezTo>
                        <a:pt x="477" y="190"/>
                        <a:pt x="477" y="190"/>
                        <a:pt x="477" y="190"/>
                      </a:cubicBezTo>
                      <a:cubicBezTo>
                        <a:pt x="484" y="180"/>
                        <a:pt x="484" y="180"/>
                        <a:pt x="484" y="180"/>
                      </a:cubicBezTo>
                      <a:cubicBezTo>
                        <a:pt x="484" y="162"/>
                        <a:pt x="484" y="162"/>
                        <a:pt x="484" y="162"/>
                      </a:cubicBezTo>
                      <a:cubicBezTo>
                        <a:pt x="424" y="163"/>
                        <a:pt x="424" y="163"/>
                        <a:pt x="424" y="163"/>
                      </a:cubicBezTo>
                      <a:cubicBezTo>
                        <a:pt x="423" y="155"/>
                        <a:pt x="423" y="155"/>
                        <a:pt x="423" y="155"/>
                      </a:cubicBezTo>
                      <a:cubicBezTo>
                        <a:pt x="423" y="155"/>
                        <a:pt x="427" y="146"/>
                        <a:pt x="418" y="143"/>
                      </a:cubicBezTo>
                      <a:cubicBezTo>
                        <a:pt x="409" y="140"/>
                        <a:pt x="409" y="148"/>
                        <a:pt x="409" y="148"/>
                      </a:cubicBezTo>
                      <a:cubicBezTo>
                        <a:pt x="409" y="148"/>
                        <a:pt x="380" y="145"/>
                        <a:pt x="375" y="149"/>
                      </a:cubicBezTo>
                      <a:cubicBezTo>
                        <a:pt x="370" y="153"/>
                        <a:pt x="381" y="165"/>
                        <a:pt x="381" y="170"/>
                      </a:cubicBezTo>
                      <a:cubicBezTo>
                        <a:pt x="381" y="175"/>
                        <a:pt x="374" y="175"/>
                        <a:pt x="371" y="179"/>
                      </a:cubicBezTo>
                      <a:cubicBezTo>
                        <a:pt x="368" y="183"/>
                        <a:pt x="369" y="197"/>
                        <a:pt x="369" y="197"/>
                      </a:cubicBezTo>
                      <a:cubicBezTo>
                        <a:pt x="339" y="200"/>
                        <a:pt x="339" y="200"/>
                        <a:pt x="339" y="200"/>
                      </a:cubicBezTo>
                      <a:cubicBezTo>
                        <a:pt x="335" y="195"/>
                        <a:pt x="335" y="195"/>
                        <a:pt x="335" y="195"/>
                      </a:cubicBezTo>
                      <a:cubicBezTo>
                        <a:pt x="328" y="201"/>
                        <a:pt x="328" y="201"/>
                        <a:pt x="328" y="201"/>
                      </a:cubicBezTo>
                      <a:cubicBezTo>
                        <a:pt x="313" y="201"/>
                        <a:pt x="313" y="201"/>
                        <a:pt x="313" y="201"/>
                      </a:cubicBezTo>
                      <a:cubicBezTo>
                        <a:pt x="309" y="208"/>
                        <a:pt x="309" y="208"/>
                        <a:pt x="309" y="208"/>
                      </a:cubicBezTo>
                      <a:cubicBezTo>
                        <a:pt x="302" y="203"/>
                        <a:pt x="302" y="203"/>
                        <a:pt x="302" y="203"/>
                      </a:cubicBezTo>
                      <a:cubicBezTo>
                        <a:pt x="281" y="204"/>
                        <a:pt x="281" y="204"/>
                        <a:pt x="281" y="204"/>
                      </a:cubicBezTo>
                      <a:cubicBezTo>
                        <a:pt x="278" y="194"/>
                        <a:pt x="278" y="194"/>
                        <a:pt x="278" y="194"/>
                      </a:cubicBezTo>
                      <a:cubicBezTo>
                        <a:pt x="272" y="186"/>
                        <a:pt x="272" y="186"/>
                        <a:pt x="272" y="186"/>
                      </a:cubicBezTo>
                      <a:cubicBezTo>
                        <a:pt x="272" y="186"/>
                        <a:pt x="270" y="178"/>
                        <a:pt x="265" y="172"/>
                      </a:cubicBezTo>
                      <a:cubicBezTo>
                        <a:pt x="260" y="166"/>
                        <a:pt x="254" y="163"/>
                        <a:pt x="254" y="163"/>
                      </a:cubicBezTo>
                      <a:cubicBezTo>
                        <a:pt x="254" y="163"/>
                        <a:pt x="256" y="147"/>
                        <a:pt x="255" y="141"/>
                      </a:cubicBezTo>
                      <a:cubicBezTo>
                        <a:pt x="254" y="135"/>
                        <a:pt x="244" y="128"/>
                        <a:pt x="244" y="128"/>
                      </a:cubicBezTo>
                      <a:cubicBezTo>
                        <a:pt x="243" y="98"/>
                        <a:pt x="243" y="98"/>
                        <a:pt x="243" y="98"/>
                      </a:cubicBezTo>
                      <a:cubicBezTo>
                        <a:pt x="243" y="98"/>
                        <a:pt x="237" y="94"/>
                        <a:pt x="232" y="85"/>
                      </a:cubicBezTo>
                      <a:cubicBezTo>
                        <a:pt x="227" y="76"/>
                        <a:pt x="209" y="84"/>
                        <a:pt x="209" y="84"/>
                      </a:cubicBezTo>
                      <a:cubicBezTo>
                        <a:pt x="195" y="83"/>
                        <a:pt x="195" y="83"/>
                        <a:pt x="195" y="83"/>
                      </a:cubicBezTo>
                      <a:cubicBezTo>
                        <a:pt x="185" y="86"/>
                        <a:pt x="185" y="86"/>
                        <a:pt x="185" y="86"/>
                      </a:cubicBezTo>
                      <a:cubicBezTo>
                        <a:pt x="185" y="86"/>
                        <a:pt x="178" y="86"/>
                        <a:pt x="173" y="86"/>
                      </a:cubicBezTo>
                      <a:cubicBezTo>
                        <a:pt x="168" y="86"/>
                        <a:pt x="155" y="84"/>
                        <a:pt x="155" y="84"/>
                      </a:cubicBezTo>
                      <a:cubicBezTo>
                        <a:pt x="155" y="84"/>
                        <a:pt x="137" y="87"/>
                        <a:pt x="130" y="88"/>
                      </a:cubicBezTo>
                      <a:cubicBezTo>
                        <a:pt x="123" y="89"/>
                        <a:pt x="112" y="82"/>
                        <a:pt x="112" y="82"/>
                      </a:cubicBezTo>
                      <a:cubicBezTo>
                        <a:pt x="97" y="86"/>
                        <a:pt x="97" y="86"/>
                        <a:pt x="97" y="86"/>
                      </a:cubicBezTo>
                      <a:cubicBezTo>
                        <a:pt x="89" y="84"/>
                        <a:pt x="89" y="84"/>
                        <a:pt x="89" y="84"/>
                      </a:cubicBezTo>
                      <a:cubicBezTo>
                        <a:pt x="84" y="86"/>
                        <a:pt x="84" y="86"/>
                        <a:pt x="84" y="86"/>
                      </a:cubicBezTo>
                      <a:cubicBezTo>
                        <a:pt x="67" y="84"/>
                        <a:pt x="67" y="84"/>
                        <a:pt x="67" y="84"/>
                      </a:cubicBezTo>
                      <a:cubicBezTo>
                        <a:pt x="44" y="94"/>
                        <a:pt x="44" y="94"/>
                        <a:pt x="44" y="94"/>
                      </a:cubicBezTo>
                      <a:cubicBezTo>
                        <a:pt x="44" y="95"/>
                        <a:pt x="44" y="96"/>
                        <a:pt x="43" y="97"/>
                      </a:cubicBezTo>
                      <a:cubicBezTo>
                        <a:pt x="37" y="101"/>
                        <a:pt x="32" y="102"/>
                        <a:pt x="32" y="102"/>
                      </a:cubicBezTo>
                      <a:cubicBezTo>
                        <a:pt x="32" y="102"/>
                        <a:pt x="45" y="121"/>
                        <a:pt x="48" y="128"/>
                      </a:cubicBezTo>
                      <a:cubicBezTo>
                        <a:pt x="51" y="135"/>
                        <a:pt x="60" y="138"/>
                        <a:pt x="60" y="138"/>
                      </a:cubicBezTo>
                      <a:cubicBezTo>
                        <a:pt x="56" y="157"/>
                        <a:pt x="56" y="157"/>
                        <a:pt x="56" y="157"/>
                      </a:cubicBezTo>
                      <a:cubicBezTo>
                        <a:pt x="56" y="157"/>
                        <a:pt x="88" y="194"/>
                        <a:pt x="85" y="221"/>
                      </a:cubicBezTo>
                      <a:cubicBezTo>
                        <a:pt x="82" y="248"/>
                        <a:pt x="69" y="254"/>
                        <a:pt x="69" y="254"/>
                      </a:cubicBezTo>
                      <a:cubicBezTo>
                        <a:pt x="68" y="271"/>
                        <a:pt x="68" y="271"/>
                        <a:pt x="68" y="271"/>
                      </a:cubicBezTo>
                      <a:cubicBezTo>
                        <a:pt x="75" y="270"/>
                        <a:pt x="75" y="270"/>
                        <a:pt x="75" y="270"/>
                      </a:cubicBezTo>
                      <a:cubicBezTo>
                        <a:pt x="75" y="270"/>
                        <a:pt x="71" y="293"/>
                        <a:pt x="85" y="314"/>
                      </a:cubicBezTo>
                      <a:cubicBezTo>
                        <a:pt x="99" y="335"/>
                        <a:pt x="111" y="373"/>
                        <a:pt x="108" y="388"/>
                      </a:cubicBezTo>
                      <a:cubicBezTo>
                        <a:pt x="105" y="403"/>
                        <a:pt x="94" y="420"/>
                        <a:pt x="94" y="420"/>
                      </a:cubicBezTo>
                      <a:cubicBezTo>
                        <a:pt x="94" y="420"/>
                        <a:pt x="101" y="436"/>
                        <a:pt x="93" y="442"/>
                      </a:cubicBezTo>
                      <a:cubicBezTo>
                        <a:pt x="85" y="448"/>
                        <a:pt x="72" y="446"/>
                        <a:pt x="72" y="446"/>
                      </a:cubicBezTo>
                      <a:cubicBezTo>
                        <a:pt x="66" y="460"/>
                        <a:pt x="66" y="460"/>
                        <a:pt x="66" y="460"/>
                      </a:cubicBezTo>
                      <a:cubicBezTo>
                        <a:pt x="68" y="475"/>
                        <a:pt x="68" y="475"/>
                        <a:pt x="68" y="475"/>
                      </a:cubicBezTo>
                      <a:cubicBezTo>
                        <a:pt x="68" y="475"/>
                        <a:pt x="43" y="472"/>
                        <a:pt x="44" y="484"/>
                      </a:cubicBezTo>
                      <a:cubicBezTo>
                        <a:pt x="45" y="496"/>
                        <a:pt x="41" y="514"/>
                        <a:pt x="41" y="514"/>
                      </a:cubicBezTo>
                      <a:cubicBezTo>
                        <a:pt x="34" y="524"/>
                        <a:pt x="34" y="524"/>
                        <a:pt x="34" y="524"/>
                      </a:cubicBezTo>
                      <a:cubicBezTo>
                        <a:pt x="34" y="524"/>
                        <a:pt x="38" y="556"/>
                        <a:pt x="35" y="566"/>
                      </a:cubicBezTo>
                      <a:cubicBezTo>
                        <a:pt x="32" y="576"/>
                        <a:pt x="21" y="579"/>
                        <a:pt x="21" y="579"/>
                      </a:cubicBezTo>
                      <a:cubicBezTo>
                        <a:pt x="21" y="606"/>
                        <a:pt x="21" y="606"/>
                        <a:pt x="21" y="606"/>
                      </a:cubicBezTo>
                      <a:cubicBezTo>
                        <a:pt x="6" y="618"/>
                        <a:pt x="6" y="618"/>
                        <a:pt x="6" y="618"/>
                      </a:cubicBezTo>
                      <a:cubicBezTo>
                        <a:pt x="6" y="645"/>
                        <a:pt x="6" y="645"/>
                        <a:pt x="6" y="645"/>
                      </a:cubicBezTo>
                      <a:cubicBezTo>
                        <a:pt x="13" y="654"/>
                        <a:pt x="13" y="654"/>
                        <a:pt x="13" y="654"/>
                      </a:cubicBezTo>
                      <a:cubicBezTo>
                        <a:pt x="0" y="669"/>
                        <a:pt x="0" y="669"/>
                        <a:pt x="0" y="669"/>
                      </a:cubicBezTo>
                      <a:cubicBezTo>
                        <a:pt x="3" y="696"/>
                        <a:pt x="3" y="696"/>
                        <a:pt x="3" y="696"/>
                      </a:cubicBezTo>
                      <a:cubicBezTo>
                        <a:pt x="13" y="695"/>
                        <a:pt x="13" y="695"/>
                        <a:pt x="13" y="695"/>
                      </a:cubicBezTo>
                      <a:cubicBezTo>
                        <a:pt x="24" y="691"/>
                        <a:pt x="24" y="691"/>
                        <a:pt x="24" y="691"/>
                      </a:cubicBezTo>
                      <a:cubicBezTo>
                        <a:pt x="31" y="696"/>
                        <a:pt x="31" y="696"/>
                        <a:pt x="31" y="696"/>
                      </a:cubicBezTo>
                      <a:cubicBezTo>
                        <a:pt x="31" y="696"/>
                        <a:pt x="43" y="696"/>
                        <a:pt x="50" y="695"/>
                      </a:cubicBezTo>
                      <a:cubicBezTo>
                        <a:pt x="57" y="694"/>
                        <a:pt x="61" y="680"/>
                        <a:pt x="61" y="680"/>
                      </a:cubicBezTo>
                      <a:cubicBezTo>
                        <a:pt x="61" y="680"/>
                        <a:pt x="82" y="682"/>
                        <a:pt x="81" y="681"/>
                      </a:cubicBezTo>
                      <a:cubicBezTo>
                        <a:pt x="85" y="692"/>
                        <a:pt x="119" y="705"/>
                        <a:pt x="119" y="705"/>
                      </a:cubicBezTo>
                      <a:cubicBezTo>
                        <a:pt x="322" y="703"/>
                        <a:pt x="322" y="703"/>
                        <a:pt x="322" y="703"/>
                      </a:cubicBezTo>
                      <a:cubicBezTo>
                        <a:pt x="322" y="703"/>
                        <a:pt x="331" y="722"/>
                        <a:pt x="338" y="724"/>
                      </a:cubicBezTo>
                      <a:cubicBezTo>
                        <a:pt x="345" y="726"/>
                        <a:pt x="361" y="724"/>
                        <a:pt x="361" y="724"/>
                      </a:cubicBezTo>
                      <a:cubicBezTo>
                        <a:pt x="365" y="730"/>
                        <a:pt x="365" y="730"/>
                        <a:pt x="365" y="730"/>
                      </a:cubicBezTo>
                      <a:cubicBezTo>
                        <a:pt x="411" y="729"/>
                        <a:pt x="411" y="729"/>
                        <a:pt x="411" y="729"/>
                      </a:cubicBezTo>
                      <a:cubicBezTo>
                        <a:pt x="417" y="735"/>
                        <a:pt x="417" y="735"/>
                        <a:pt x="417" y="735"/>
                      </a:cubicBezTo>
                      <a:cubicBezTo>
                        <a:pt x="417" y="735"/>
                        <a:pt x="435" y="735"/>
                        <a:pt x="463" y="735"/>
                      </a:cubicBezTo>
                      <a:cubicBezTo>
                        <a:pt x="491" y="735"/>
                        <a:pt x="551" y="715"/>
                        <a:pt x="551" y="715"/>
                      </a:cubicBezTo>
                      <a:cubicBezTo>
                        <a:pt x="493" y="657"/>
                        <a:pt x="493" y="657"/>
                        <a:pt x="493" y="657"/>
                      </a:cubicBezTo>
                      <a:cubicBezTo>
                        <a:pt x="493" y="645"/>
                        <a:pt x="493" y="645"/>
                        <a:pt x="493" y="645"/>
                      </a:cubicBezTo>
                      <a:cubicBezTo>
                        <a:pt x="487" y="635"/>
                        <a:pt x="487" y="635"/>
                        <a:pt x="487" y="635"/>
                      </a:cubicBezTo>
                      <a:cubicBezTo>
                        <a:pt x="488" y="468"/>
                        <a:pt x="488" y="468"/>
                        <a:pt x="488" y="468"/>
                      </a:cubicBezTo>
                      <a:cubicBezTo>
                        <a:pt x="571" y="470"/>
                        <a:pt x="571" y="470"/>
                        <a:pt x="571" y="470"/>
                      </a:cubicBezTo>
                      <a:cubicBezTo>
                        <a:pt x="571" y="470"/>
                        <a:pt x="582" y="470"/>
                        <a:pt x="584" y="463"/>
                      </a:cubicBezTo>
                      <a:cubicBezTo>
                        <a:pt x="586" y="456"/>
                        <a:pt x="580" y="440"/>
                        <a:pt x="580" y="440"/>
                      </a:cubicBezTo>
                      <a:cubicBezTo>
                        <a:pt x="593" y="437"/>
                        <a:pt x="593" y="437"/>
                        <a:pt x="593" y="437"/>
                      </a:cubicBezTo>
                      <a:cubicBezTo>
                        <a:pt x="585" y="426"/>
                        <a:pt x="585" y="426"/>
                        <a:pt x="585" y="426"/>
                      </a:cubicBezTo>
                      <a:cubicBezTo>
                        <a:pt x="583" y="391"/>
                        <a:pt x="583" y="391"/>
                        <a:pt x="583" y="391"/>
                      </a:cubicBezTo>
                      <a:cubicBezTo>
                        <a:pt x="583" y="391"/>
                        <a:pt x="591" y="389"/>
                        <a:pt x="594" y="386"/>
                      </a:cubicBezTo>
                      <a:cubicBezTo>
                        <a:pt x="597" y="383"/>
                        <a:pt x="583" y="362"/>
                        <a:pt x="583" y="36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67" name="Algeria">
                  <a:extLst>
                    <a:ext uri="{FF2B5EF4-FFF2-40B4-BE49-F238E27FC236}">
                      <a16:creationId xmlns:a16="http://schemas.microsoft.com/office/drawing/2014/main" id="{78C6A081-1B4E-C3B7-3A6E-8F40FA579DC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63176" y="1406273"/>
                  <a:ext cx="1632382" cy="1301019"/>
                </a:xfrm>
                <a:custGeom>
                  <a:avLst/>
                  <a:gdLst>
                    <a:gd name="T0" fmla="*/ 212 w 983"/>
                    <a:gd name="T1" fmla="*/ 357 h 981"/>
                    <a:gd name="T2" fmla="*/ 155 w 983"/>
                    <a:gd name="T3" fmla="*/ 390 h 981"/>
                    <a:gd name="T4" fmla="*/ 136 w 983"/>
                    <a:gd name="T5" fmla="*/ 399 h 981"/>
                    <a:gd name="T6" fmla="*/ 111 w 983"/>
                    <a:gd name="T7" fmla="*/ 404 h 981"/>
                    <a:gd name="T8" fmla="*/ 81 w 983"/>
                    <a:gd name="T9" fmla="*/ 417 h 981"/>
                    <a:gd name="T10" fmla="*/ 40 w 983"/>
                    <a:gd name="T11" fmla="*/ 454 h 981"/>
                    <a:gd name="T12" fmla="*/ 35 w 983"/>
                    <a:gd name="T13" fmla="*/ 511 h 981"/>
                    <a:gd name="T14" fmla="*/ 37 w 983"/>
                    <a:gd name="T15" fmla="*/ 513 h 981"/>
                    <a:gd name="T16" fmla="*/ 208 w 983"/>
                    <a:gd name="T17" fmla="*/ 656 h 981"/>
                    <a:gd name="T18" fmla="*/ 481 w 983"/>
                    <a:gd name="T19" fmla="*/ 882 h 981"/>
                    <a:gd name="T20" fmla="*/ 510 w 983"/>
                    <a:gd name="T21" fmla="*/ 904 h 981"/>
                    <a:gd name="T22" fmla="*/ 538 w 983"/>
                    <a:gd name="T23" fmla="*/ 923 h 981"/>
                    <a:gd name="T24" fmla="*/ 582 w 983"/>
                    <a:gd name="T25" fmla="*/ 953 h 981"/>
                    <a:gd name="T26" fmla="*/ 610 w 983"/>
                    <a:gd name="T27" fmla="*/ 973 h 981"/>
                    <a:gd name="T28" fmla="*/ 774 w 983"/>
                    <a:gd name="T29" fmla="*/ 886 h 981"/>
                    <a:gd name="T30" fmla="*/ 963 w 983"/>
                    <a:gd name="T31" fmla="*/ 691 h 981"/>
                    <a:gd name="T32" fmla="*/ 909 w 983"/>
                    <a:gd name="T33" fmla="*/ 684 h 981"/>
                    <a:gd name="T34" fmla="*/ 893 w 983"/>
                    <a:gd name="T35" fmla="*/ 639 h 981"/>
                    <a:gd name="T36" fmla="*/ 889 w 983"/>
                    <a:gd name="T37" fmla="*/ 569 h 981"/>
                    <a:gd name="T38" fmla="*/ 880 w 983"/>
                    <a:gd name="T39" fmla="*/ 515 h 981"/>
                    <a:gd name="T40" fmla="*/ 883 w 983"/>
                    <a:gd name="T41" fmla="*/ 488 h 981"/>
                    <a:gd name="T42" fmla="*/ 862 w 983"/>
                    <a:gd name="T43" fmla="*/ 381 h 981"/>
                    <a:gd name="T44" fmla="*/ 870 w 983"/>
                    <a:gd name="T45" fmla="*/ 373 h 981"/>
                    <a:gd name="T46" fmla="*/ 817 w 983"/>
                    <a:gd name="T47" fmla="*/ 252 h 981"/>
                    <a:gd name="T48" fmla="*/ 789 w 983"/>
                    <a:gd name="T49" fmla="*/ 213 h 981"/>
                    <a:gd name="T50" fmla="*/ 782 w 983"/>
                    <a:gd name="T51" fmla="*/ 194 h 981"/>
                    <a:gd name="T52" fmla="*/ 798 w 983"/>
                    <a:gd name="T53" fmla="*/ 148 h 981"/>
                    <a:gd name="T54" fmla="*/ 820 w 983"/>
                    <a:gd name="T55" fmla="*/ 105 h 981"/>
                    <a:gd name="T56" fmla="*/ 820 w 983"/>
                    <a:gd name="T57" fmla="*/ 38 h 981"/>
                    <a:gd name="T58" fmla="*/ 835 w 983"/>
                    <a:gd name="T59" fmla="*/ 21 h 981"/>
                    <a:gd name="T60" fmla="*/ 815 w 983"/>
                    <a:gd name="T61" fmla="*/ 10 h 981"/>
                    <a:gd name="T62" fmla="*/ 779 w 983"/>
                    <a:gd name="T63" fmla="*/ 3 h 981"/>
                    <a:gd name="T64" fmla="*/ 769 w 983"/>
                    <a:gd name="T65" fmla="*/ 14 h 981"/>
                    <a:gd name="T66" fmla="*/ 728 w 983"/>
                    <a:gd name="T67" fmla="*/ 0 h 981"/>
                    <a:gd name="T68" fmla="*/ 704 w 983"/>
                    <a:gd name="T69" fmla="*/ 14 h 981"/>
                    <a:gd name="T70" fmla="*/ 631 w 983"/>
                    <a:gd name="T71" fmla="*/ 18 h 981"/>
                    <a:gd name="T72" fmla="*/ 545 w 983"/>
                    <a:gd name="T73" fmla="*/ 27 h 981"/>
                    <a:gd name="T74" fmla="*/ 503 w 983"/>
                    <a:gd name="T75" fmla="*/ 33 h 981"/>
                    <a:gd name="T76" fmla="*/ 446 w 983"/>
                    <a:gd name="T77" fmla="*/ 72 h 981"/>
                    <a:gd name="T78" fmla="*/ 355 w 983"/>
                    <a:gd name="T79" fmla="*/ 113 h 981"/>
                    <a:gd name="T80" fmla="*/ 349 w 983"/>
                    <a:gd name="T81" fmla="*/ 112 h 981"/>
                    <a:gd name="T82" fmla="*/ 360 w 983"/>
                    <a:gd name="T83" fmla="*/ 141 h 981"/>
                    <a:gd name="T84" fmla="*/ 365 w 983"/>
                    <a:gd name="T85" fmla="*/ 186 h 981"/>
                    <a:gd name="T86" fmla="*/ 364 w 983"/>
                    <a:gd name="T87" fmla="*/ 218 h 981"/>
                    <a:gd name="T88" fmla="*/ 375 w 983"/>
                    <a:gd name="T89" fmla="*/ 238 h 981"/>
                    <a:gd name="T90" fmla="*/ 382 w 983"/>
                    <a:gd name="T91" fmla="*/ 259 h 981"/>
                    <a:gd name="T92" fmla="*/ 343 w 983"/>
                    <a:gd name="T93" fmla="*/ 274 h 981"/>
                    <a:gd name="T94" fmla="*/ 321 w 983"/>
                    <a:gd name="T95" fmla="*/ 275 h 981"/>
                    <a:gd name="T96" fmla="*/ 303 w 983"/>
                    <a:gd name="T97" fmla="*/ 288 h 981"/>
                    <a:gd name="T98" fmla="*/ 267 w 983"/>
                    <a:gd name="T99" fmla="*/ 318 h 981"/>
                    <a:gd name="T100" fmla="*/ 260 w 983"/>
                    <a:gd name="T101" fmla="*/ 337 h 9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983" h="981">
                      <a:moveTo>
                        <a:pt x="242" y="356"/>
                      </a:moveTo>
                      <a:cubicBezTo>
                        <a:pt x="236" y="356"/>
                        <a:pt x="212" y="357"/>
                        <a:pt x="212" y="357"/>
                      </a:cubicBezTo>
                      <a:cubicBezTo>
                        <a:pt x="212" y="357"/>
                        <a:pt x="197" y="388"/>
                        <a:pt x="189" y="391"/>
                      </a:cubicBezTo>
                      <a:cubicBezTo>
                        <a:pt x="181" y="394"/>
                        <a:pt x="155" y="390"/>
                        <a:pt x="155" y="390"/>
                      </a:cubicBezTo>
                      <a:cubicBezTo>
                        <a:pt x="154" y="398"/>
                        <a:pt x="154" y="398"/>
                        <a:pt x="154" y="398"/>
                      </a:cubicBezTo>
                      <a:cubicBezTo>
                        <a:pt x="136" y="399"/>
                        <a:pt x="136" y="399"/>
                        <a:pt x="136" y="399"/>
                      </a:cubicBezTo>
                      <a:cubicBezTo>
                        <a:pt x="136" y="399"/>
                        <a:pt x="136" y="411"/>
                        <a:pt x="130" y="412"/>
                      </a:cubicBezTo>
                      <a:cubicBezTo>
                        <a:pt x="124" y="413"/>
                        <a:pt x="111" y="404"/>
                        <a:pt x="111" y="404"/>
                      </a:cubicBezTo>
                      <a:cubicBezTo>
                        <a:pt x="93" y="418"/>
                        <a:pt x="93" y="418"/>
                        <a:pt x="93" y="418"/>
                      </a:cubicBezTo>
                      <a:cubicBezTo>
                        <a:pt x="81" y="417"/>
                        <a:pt x="81" y="417"/>
                        <a:pt x="81" y="417"/>
                      </a:cubicBezTo>
                      <a:cubicBezTo>
                        <a:pt x="81" y="417"/>
                        <a:pt x="67" y="437"/>
                        <a:pt x="60" y="442"/>
                      </a:cubicBezTo>
                      <a:cubicBezTo>
                        <a:pt x="53" y="447"/>
                        <a:pt x="40" y="454"/>
                        <a:pt x="40" y="454"/>
                      </a:cubicBezTo>
                      <a:cubicBezTo>
                        <a:pt x="37" y="472"/>
                        <a:pt x="37" y="472"/>
                        <a:pt x="37" y="472"/>
                      </a:cubicBezTo>
                      <a:cubicBezTo>
                        <a:pt x="35" y="511"/>
                        <a:pt x="35" y="511"/>
                        <a:pt x="35" y="511"/>
                      </a:cubicBezTo>
                      <a:cubicBezTo>
                        <a:pt x="0" y="511"/>
                        <a:pt x="0" y="511"/>
                        <a:pt x="0" y="511"/>
                      </a:cubicBezTo>
                      <a:cubicBezTo>
                        <a:pt x="37" y="513"/>
                        <a:pt x="37" y="513"/>
                        <a:pt x="37" y="513"/>
                      </a:cubicBezTo>
                      <a:cubicBezTo>
                        <a:pt x="35" y="535"/>
                        <a:pt x="35" y="535"/>
                        <a:pt x="35" y="535"/>
                      </a:cubicBezTo>
                      <a:cubicBezTo>
                        <a:pt x="208" y="656"/>
                        <a:pt x="208" y="656"/>
                        <a:pt x="208" y="656"/>
                      </a:cubicBezTo>
                      <a:cubicBezTo>
                        <a:pt x="482" y="865"/>
                        <a:pt x="482" y="865"/>
                        <a:pt x="482" y="865"/>
                      </a:cubicBezTo>
                      <a:cubicBezTo>
                        <a:pt x="481" y="882"/>
                        <a:pt x="481" y="882"/>
                        <a:pt x="481" y="882"/>
                      </a:cubicBezTo>
                      <a:cubicBezTo>
                        <a:pt x="481" y="882"/>
                        <a:pt x="498" y="878"/>
                        <a:pt x="500" y="886"/>
                      </a:cubicBezTo>
                      <a:cubicBezTo>
                        <a:pt x="502" y="894"/>
                        <a:pt x="500" y="901"/>
                        <a:pt x="510" y="904"/>
                      </a:cubicBezTo>
                      <a:cubicBezTo>
                        <a:pt x="520" y="907"/>
                        <a:pt x="533" y="905"/>
                        <a:pt x="533" y="905"/>
                      </a:cubicBezTo>
                      <a:cubicBezTo>
                        <a:pt x="538" y="923"/>
                        <a:pt x="538" y="923"/>
                        <a:pt x="538" y="923"/>
                      </a:cubicBezTo>
                      <a:cubicBezTo>
                        <a:pt x="538" y="923"/>
                        <a:pt x="561" y="917"/>
                        <a:pt x="571" y="925"/>
                      </a:cubicBezTo>
                      <a:cubicBezTo>
                        <a:pt x="581" y="933"/>
                        <a:pt x="582" y="953"/>
                        <a:pt x="582" y="953"/>
                      </a:cubicBezTo>
                      <a:cubicBezTo>
                        <a:pt x="582" y="953"/>
                        <a:pt x="558" y="967"/>
                        <a:pt x="573" y="974"/>
                      </a:cubicBezTo>
                      <a:cubicBezTo>
                        <a:pt x="588" y="981"/>
                        <a:pt x="610" y="973"/>
                        <a:pt x="610" y="973"/>
                      </a:cubicBezTo>
                      <a:cubicBezTo>
                        <a:pt x="610" y="973"/>
                        <a:pt x="679" y="958"/>
                        <a:pt x="693" y="956"/>
                      </a:cubicBezTo>
                      <a:cubicBezTo>
                        <a:pt x="707" y="954"/>
                        <a:pt x="752" y="901"/>
                        <a:pt x="774" y="886"/>
                      </a:cubicBezTo>
                      <a:cubicBezTo>
                        <a:pt x="796" y="871"/>
                        <a:pt x="983" y="735"/>
                        <a:pt x="983" y="735"/>
                      </a:cubicBezTo>
                      <a:cubicBezTo>
                        <a:pt x="983" y="735"/>
                        <a:pt x="968" y="694"/>
                        <a:pt x="963" y="691"/>
                      </a:cubicBezTo>
                      <a:cubicBezTo>
                        <a:pt x="958" y="688"/>
                        <a:pt x="930" y="675"/>
                        <a:pt x="924" y="678"/>
                      </a:cubicBezTo>
                      <a:cubicBezTo>
                        <a:pt x="918" y="681"/>
                        <a:pt x="913" y="686"/>
                        <a:pt x="909" y="684"/>
                      </a:cubicBezTo>
                      <a:cubicBezTo>
                        <a:pt x="905" y="682"/>
                        <a:pt x="893" y="671"/>
                        <a:pt x="893" y="664"/>
                      </a:cubicBezTo>
                      <a:cubicBezTo>
                        <a:pt x="893" y="657"/>
                        <a:pt x="898" y="647"/>
                        <a:pt x="893" y="639"/>
                      </a:cubicBezTo>
                      <a:cubicBezTo>
                        <a:pt x="888" y="631"/>
                        <a:pt x="861" y="595"/>
                        <a:pt x="862" y="589"/>
                      </a:cubicBezTo>
                      <a:cubicBezTo>
                        <a:pt x="863" y="583"/>
                        <a:pt x="889" y="581"/>
                        <a:pt x="889" y="569"/>
                      </a:cubicBezTo>
                      <a:cubicBezTo>
                        <a:pt x="889" y="557"/>
                        <a:pt x="885" y="551"/>
                        <a:pt x="885" y="551"/>
                      </a:cubicBezTo>
                      <a:cubicBezTo>
                        <a:pt x="880" y="515"/>
                        <a:pt x="880" y="515"/>
                        <a:pt x="880" y="515"/>
                      </a:cubicBezTo>
                      <a:cubicBezTo>
                        <a:pt x="889" y="502"/>
                        <a:pt x="889" y="502"/>
                        <a:pt x="889" y="502"/>
                      </a:cubicBezTo>
                      <a:cubicBezTo>
                        <a:pt x="883" y="488"/>
                        <a:pt x="883" y="488"/>
                        <a:pt x="883" y="488"/>
                      </a:cubicBezTo>
                      <a:cubicBezTo>
                        <a:pt x="883" y="488"/>
                        <a:pt x="892" y="458"/>
                        <a:pt x="891" y="448"/>
                      </a:cubicBezTo>
                      <a:cubicBezTo>
                        <a:pt x="890" y="438"/>
                        <a:pt x="863" y="387"/>
                        <a:pt x="862" y="381"/>
                      </a:cubicBezTo>
                      <a:cubicBezTo>
                        <a:pt x="862" y="378"/>
                        <a:pt x="866" y="376"/>
                        <a:pt x="870" y="373"/>
                      </a:cubicBezTo>
                      <a:cubicBezTo>
                        <a:pt x="870" y="373"/>
                        <a:pt x="870" y="373"/>
                        <a:pt x="870" y="373"/>
                      </a:cubicBezTo>
                      <a:cubicBezTo>
                        <a:pt x="864" y="350"/>
                        <a:pt x="849" y="288"/>
                        <a:pt x="849" y="277"/>
                      </a:cubicBezTo>
                      <a:cubicBezTo>
                        <a:pt x="849" y="264"/>
                        <a:pt x="817" y="252"/>
                        <a:pt x="817" y="252"/>
                      </a:cubicBezTo>
                      <a:cubicBezTo>
                        <a:pt x="817" y="252"/>
                        <a:pt x="817" y="234"/>
                        <a:pt x="816" y="226"/>
                      </a:cubicBezTo>
                      <a:cubicBezTo>
                        <a:pt x="815" y="218"/>
                        <a:pt x="789" y="213"/>
                        <a:pt x="789" y="213"/>
                      </a:cubicBezTo>
                      <a:cubicBezTo>
                        <a:pt x="789" y="194"/>
                        <a:pt x="789" y="194"/>
                        <a:pt x="789" y="194"/>
                      </a:cubicBezTo>
                      <a:cubicBezTo>
                        <a:pt x="782" y="194"/>
                        <a:pt x="782" y="194"/>
                        <a:pt x="782" y="194"/>
                      </a:cubicBezTo>
                      <a:cubicBezTo>
                        <a:pt x="782" y="194"/>
                        <a:pt x="782" y="181"/>
                        <a:pt x="782" y="171"/>
                      </a:cubicBezTo>
                      <a:cubicBezTo>
                        <a:pt x="782" y="161"/>
                        <a:pt x="798" y="148"/>
                        <a:pt x="798" y="148"/>
                      </a:cubicBezTo>
                      <a:cubicBezTo>
                        <a:pt x="812" y="137"/>
                        <a:pt x="812" y="137"/>
                        <a:pt x="812" y="137"/>
                      </a:cubicBezTo>
                      <a:cubicBezTo>
                        <a:pt x="812" y="137"/>
                        <a:pt x="819" y="115"/>
                        <a:pt x="820" y="105"/>
                      </a:cubicBezTo>
                      <a:cubicBezTo>
                        <a:pt x="821" y="95"/>
                        <a:pt x="819" y="83"/>
                        <a:pt x="815" y="76"/>
                      </a:cubicBezTo>
                      <a:cubicBezTo>
                        <a:pt x="811" y="69"/>
                        <a:pt x="820" y="38"/>
                        <a:pt x="820" y="38"/>
                      </a:cubicBezTo>
                      <a:cubicBezTo>
                        <a:pt x="807" y="34"/>
                        <a:pt x="807" y="34"/>
                        <a:pt x="807" y="34"/>
                      </a:cubicBezTo>
                      <a:cubicBezTo>
                        <a:pt x="835" y="21"/>
                        <a:pt x="835" y="21"/>
                        <a:pt x="835" y="21"/>
                      </a:cubicBezTo>
                      <a:cubicBezTo>
                        <a:pt x="835" y="11"/>
                        <a:pt x="835" y="11"/>
                        <a:pt x="835" y="11"/>
                      </a:cubicBezTo>
                      <a:cubicBezTo>
                        <a:pt x="826" y="11"/>
                        <a:pt x="815" y="10"/>
                        <a:pt x="815" y="10"/>
                      </a:cubicBezTo>
                      <a:cubicBezTo>
                        <a:pt x="806" y="15"/>
                        <a:pt x="806" y="15"/>
                        <a:pt x="806" y="15"/>
                      </a:cubicBezTo>
                      <a:cubicBezTo>
                        <a:pt x="779" y="3"/>
                        <a:pt x="779" y="3"/>
                        <a:pt x="779" y="3"/>
                      </a:cubicBezTo>
                      <a:cubicBezTo>
                        <a:pt x="769" y="5"/>
                        <a:pt x="769" y="5"/>
                        <a:pt x="769" y="5"/>
                      </a:cubicBezTo>
                      <a:cubicBezTo>
                        <a:pt x="769" y="14"/>
                        <a:pt x="769" y="14"/>
                        <a:pt x="769" y="14"/>
                      </a:cubicBezTo>
                      <a:cubicBezTo>
                        <a:pt x="744" y="12"/>
                        <a:pt x="744" y="12"/>
                        <a:pt x="744" y="12"/>
                      </a:cubicBezTo>
                      <a:cubicBezTo>
                        <a:pt x="728" y="0"/>
                        <a:pt x="728" y="0"/>
                        <a:pt x="728" y="0"/>
                      </a:cubicBezTo>
                      <a:cubicBezTo>
                        <a:pt x="724" y="19"/>
                        <a:pt x="724" y="19"/>
                        <a:pt x="724" y="19"/>
                      </a:cubicBezTo>
                      <a:cubicBezTo>
                        <a:pt x="704" y="14"/>
                        <a:pt x="704" y="14"/>
                        <a:pt x="704" y="14"/>
                      </a:cubicBezTo>
                      <a:cubicBezTo>
                        <a:pt x="686" y="29"/>
                        <a:pt x="686" y="29"/>
                        <a:pt x="686" y="29"/>
                      </a:cubicBezTo>
                      <a:cubicBezTo>
                        <a:pt x="686" y="29"/>
                        <a:pt x="662" y="17"/>
                        <a:pt x="631" y="18"/>
                      </a:cubicBezTo>
                      <a:cubicBezTo>
                        <a:pt x="600" y="19"/>
                        <a:pt x="599" y="26"/>
                        <a:pt x="585" y="27"/>
                      </a:cubicBezTo>
                      <a:cubicBezTo>
                        <a:pt x="571" y="28"/>
                        <a:pt x="545" y="27"/>
                        <a:pt x="545" y="27"/>
                      </a:cubicBezTo>
                      <a:cubicBezTo>
                        <a:pt x="542" y="34"/>
                        <a:pt x="542" y="34"/>
                        <a:pt x="542" y="34"/>
                      </a:cubicBezTo>
                      <a:cubicBezTo>
                        <a:pt x="503" y="33"/>
                        <a:pt x="503" y="33"/>
                        <a:pt x="503" y="33"/>
                      </a:cubicBezTo>
                      <a:cubicBezTo>
                        <a:pt x="503" y="33"/>
                        <a:pt x="456" y="43"/>
                        <a:pt x="455" y="51"/>
                      </a:cubicBezTo>
                      <a:cubicBezTo>
                        <a:pt x="454" y="59"/>
                        <a:pt x="446" y="72"/>
                        <a:pt x="446" y="72"/>
                      </a:cubicBezTo>
                      <a:cubicBezTo>
                        <a:pt x="446" y="72"/>
                        <a:pt x="396" y="74"/>
                        <a:pt x="394" y="83"/>
                      </a:cubicBezTo>
                      <a:cubicBezTo>
                        <a:pt x="392" y="92"/>
                        <a:pt x="370" y="113"/>
                        <a:pt x="355" y="113"/>
                      </a:cubicBezTo>
                      <a:cubicBezTo>
                        <a:pt x="353" y="113"/>
                        <a:pt x="351" y="113"/>
                        <a:pt x="349" y="112"/>
                      </a:cubicBezTo>
                      <a:cubicBezTo>
                        <a:pt x="349" y="112"/>
                        <a:pt x="349" y="112"/>
                        <a:pt x="349" y="112"/>
                      </a:cubicBezTo>
                      <a:cubicBezTo>
                        <a:pt x="350" y="116"/>
                        <a:pt x="354" y="125"/>
                        <a:pt x="364" y="129"/>
                      </a:cubicBezTo>
                      <a:cubicBezTo>
                        <a:pt x="364" y="130"/>
                        <a:pt x="360" y="141"/>
                        <a:pt x="360" y="141"/>
                      </a:cubicBezTo>
                      <a:cubicBezTo>
                        <a:pt x="368" y="141"/>
                        <a:pt x="368" y="141"/>
                        <a:pt x="368" y="141"/>
                      </a:cubicBezTo>
                      <a:cubicBezTo>
                        <a:pt x="365" y="186"/>
                        <a:pt x="365" y="186"/>
                        <a:pt x="365" y="186"/>
                      </a:cubicBezTo>
                      <a:cubicBezTo>
                        <a:pt x="371" y="197"/>
                        <a:pt x="371" y="197"/>
                        <a:pt x="371" y="197"/>
                      </a:cubicBezTo>
                      <a:cubicBezTo>
                        <a:pt x="364" y="218"/>
                        <a:pt x="364" y="218"/>
                        <a:pt x="364" y="218"/>
                      </a:cubicBezTo>
                      <a:cubicBezTo>
                        <a:pt x="378" y="218"/>
                        <a:pt x="378" y="218"/>
                        <a:pt x="378" y="218"/>
                      </a:cubicBezTo>
                      <a:cubicBezTo>
                        <a:pt x="375" y="238"/>
                        <a:pt x="375" y="238"/>
                        <a:pt x="375" y="238"/>
                      </a:cubicBezTo>
                      <a:cubicBezTo>
                        <a:pt x="393" y="250"/>
                        <a:pt x="393" y="250"/>
                        <a:pt x="393" y="250"/>
                      </a:cubicBezTo>
                      <a:cubicBezTo>
                        <a:pt x="393" y="250"/>
                        <a:pt x="384" y="256"/>
                        <a:pt x="382" y="259"/>
                      </a:cubicBezTo>
                      <a:cubicBezTo>
                        <a:pt x="380" y="262"/>
                        <a:pt x="381" y="269"/>
                        <a:pt x="381" y="269"/>
                      </a:cubicBezTo>
                      <a:cubicBezTo>
                        <a:pt x="343" y="274"/>
                        <a:pt x="343" y="274"/>
                        <a:pt x="343" y="274"/>
                      </a:cubicBezTo>
                      <a:cubicBezTo>
                        <a:pt x="343" y="274"/>
                        <a:pt x="333" y="268"/>
                        <a:pt x="329" y="268"/>
                      </a:cubicBezTo>
                      <a:cubicBezTo>
                        <a:pt x="325" y="268"/>
                        <a:pt x="321" y="275"/>
                        <a:pt x="321" y="275"/>
                      </a:cubicBezTo>
                      <a:cubicBezTo>
                        <a:pt x="321" y="275"/>
                        <a:pt x="313" y="270"/>
                        <a:pt x="308" y="273"/>
                      </a:cubicBezTo>
                      <a:cubicBezTo>
                        <a:pt x="303" y="276"/>
                        <a:pt x="310" y="283"/>
                        <a:pt x="303" y="288"/>
                      </a:cubicBezTo>
                      <a:cubicBezTo>
                        <a:pt x="296" y="293"/>
                        <a:pt x="274" y="287"/>
                        <a:pt x="266" y="294"/>
                      </a:cubicBezTo>
                      <a:cubicBezTo>
                        <a:pt x="258" y="301"/>
                        <a:pt x="267" y="318"/>
                        <a:pt x="267" y="318"/>
                      </a:cubicBezTo>
                      <a:cubicBezTo>
                        <a:pt x="277" y="330"/>
                        <a:pt x="277" y="330"/>
                        <a:pt x="277" y="330"/>
                      </a:cubicBezTo>
                      <a:cubicBezTo>
                        <a:pt x="260" y="337"/>
                        <a:pt x="260" y="337"/>
                        <a:pt x="260" y="337"/>
                      </a:cubicBezTo>
                      <a:cubicBezTo>
                        <a:pt x="260" y="337"/>
                        <a:pt x="248" y="356"/>
                        <a:pt x="242" y="356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pic>
          <p:nvPicPr>
            <p:cNvPr id="192" name="Picture 191">
              <a:extLst>
                <a:ext uri="{FF2B5EF4-FFF2-40B4-BE49-F238E27FC236}">
                  <a16:creationId xmlns:a16="http://schemas.microsoft.com/office/drawing/2014/main" id="{50349591-E813-FE23-3922-B786108B0F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5553" y="3556045"/>
              <a:ext cx="626089" cy="468893"/>
            </a:xfrm>
            <a:prstGeom prst="rect">
              <a:avLst/>
            </a:prstGeom>
          </p:spPr>
        </p:pic>
        <p:pic>
          <p:nvPicPr>
            <p:cNvPr id="193" name="Picture 192">
              <a:extLst>
                <a:ext uri="{FF2B5EF4-FFF2-40B4-BE49-F238E27FC236}">
                  <a16:creationId xmlns:a16="http://schemas.microsoft.com/office/drawing/2014/main" id="{9BA81F8C-4668-69A0-CD4D-0DB3D243D9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91486" y="3545302"/>
              <a:ext cx="626089" cy="468893"/>
            </a:xfrm>
            <a:prstGeom prst="rect">
              <a:avLst/>
            </a:prstGeom>
          </p:spPr>
        </p:pic>
        <p:pic>
          <p:nvPicPr>
            <p:cNvPr id="194" name="Picture 193">
              <a:extLst>
                <a:ext uri="{FF2B5EF4-FFF2-40B4-BE49-F238E27FC236}">
                  <a16:creationId xmlns:a16="http://schemas.microsoft.com/office/drawing/2014/main" id="{3705CD23-7F5E-57AA-1683-24C2A7C41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81729" y="3541927"/>
              <a:ext cx="626089" cy="468893"/>
            </a:xfrm>
            <a:prstGeom prst="rect">
              <a:avLst/>
            </a:prstGeom>
          </p:spPr>
        </p:pic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ECBCF235-3B38-5320-EA00-5317B3C40C9B}"/>
                </a:ext>
              </a:extLst>
            </p:cNvPr>
            <p:cNvSpPr txBox="1"/>
            <p:nvPr/>
          </p:nvSpPr>
          <p:spPr>
            <a:xfrm>
              <a:off x="1484638" y="1514669"/>
              <a:ext cx="1050359" cy="1007181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2000" tIns="72000" rIns="72000" bIns="72000" rtlCol="0">
              <a:spAutoFit/>
            </a:bodyPr>
            <a:lstStyle/>
            <a:p>
              <a:pPr marL="182563" indent="-182563" algn="l"/>
              <a:r>
                <a:rPr lang="en-US" sz="1400" dirty="0"/>
                <a:t>Priority:</a:t>
              </a:r>
            </a:p>
            <a:p>
              <a:pPr marL="182563" indent="-182563" algn="l">
                <a:buAutoNum type="arabicPeriod"/>
              </a:pPr>
              <a:r>
                <a:rPr lang="en-US" sz="1400" dirty="0"/>
                <a:t>URL US</a:t>
              </a:r>
            </a:p>
            <a:p>
              <a:pPr marL="182563" indent="-182563" algn="l">
                <a:buAutoNum type="arabicPeriod"/>
              </a:pPr>
              <a:r>
                <a:rPr lang="en-US" sz="1400" dirty="0"/>
                <a:t>URL SG</a:t>
              </a:r>
            </a:p>
            <a:p>
              <a:pPr marL="182563" indent="-182563" algn="l">
                <a:buAutoNum type="arabicPeriod"/>
              </a:pPr>
              <a:r>
                <a:rPr lang="en-US" sz="1400" dirty="0"/>
                <a:t>URL DE</a:t>
              </a: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F3B6779-F512-91C7-795B-13F4EE3A7C6A}"/>
                </a:ext>
              </a:extLst>
            </p:cNvPr>
            <p:cNvSpPr txBox="1"/>
            <p:nvPr/>
          </p:nvSpPr>
          <p:spPr>
            <a:xfrm>
              <a:off x="2505961" y="4101118"/>
              <a:ext cx="82784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dirty="0"/>
                <a:t>US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2BDBDB61-A7D7-ABBC-56DE-1AA803816700}"/>
                </a:ext>
              </a:extLst>
            </p:cNvPr>
            <p:cNvSpPr txBox="1"/>
            <p:nvPr/>
          </p:nvSpPr>
          <p:spPr>
            <a:xfrm>
              <a:off x="5905642" y="4101118"/>
              <a:ext cx="82784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dirty="0"/>
                <a:t>DE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EAC1480A-0830-1E83-BE5A-00A3CDA5D287}"/>
                </a:ext>
              </a:extLst>
            </p:cNvPr>
            <p:cNvSpPr txBox="1"/>
            <p:nvPr/>
          </p:nvSpPr>
          <p:spPr>
            <a:xfrm>
              <a:off x="9121591" y="4087000"/>
              <a:ext cx="82784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dirty="0"/>
                <a:t>SG</a:t>
              </a:r>
            </a:p>
          </p:txBody>
        </p:sp>
        <p:cxnSp>
          <p:nvCxnSpPr>
            <p:cNvPr id="199" name="Straight Arrow Connector 198">
              <a:extLst>
                <a:ext uri="{FF2B5EF4-FFF2-40B4-BE49-F238E27FC236}">
                  <a16:creationId xmlns:a16="http://schemas.microsoft.com/office/drawing/2014/main" id="{FF3FB443-555E-A1D1-E88C-B931E71D419E}"/>
                </a:ext>
              </a:extLst>
            </p:cNvPr>
            <p:cNvCxnSpPr>
              <a:cxnSpLocks/>
            </p:cNvCxnSpPr>
            <p:nvPr/>
          </p:nvCxnSpPr>
          <p:spPr>
            <a:xfrm>
              <a:off x="2945283" y="2268211"/>
              <a:ext cx="0" cy="1224398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C484476B-756C-2F06-64E0-EB5601BDB301}"/>
                </a:ext>
              </a:extLst>
            </p:cNvPr>
            <p:cNvCxnSpPr>
              <a:cxnSpLocks/>
            </p:cNvCxnSpPr>
            <p:nvPr/>
          </p:nvCxnSpPr>
          <p:spPr>
            <a:xfrm>
              <a:off x="3043945" y="2287189"/>
              <a:ext cx="3142236" cy="1261006"/>
            </a:xfrm>
            <a:prstGeom prst="straightConnector1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Arrow Connector 202">
              <a:extLst>
                <a:ext uri="{FF2B5EF4-FFF2-40B4-BE49-F238E27FC236}">
                  <a16:creationId xmlns:a16="http://schemas.microsoft.com/office/drawing/2014/main" id="{B8F4EFFD-BBE5-D6E8-A01F-3D3113DC2731}"/>
                </a:ext>
              </a:extLst>
            </p:cNvPr>
            <p:cNvCxnSpPr>
              <a:cxnSpLocks/>
              <a:endCxn id="192" idx="3"/>
            </p:cNvCxnSpPr>
            <p:nvPr/>
          </p:nvCxnSpPr>
          <p:spPr>
            <a:xfrm flipH="1" flipV="1">
              <a:off x="3211642" y="3790492"/>
              <a:ext cx="2694000" cy="25070"/>
            </a:xfrm>
            <a:prstGeom prst="straightConnector1">
              <a:avLst/>
            </a:prstGeom>
            <a:ln w="38100">
              <a:solidFill>
                <a:schemeClr val="accent4">
                  <a:lumMod val="60000"/>
                  <a:lumOff val="40000"/>
                </a:schemeClr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A7BF9F8B-BB56-DC33-8C48-8542E3162642}"/>
                </a:ext>
              </a:extLst>
            </p:cNvPr>
            <p:cNvCxnSpPr>
              <a:cxnSpLocks/>
            </p:cNvCxnSpPr>
            <p:nvPr/>
          </p:nvCxnSpPr>
          <p:spPr>
            <a:xfrm>
              <a:off x="6648544" y="3818602"/>
              <a:ext cx="2473047" cy="0"/>
            </a:xfrm>
            <a:prstGeom prst="straightConnector1">
              <a:avLst/>
            </a:prstGeom>
            <a:ln w="38100">
              <a:solidFill>
                <a:schemeClr val="accent4">
                  <a:lumMod val="60000"/>
                  <a:lumOff val="40000"/>
                </a:schemeClr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Arrow Connector 204">
              <a:extLst>
                <a:ext uri="{FF2B5EF4-FFF2-40B4-BE49-F238E27FC236}">
                  <a16:creationId xmlns:a16="http://schemas.microsoft.com/office/drawing/2014/main" id="{48207096-7B0A-4377-5481-1A3047F65BE5}"/>
                </a:ext>
              </a:extLst>
            </p:cNvPr>
            <p:cNvCxnSpPr>
              <a:cxnSpLocks/>
            </p:cNvCxnSpPr>
            <p:nvPr/>
          </p:nvCxnSpPr>
          <p:spPr>
            <a:xfrm>
              <a:off x="3200047" y="2280762"/>
              <a:ext cx="6139404" cy="1253239"/>
            </a:xfrm>
            <a:prstGeom prst="straightConnector1">
              <a:avLst/>
            </a:prstGeom>
            <a:ln w="38100">
              <a:solidFill>
                <a:schemeClr val="accent1">
                  <a:lumMod val="20000"/>
                  <a:lumOff val="80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6" name="Graphic 205" descr="Key with solid fill">
              <a:extLst>
                <a:ext uri="{FF2B5EF4-FFF2-40B4-BE49-F238E27FC236}">
                  <a16:creationId xmlns:a16="http://schemas.microsoft.com/office/drawing/2014/main" id="{54DD3946-0AA6-03B6-92D9-AD110ABBC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140566" y="4271350"/>
              <a:ext cx="392124" cy="392124"/>
            </a:xfrm>
            <a:prstGeom prst="rect">
              <a:avLst/>
            </a:prstGeom>
          </p:spPr>
        </p:pic>
        <p:pic>
          <p:nvPicPr>
            <p:cNvPr id="207" name="Graphic 206" descr="Key with solid fill">
              <a:extLst>
                <a:ext uri="{FF2B5EF4-FFF2-40B4-BE49-F238E27FC236}">
                  <a16:creationId xmlns:a16="http://schemas.microsoft.com/office/drawing/2014/main" id="{9B9A90C2-1A19-C4F3-8BA0-DE5744F71F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339451" y="4271350"/>
              <a:ext cx="392124" cy="392124"/>
            </a:xfrm>
            <a:prstGeom prst="rect">
              <a:avLst/>
            </a:prstGeom>
          </p:spPr>
        </p:pic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24260127-F638-B731-967F-E2F5A1230D8D}"/>
                </a:ext>
              </a:extLst>
            </p:cNvPr>
            <p:cNvSpPr txBox="1"/>
            <p:nvPr/>
          </p:nvSpPr>
          <p:spPr>
            <a:xfrm>
              <a:off x="4219604" y="3964214"/>
              <a:ext cx="82784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dirty="0"/>
                <a:t>Sync</a:t>
              </a: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35EE71FA-9ADF-9CF4-F6F0-339BDB9934C0}"/>
                </a:ext>
              </a:extLst>
            </p:cNvPr>
            <p:cNvSpPr txBox="1"/>
            <p:nvPr/>
          </p:nvSpPr>
          <p:spPr>
            <a:xfrm>
              <a:off x="7677240" y="3947862"/>
              <a:ext cx="82784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dirty="0"/>
                <a:t>Sync</a:t>
              </a:r>
            </a:p>
          </p:txBody>
        </p:sp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43868790-872F-D9EC-EA2F-BE38E6C8395F}"/>
                </a:ext>
              </a:extLst>
            </p:cNvPr>
            <p:cNvGrpSpPr/>
            <p:nvPr/>
          </p:nvGrpSpPr>
          <p:grpSpPr>
            <a:xfrm>
              <a:off x="5841067" y="912381"/>
              <a:ext cx="956993" cy="1345087"/>
              <a:chOff x="5789598" y="1604622"/>
              <a:chExt cx="956993" cy="1345087"/>
            </a:xfrm>
          </p:grpSpPr>
          <p:sp>
            <p:nvSpPr>
              <p:cNvPr id="211" name="TextBox 210">
                <a:extLst>
                  <a:ext uri="{FF2B5EF4-FFF2-40B4-BE49-F238E27FC236}">
                    <a16:creationId xmlns:a16="http://schemas.microsoft.com/office/drawing/2014/main" id="{B1AA8B6F-FDAE-A3BA-6E10-7C00D2A2A6E4}"/>
                  </a:ext>
                </a:extLst>
              </p:cNvPr>
              <p:cNvSpPr txBox="1"/>
              <p:nvPr/>
            </p:nvSpPr>
            <p:spPr>
              <a:xfrm>
                <a:off x="5789598" y="1604622"/>
                <a:ext cx="956993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1600" b="1" dirty="0"/>
                  <a:t>Customer</a:t>
                </a:r>
              </a:p>
              <a:p>
                <a:pPr algn="ctr"/>
                <a:r>
                  <a:rPr lang="en-US" sz="1600" b="1" dirty="0"/>
                  <a:t>Site B</a:t>
                </a:r>
              </a:p>
            </p:txBody>
          </p:sp>
          <p:pic>
            <p:nvPicPr>
              <p:cNvPr id="214" name="Graphic 213" descr="Web design with solid fill">
                <a:extLst>
                  <a:ext uri="{FF2B5EF4-FFF2-40B4-BE49-F238E27FC236}">
                    <a16:creationId xmlns:a16="http://schemas.microsoft.com/office/drawing/2014/main" id="{5724D40F-F733-B63E-6C1F-0439794E22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812805" y="2035309"/>
                <a:ext cx="914400" cy="914400"/>
              </a:xfrm>
              <a:prstGeom prst="rect">
                <a:avLst/>
              </a:prstGeom>
            </p:spPr>
          </p:pic>
        </p:grpSp>
        <p:pic>
          <p:nvPicPr>
            <p:cNvPr id="216" name="Graphic 215" descr="Key with solid fill">
              <a:extLst>
                <a:ext uri="{FF2B5EF4-FFF2-40B4-BE49-F238E27FC236}">
                  <a16:creationId xmlns:a16="http://schemas.microsoft.com/office/drawing/2014/main" id="{F2A2E82C-AD09-C650-4EE8-5C9E236D53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729267" y="4267226"/>
              <a:ext cx="392124" cy="392124"/>
            </a:xfrm>
            <a:prstGeom prst="rect">
              <a:avLst/>
            </a:prstGeom>
          </p:spPr>
        </p:pic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303D62FF-ECD9-3734-9ACB-0221DEA8B7B9}"/>
                </a:ext>
              </a:extLst>
            </p:cNvPr>
            <p:cNvSpPr txBox="1"/>
            <p:nvPr/>
          </p:nvSpPr>
          <p:spPr>
            <a:xfrm>
              <a:off x="5725250" y="5807572"/>
              <a:ext cx="122049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dirty="0"/>
                <a:t>CH (DR)</a:t>
              </a:r>
            </a:p>
          </p:txBody>
        </p:sp>
        <p:pic>
          <p:nvPicPr>
            <p:cNvPr id="218" name="Picture 217">
              <a:extLst>
                <a:ext uri="{FF2B5EF4-FFF2-40B4-BE49-F238E27FC236}">
                  <a16:creationId xmlns:a16="http://schemas.microsoft.com/office/drawing/2014/main" id="{60BBB92C-C71A-A2A7-FE2F-213A5A5E3F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2455" y="5261628"/>
              <a:ext cx="626089" cy="468893"/>
            </a:xfrm>
            <a:prstGeom prst="rect">
              <a:avLst/>
            </a:prstGeom>
          </p:spPr>
        </p:pic>
        <p:cxnSp>
          <p:nvCxnSpPr>
            <p:cNvPr id="219" name="Straight Arrow Connector 218">
              <a:extLst>
                <a:ext uri="{FF2B5EF4-FFF2-40B4-BE49-F238E27FC236}">
                  <a16:creationId xmlns:a16="http://schemas.microsoft.com/office/drawing/2014/main" id="{B4EE1408-97E2-8808-F2BF-70CEF49348D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36628" y="4606436"/>
              <a:ext cx="0" cy="578765"/>
            </a:xfrm>
            <a:prstGeom prst="straightConnector1">
              <a:avLst/>
            </a:prstGeom>
            <a:ln w="38100">
              <a:solidFill>
                <a:schemeClr val="accent4">
                  <a:lumMod val="60000"/>
                  <a:lumOff val="40000"/>
                </a:schemeClr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053AD042-5CCF-86F3-0A5A-F415484107F4}"/>
                </a:ext>
              </a:extLst>
            </p:cNvPr>
            <p:cNvSpPr txBox="1"/>
            <p:nvPr/>
          </p:nvSpPr>
          <p:spPr>
            <a:xfrm>
              <a:off x="4841659" y="1498777"/>
              <a:ext cx="1050359" cy="1007181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2000" tIns="72000" rIns="72000" bIns="72000" rtlCol="0">
              <a:spAutoFit/>
            </a:bodyPr>
            <a:lstStyle/>
            <a:p>
              <a:pPr marL="182563" indent="-182563" algn="l"/>
              <a:r>
                <a:rPr lang="en-US" sz="1400" dirty="0"/>
                <a:t>Priority:</a:t>
              </a:r>
            </a:p>
            <a:p>
              <a:pPr marL="182563" indent="-182563" algn="l">
                <a:buAutoNum type="arabicPeriod"/>
              </a:pPr>
              <a:r>
                <a:rPr lang="en-US" sz="1400" dirty="0"/>
                <a:t>URL DE</a:t>
              </a:r>
            </a:p>
            <a:p>
              <a:pPr marL="182563" indent="-182563" algn="l">
                <a:buAutoNum type="arabicPeriod"/>
              </a:pPr>
              <a:r>
                <a:rPr lang="en-US" sz="1400" dirty="0"/>
                <a:t>URL US</a:t>
              </a:r>
            </a:p>
            <a:p>
              <a:pPr marL="182563" indent="-182563" algn="l">
                <a:buAutoNum type="arabicPeriod"/>
              </a:pPr>
              <a:r>
                <a:rPr lang="en-US" sz="1400" dirty="0"/>
                <a:t>URL SG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2168A0A2-B5B4-8F90-388B-AE995CA90B48}"/>
                </a:ext>
              </a:extLst>
            </p:cNvPr>
            <p:cNvSpPr txBox="1"/>
            <p:nvPr/>
          </p:nvSpPr>
          <p:spPr>
            <a:xfrm>
              <a:off x="8023750" y="1514669"/>
              <a:ext cx="1050359" cy="1007181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2000" tIns="72000" rIns="72000" bIns="72000" rtlCol="0">
              <a:spAutoFit/>
            </a:bodyPr>
            <a:lstStyle/>
            <a:p>
              <a:pPr marL="182563" indent="-182563" algn="l"/>
              <a:r>
                <a:rPr lang="en-US" sz="1400" dirty="0"/>
                <a:t>Priority:</a:t>
              </a:r>
            </a:p>
            <a:p>
              <a:pPr marL="182563" indent="-182563" algn="l">
                <a:buAutoNum type="arabicPeriod"/>
              </a:pPr>
              <a:r>
                <a:rPr lang="en-US" sz="1400" dirty="0"/>
                <a:t>URL SG</a:t>
              </a:r>
            </a:p>
            <a:p>
              <a:pPr marL="182563" indent="-182563" algn="l">
                <a:buAutoNum type="arabicPeriod"/>
              </a:pPr>
              <a:r>
                <a:rPr lang="en-US" sz="1400" dirty="0"/>
                <a:t>URL US</a:t>
              </a:r>
            </a:p>
            <a:p>
              <a:pPr marL="182563" indent="-182563" algn="l">
                <a:buAutoNum type="arabicPeriod"/>
              </a:pPr>
              <a:r>
                <a:rPr lang="en-US" sz="1400" dirty="0"/>
                <a:t>URL DE</a:t>
              </a:r>
            </a:p>
          </p:txBody>
        </p:sp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BCFCEBE9-CB5B-0400-FE30-EB5534B5EB93}"/>
                </a:ext>
              </a:extLst>
            </p:cNvPr>
            <p:cNvGrpSpPr/>
            <p:nvPr/>
          </p:nvGrpSpPr>
          <p:grpSpPr>
            <a:xfrm>
              <a:off x="2466787" y="912381"/>
              <a:ext cx="956993" cy="1345087"/>
              <a:chOff x="5789598" y="1604622"/>
              <a:chExt cx="956993" cy="1345087"/>
            </a:xfrm>
          </p:grpSpPr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D7CEF812-CCAA-671B-D486-68D235A5CF50}"/>
                  </a:ext>
                </a:extLst>
              </p:cNvPr>
              <p:cNvSpPr txBox="1"/>
              <p:nvPr/>
            </p:nvSpPr>
            <p:spPr>
              <a:xfrm>
                <a:off x="5789598" y="1604622"/>
                <a:ext cx="956993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1600" b="1" dirty="0"/>
                  <a:t>Customer</a:t>
                </a:r>
              </a:p>
              <a:p>
                <a:pPr algn="ctr"/>
                <a:r>
                  <a:rPr lang="en-US" sz="1600" b="1" dirty="0"/>
                  <a:t>Site A</a:t>
                </a:r>
              </a:p>
            </p:txBody>
          </p:sp>
          <p:pic>
            <p:nvPicPr>
              <p:cNvPr id="225" name="Graphic 224" descr="Web design with solid fill">
                <a:extLst>
                  <a:ext uri="{FF2B5EF4-FFF2-40B4-BE49-F238E27FC236}">
                    <a16:creationId xmlns:a16="http://schemas.microsoft.com/office/drawing/2014/main" id="{3F1B58C1-A58F-3F4D-720A-50264F1F10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812805" y="2035309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id="{9CADBE99-CCE9-115C-ABC6-7900787E65DB}"/>
                </a:ext>
              </a:extLst>
            </p:cNvPr>
            <p:cNvGrpSpPr/>
            <p:nvPr/>
          </p:nvGrpSpPr>
          <p:grpSpPr>
            <a:xfrm>
              <a:off x="9016276" y="912381"/>
              <a:ext cx="956993" cy="1345087"/>
              <a:chOff x="5789598" y="1604622"/>
              <a:chExt cx="956993" cy="1345087"/>
            </a:xfrm>
          </p:grpSpPr>
          <p:sp>
            <p:nvSpPr>
              <p:cNvPr id="227" name="TextBox 226">
                <a:extLst>
                  <a:ext uri="{FF2B5EF4-FFF2-40B4-BE49-F238E27FC236}">
                    <a16:creationId xmlns:a16="http://schemas.microsoft.com/office/drawing/2014/main" id="{FECD9DF0-EE1C-C22F-1895-BBE736F053FE}"/>
                  </a:ext>
                </a:extLst>
              </p:cNvPr>
              <p:cNvSpPr txBox="1"/>
              <p:nvPr/>
            </p:nvSpPr>
            <p:spPr>
              <a:xfrm>
                <a:off x="5789598" y="1604622"/>
                <a:ext cx="956993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1600" b="1" dirty="0"/>
                  <a:t>Customer</a:t>
                </a:r>
              </a:p>
              <a:p>
                <a:pPr algn="ctr"/>
                <a:r>
                  <a:rPr lang="en-US" sz="1600" b="1" dirty="0"/>
                  <a:t>Site C</a:t>
                </a:r>
              </a:p>
            </p:txBody>
          </p:sp>
          <p:pic>
            <p:nvPicPr>
              <p:cNvPr id="228" name="Graphic 227" descr="Web design with solid fill">
                <a:extLst>
                  <a:ext uri="{FF2B5EF4-FFF2-40B4-BE49-F238E27FC236}">
                    <a16:creationId xmlns:a16="http://schemas.microsoft.com/office/drawing/2014/main" id="{4DAD152C-599E-8B68-E76B-FA9ABC30C5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812805" y="2035309"/>
                <a:ext cx="914400" cy="914400"/>
              </a:xfrm>
              <a:prstGeom prst="rect">
                <a:avLst/>
              </a:prstGeom>
            </p:spPr>
          </p:pic>
        </p:grpSp>
        <p:cxnSp>
          <p:nvCxnSpPr>
            <p:cNvPr id="2" name="Straight Arrow Connector 1">
              <a:extLst>
                <a:ext uri="{FF2B5EF4-FFF2-40B4-BE49-F238E27FC236}">
                  <a16:creationId xmlns:a16="http://schemas.microsoft.com/office/drawing/2014/main" id="{4B5FFCE2-A21F-83D0-195D-6CDF34646120}"/>
                </a:ext>
              </a:extLst>
            </p:cNvPr>
            <p:cNvCxnSpPr>
              <a:cxnSpLocks/>
            </p:cNvCxnSpPr>
            <p:nvPr/>
          </p:nvCxnSpPr>
          <p:spPr>
            <a:xfrm>
              <a:off x="6320033" y="2280762"/>
              <a:ext cx="0" cy="1224398"/>
            </a:xfrm>
            <a:prstGeom prst="straightConnector1">
              <a:avLst/>
            </a:prstGeom>
            <a:ln w="381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Arrow Connector 211">
              <a:extLst>
                <a:ext uri="{FF2B5EF4-FFF2-40B4-BE49-F238E27FC236}">
                  <a16:creationId xmlns:a16="http://schemas.microsoft.com/office/drawing/2014/main" id="{B00EB72A-4E50-00E7-C739-54AEE887B0E7}"/>
                </a:ext>
              </a:extLst>
            </p:cNvPr>
            <p:cNvCxnSpPr>
              <a:cxnSpLocks/>
            </p:cNvCxnSpPr>
            <p:nvPr/>
          </p:nvCxnSpPr>
          <p:spPr>
            <a:xfrm>
              <a:off x="9508623" y="2277344"/>
              <a:ext cx="0" cy="1224398"/>
            </a:xfrm>
            <a:prstGeom prst="straightConnector1">
              <a:avLst/>
            </a:prstGeom>
            <a:ln w="38100">
              <a:solidFill>
                <a:schemeClr val="accent4">
                  <a:lumMod val="20000"/>
                  <a:lumOff val="8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6" name="Graphic 235" descr="Key with solid fill">
              <a:extLst>
                <a:ext uri="{FF2B5EF4-FFF2-40B4-BE49-F238E27FC236}">
                  <a16:creationId xmlns:a16="http://schemas.microsoft.com/office/drawing/2014/main" id="{4D29E9F0-8C2D-76A4-9157-E1A2DFDE6F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132454" y="6008693"/>
              <a:ext cx="392124" cy="3921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7260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sNzbPJ77dGnXqu3iwf7IUFAAAAAAADAAAAAAADAAAAAwADAAEA////////BAAAAAMAEAALsAtD9XJqkkmcnVN0ssSIJ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HsNzbPJ77dGnXqu3iwf7IUDRGF0YQAbAAAABExpbmtlZFNoYXBlRGF0YQAFAAAAAAACTmFtZQAZAAAATGlua2VkU2hhcGVzRGF0YVByb3BlcnR5ABBWZXJzaW9uAAAAAAAJTGFzdFdyaXRlAC4EUc2BAQAAAAEA/////50AnQAAAAVfaWQAEAAAAASwC0P1cmqSSZydU3SyxIglA0RhdGEAKgAAAAhQcmVzZW50YXRpb25TY2FubmVkRm9yTGlua2VkU2hhcGVzAAEAAk5hbWUAJAAAAExpbmtlZFNoYXBlUHJlc2VudGF0aW9uU2V0dGluZ3NEYXRhABBWZXJzaW9uAAAAAAAJTGFzdFdyaXRlAHwEUc2B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Folienmaster Securosys">
  <a:themeElements>
    <a:clrScheme name="Farben SECU">
      <a:dk1>
        <a:sysClr val="windowText" lastClr="000000"/>
      </a:dk1>
      <a:lt1>
        <a:sysClr val="window" lastClr="FFFFFF"/>
      </a:lt1>
      <a:dk2>
        <a:srgbClr val="000000"/>
      </a:dk2>
      <a:lt2>
        <a:srgbClr val="EDEDED"/>
      </a:lt2>
      <a:accent1>
        <a:srgbClr val="E30613"/>
      </a:accent1>
      <a:accent2>
        <a:srgbClr val="BB1E10"/>
      </a:accent2>
      <a:accent3>
        <a:srgbClr val="A6A6A6"/>
      </a:accent3>
      <a:accent4>
        <a:srgbClr val="265C6D"/>
      </a:accent4>
      <a:accent5>
        <a:srgbClr val="EDEDED"/>
      </a:accent5>
      <a:accent6>
        <a:srgbClr val="F1D2CF"/>
      </a:accent6>
      <a:hlink>
        <a:srgbClr val="000000"/>
      </a:hlink>
      <a:folHlink>
        <a:srgbClr val="E30613"/>
      </a:folHlink>
    </a:clrScheme>
    <a:fontScheme name="Schriften SEC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tIns="90000" bIns="90000" rtlCol="0" anchor="t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CU_AU-202205124_Folienmaster-pptx-04-FWER-p" id="{D8108BD4-3510-4140-B53D-54C1668AA010}" vid="{AB7FA1D7-A0D8-9F4F-BF81-321BCF5C249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 Securosys</Template>
  <TotalTime>2505</TotalTime>
  <Words>218</Words>
  <Application>Microsoft Macintosh PowerPoint</Application>
  <PresentationFormat>Widescreen</PresentationFormat>
  <Paragraphs>122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Calibri</vt:lpstr>
      <vt:lpstr>Folienmaster Securosy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Securosys S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sHSM Drawings</dc:title>
  <dc:subject/>
  <dc:creator>John Dingelstad</dc:creator>
  <cp:keywords/>
  <dc:description/>
  <cp:lastModifiedBy>John Dingelstad</cp:lastModifiedBy>
  <cp:revision>134</cp:revision>
  <dcterms:created xsi:type="dcterms:W3CDTF">2022-11-11T10:46:29Z</dcterms:created>
  <dcterms:modified xsi:type="dcterms:W3CDTF">2024-05-31T08:48:51Z</dcterms:modified>
  <cp:category/>
</cp:coreProperties>
</file>